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tags/tag29.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2.xml" ContentType="application/vnd.openxmlformats-officedocument.presentationml.notesSlide+xml"/>
  <Override PartName="/ppt/media/image119.svg" ContentType="image/svg"/>
  <Override PartName="/ppt/media/image121.svg" ContentType="image/svg"/>
  <Override PartName="/ppt/media/image124.svg" ContentType="image/svg"/>
  <Override PartName="/ppt/media/image126.svg" ContentType="image/svg"/>
  <Override PartName="/ppt/media/image129.svg" ContentType="image/svg"/>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3.xml" ContentType="application/vnd.openxmlformats-officedocument.presentationml.notesSlide+xml"/>
  <Override PartName="/ppt/media/image131.svg" ContentType="image/svg"/>
  <Override PartName="/ppt/media/image133.svg" ContentType="image/svg"/>
  <Override PartName="/ppt/media/image135.svg" ContentType="image/svg"/>
  <Override PartName="/ppt/media/image137.svg" ContentType="image/svg"/>
  <Override PartName="/ppt/media/image139.svg" ContentType="image/svg"/>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1" r:id="rId4"/>
    <p:sldMasterId id="2147483771" r:id="rId5"/>
    <p:sldMasterId id="2147483791" r:id="rId6"/>
    <p:sldMasterId id="2147483810" r:id="rId7"/>
    <p:sldMasterId id="2147483813" r:id="rId8"/>
    <p:sldMasterId id="2147483833" r:id="rId9"/>
    <p:sldMasterId id="2147483855" r:id="rId10"/>
    <p:sldMasterId id="2147483914" r:id="rId11"/>
    <p:sldMasterId id="2147483917" r:id="rId12"/>
  </p:sldMasterIdLst>
  <p:notesMasterIdLst>
    <p:notesMasterId r:id="rId44"/>
  </p:notesMasterIdLst>
  <p:sldIdLst>
    <p:sldId id="457" r:id="rId13"/>
    <p:sldId id="459" r:id="rId14"/>
    <p:sldId id="714" r:id="rId15"/>
    <p:sldId id="256" r:id="rId16"/>
    <p:sldId id="261" r:id="rId17"/>
    <p:sldId id="262" r:id="rId18"/>
    <p:sldId id="717" r:id="rId19"/>
    <p:sldId id="4793" r:id="rId20"/>
    <p:sldId id="2144211581" r:id="rId21"/>
    <p:sldId id="4794" r:id="rId22"/>
    <p:sldId id="577" r:id="rId23"/>
    <p:sldId id="4486" r:id="rId24"/>
    <p:sldId id="4482" r:id="rId25"/>
    <p:sldId id="740" r:id="rId26"/>
    <p:sldId id="721" r:id="rId27"/>
    <p:sldId id="4481" r:id="rId28"/>
    <p:sldId id="4795" r:id="rId29"/>
    <p:sldId id="2144211582" r:id="rId30"/>
    <p:sldId id="2144211583" r:id="rId31"/>
    <p:sldId id="2147309628" r:id="rId32"/>
    <p:sldId id="2147309630" r:id="rId33"/>
    <p:sldId id="2144212034" r:id="rId34"/>
    <p:sldId id="2147309513" r:id="rId35"/>
    <p:sldId id="4556" r:id="rId36"/>
    <p:sldId id="444" r:id="rId37"/>
    <p:sldId id="4455" r:id="rId38"/>
    <p:sldId id="580" r:id="rId39"/>
    <p:sldId id="2543" r:id="rId40"/>
    <p:sldId id="464" r:id="rId41"/>
    <p:sldId id="438" r:id="rId42"/>
    <p:sldId id="2147309631" r:id="rId4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782B"/>
    <a:srgbClr val="BDAB3D"/>
    <a:srgbClr val="779E5C"/>
    <a:srgbClr val="E3AC6F"/>
    <a:srgbClr val="3C4857"/>
    <a:srgbClr val="714C6C"/>
    <a:srgbClr val="00BF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1EB558-F77B-65D5-225D-C663F9CB09D2}" v="62" dt="2022-05-10T13:12:59.236"/>
    <p1510:client id="{34FBEE69-067A-4AFC-A5D0-D92B7EB603AF}" v="23" vWet="27" dt="2022-05-10T13:05:32.3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87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tableStyles" Target="tableStyle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wendoline Gatefoin" userId="S::gwendoline.gatefoin@getyooz.com::d9b7258e-e0d2-4e2f-b52c-46923db385d3" providerId="AD" clId="Web-{251EB558-F77B-65D5-225D-C663F9CB09D2}"/>
    <pc:docChg chg="modSld">
      <pc:chgData name="Gwendoline Gatefoin" userId="S::gwendoline.gatefoin@getyooz.com::d9b7258e-e0d2-4e2f-b52c-46923db385d3" providerId="AD" clId="Web-{251EB558-F77B-65D5-225D-C663F9CB09D2}" dt="2022-05-10T13:12:58.393" v="118" actId="20577"/>
      <pc:docMkLst>
        <pc:docMk/>
      </pc:docMkLst>
      <pc:sldChg chg="modNotes">
        <pc:chgData name="Gwendoline Gatefoin" userId="S::gwendoline.gatefoin@getyooz.com::d9b7258e-e0d2-4e2f-b52c-46923db385d3" providerId="AD" clId="Web-{251EB558-F77B-65D5-225D-C663F9CB09D2}" dt="2022-05-10T13:05:48.575" v="52"/>
        <pc:sldMkLst>
          <pc:docMk/>
          <pc:sldMk cId="3962984619" sldId="279"/>
        </pc:sldMkLst>
      </pc:sldChg>
      <pc:sldChg chg="modNotes">
        <pc:chgData name="Gwendoline Gatefoin" userId="S::gwendoline.gatefoin@getyooz.com::d9b7258e-e0d2-4e2f-b52c-46923db385d3" providerId="AD" clId="Web-{251EB558-F77B-65D5-225D-C663F9CB09D2}" dt="2022-05-10T13:05:54.684" v="61"/>
        <pc:sldMkLst>
          <pc:docMk/>
          <pc:sldMk cId="682685139" sldId="632"/>
        </pc:sldMkLst>
      </pc:sldChg>
      <pc:sldChg chg="modSp">
        <pc:chgData name="Gwendoline Gatefoin" userId="S::gwendoline.gatefoin@getyooz.com::d9b7258e-e0d2-4e2f-b52c-46923db385d3" providerId="AD" clId="Web-{251EB558-F77B-65D5-225D-C663F9CB09D2}" dt="2022-05-10T13:07:49.623" v="95" actId="20577"/>
        <pc:sldMkLst>
          <pc:docMk/>
          <pc:sldMk cId="2983563067" sldId="675"/>
        </pc:sldMkLst>
        <pc:spChg chg="mod">
          <ac:chgData name="Gwendoline Gatefoin" userId="S::gwendoline.gatefoin@getyooz.com::d9b7258e-e0d2-4e2f-b52c-46923db385d3" providerId="AD" clId="Web-{251EB558-F77B-65D5-225D-C663F9CB09D2}" dt="2022-05-10T13:07:49.623" v="95" actId="20577"/>
          <ac:spMkLst>
            <pc:docMk/>
            <pc:sldMk cId="2983563067" sldId="675"/>
            <ac:spMk id="7" creationId="{3BEA3F3C-77CA-482F-A6B4-6DE1A9E7BB38}"/>
          </ac:spMkLst>
        </pc:spChg>
      </pc:sldChg>
      <pc:sldChg chg="modSp">
        <pc:chgData name="Gwendoline Gatefoin" userId="S::gwendoline.gatefoin@getyooz.com::d9b7258e-e0d2-4e2f-b52c-46923db385d3" providerId="AD" clId="Web-{251EB558-F77B-65D5-225D-C663F9CB09D2}" dt="2022-05-10T13:11:22.438" v="116" actId="20577"/>
        <pc:sldMkLst>
          <pc:docMk/>
          <pc:sldMk cId="982564115" sldId="705"/>
        </pc:sldMkLst>
        <pc:spChg chg="mod">
          <ac:chgData name="Gwendoline Gatefoin" userId="S::gwendoline.gatefoin@getyooz.com::d9b7258e-e0d2-4e2f-b52c-46923db385d3" providerId="AD" clId="Web-{251EB558-F77B-65D5-225D-C663F9CB09D2}" dt="2022-05-10T13:11:22.438" v="116" actId="20577"/>
          <ac:spMkLst>
            <pc:docMk/>
            <pc:sldMk cId="982564115" sldId="705"/>
            <ac:spMk id="5" creationId="{29DF5DE9-BEA2-23F0-19D9-FCDADD9F5578}"/>
          </ac:spMkLst>
        </pc:spChg>
      </pc:sldChg>
      <pc:sldChg chg="modSp">
        <pc:chgData name="Gwendoline Gatefoin" userId="S::gwendoline.gatefoin@getyooz.com::d9b7258e-e0d2-4e2f-b52c-46923db385d3" providerId="AD" clId="Web-{251EB558-F77B-65D5-225D-C663F9CB09D2}" dt="2022-05-10T13:12:58.393" v="118" actId="20577"/>
        <pc:sldMkLst>
          <pc:docMk/>
          <pc:sldMk cId="703201462" sldId="707"/>
        </pc:sldMkLst>
        <pc:spChg chg="mod">
          <ac:chgData name="Gwendoline Gatefoin" userId="S::gwendoline.gatefoin@getyooz.com::d9b7258e-e0d2-4e2f-b52c-46923db385d3" providerId="AD" clId="Web-{251EB558-F77B-65D5-225D-C663F9CB09D2}" dt="2022-05-10T13:12:58.393" v="118" actId="20577"/>
          <ac:spMkLst>
            <pc:docMk/>
            <pc:sldMk cId="703201462" sldId="707"/>
            <ac:spMk id="5" creationId="{29DF5DE9-BEA2-23F0-19D9-FCDADD9F5578}"/>
          </ac:spMkLst>
        </pc:spChg>
      </pc:sldChg>
    </pc:docChg>
  </pc:docChgLst>
  <pc:docChgLst>
    <pc:chgData name="Domitille Van Dijk" userId="89f0ede4-75bc-4c2b-b27b-f97cea9073cc" providerId="ADAL" clId="{34FBEE69-067A-4AFC-A5D0-D92B7EB603AF}"/>
    <pc:docChg chg="undo custSel addSld modSld">
      <pc:chgData name="Domitille Van Dijk" userId="89f0ede4-75bc-4c2b-b27b-f97cea9073cc" providerId="ADAL" clId="{34FBEE69-067A-4AFC-A5D0-D92B7EB603AF}" dt="2022-05-05T18:17:25.317" v="2179" actId="6549"/>
      <pc:docMkLst>
        <pc:docMk/>
      </pc:docMkLst>
      <pc:sldChg chg="addSp delSp modSp new mod modClrScheme chgLayout">
        <pc:chgData name="Domitille Van Dijk" userId="89f0ede4-75bc-4c2b-b27b-f97cea9073cc" providerId="ADAL" clId="{34FBEE69-067A-4AFC-A5D0-D92B7EB603AF}" dt="2022-05-05T16:47:47.114" v="482" actId="1076"/>
        <pc:sldMkLst>
          <pc:docMk/>
          <pc:sldMk cId="3625973924" sldId="704"/>
        </pc:sldMkLst>
        <pc:spChg chg="del mod ord">
          <ac:chgData name="Domitille Van Dijk" userId="89f0ede4-75bc-4c2b-b27b-f97cea9073cc" providerId="ADAL" clId="{34FBEE69-067A-4AFC-A5D0-D92B7EB603AF}" dt="2022-05-05T16:32:12.891" v="1" actId="700"/>
          <ac:spMkLst>
            <pc:docMk/>
            <pc:sldMk cId="3625973924" sldId="704"/>
            <ac:spMk id="2" creationId="{80526C23-2E35-4123-8DB7-55679E995D43}"/>
          </ac:spMkLst>
        </pc:spChg>
        <pc:spChg chg="mod ord">
          <ac:chgData name="Domitille Van Dijk" userId="89f0ede4-75bc-4c2b-b27b-f97cea9073cc" providerId="ADAL" clId="{34FBEE69-067A-4AFC-A5D0-D92B7EB603AF}" dt="2022-05-05T16:32:12.891" v="1" actId="700"/>
          <ac:spMkLst>
            <pc:docMk/>
            <pc:sldMk cId="3625973924" sldId="704"/>
            <ac:spMk id="3" creationId="{FBCA8C67-DD0E-4F55-E41E-FAB5B1693D51}"/>
          </ac:spMkLst>
        </pc:spChg>
        <pc:spChg chg="add mod ord">
          <ac:chgData name="Domitille Van Dijk" userId="89f0ede4-75bc-4c2b-b27b-f97cea9073cc" providerId="ADAL" clId="{34FBEE69-067A-4AFC-A5D0-D92B7EB603AF}" dt="2022-05-05T16:32:37.611" v="28" actId="20577"/>
          <ac:spMkLst>
            <pc:docMk/>
            <pc:sldMk cId="3625973924" sldId="704"/>
            <ac:spMk id="4" creationId="{5E9AA9FD-A71A-D641-1459-63E21F74C76B}"/>
          </ac:spMkLst>
        </pc:spChg>
        <pc:spChg chg="add mod ord">
          <ac:chgData name="Domitille Van Dijk" userId="89f0ede4-75bc-4c2b-b27b-f97cea9073cc" providerId="ADAL" clId="{34FBEE69-067A-4AFC-A5D0-D92B7EB603AF}" dt="2022-05-05T16:47:44.987" v="481" actId="14100"/>
          <ac:spMkLst>
            <pc:docMk/>
            <pc:sldMk cId="3625973924" sldId="704"/>
            <ac:spMk id="5" creationId="{29DF5DE9-BEA2-23F0-19D9-FCDADD9F5578}"/>
          </ac:spMkLst>
        </pc:spChg>
        <pc:spChg chg="add del mod">
          <ac:chgData name="Domitille Van Dijk" userId="89f0ede4-75bc-4c2b-b27b-f97cea9073cc" providerId="ADAL" clId="{34FBEE69-067A-4AFC-A5D0-D92B7EB603AF}" dt="2022-05-05T16:47:37.820" v="479" actId="478"/>
          <ac:spMkLst>
            <pc:docMk/>
            <pc:sldMk cId="3625973924" sldId="704"/>
            <ac:spMk id="7" creationId="{86FE3C2B-F745-21F0-BB62-0B19D222D5EA}"/>
          </ac:spMkLst>
        </pc:spChg>
        <pc:picChg chg="add mod">
          <ac:chgData name="Domitille Van Dijk" userId="89f0ede4-75bc-4c2b-b27b-f97cea9073cc" providerId="ADAL" clId="{34FBEE69-067A-4AFC-A5D0-D92B7EB603AF}" dt="2022-05-05T16:47:47.114" v="482" actId="1076"/>
          <ac:picMkLst>
            <pc:docMk/>
            <pc:sldMk cId="3625973924" sldId="704"/>
            <ac:picMk id="1026" creationId="{359622D9-23F1-A363-20FE-F0D16E1A8502}"/>
          </ac:picMkLst>
        </pc:picChg>
      </pc:sldChg>
      <pc:sldChg chg="delSp modSp add mod">
        <pc:chgData name="Domitille Van Dijk" userId="89f0ede4-75bc-4c2b-b27b-f97cea9073cc" providerId="ADAL" clId="{34FBEE69-067A-4AFC-A5D0-D92B7EB603AF}" dt="2022-05-05T16:55:12.758" v="1129" actId="20577"/>
        <pc:sldMkLst>
          <pc:docMk/>
          <pc:sldMk cId="982564115" sldId="705"/>
        </pc:sldMkLst>
        <pc:spChg chg="mod">
          <ac:chgData name="Domitille Van Dijk" userId="89f0ede4-75bc-4c2b-b27b-f97cea9073cc" providerId="ADAL" clId="{34FBEE69-067A-4AFC-A5D0-D92B7EB603AF}" dt="2022-05-05T16:48:27.049" v="582" actId="20577"/>
          <ac:spMkLst>
            <pc:docMk/>
            <pc:sldMk cId="982564115" sldId="705"/>
            <ac:spMk id="4" creationId="{5E9AA9FD-A71A-D641-1459-63E21F74C76B}"/>
          </ac:spMkLst>
        </pc:spChg>
        <pc:spChg chg="mod">
          <ac:chgData name="Domitille Van Dijk" userId="89f0ede4-75bc-4c2b-b27b-f97cea9073cc" providerId="ADAL" clId="{34FBEE69-067A-4AFC-A5D0-D92B7EB603AF}" dt="2022-05-05T16:55:12.758" v="1129" actId="20577"/>
          <ac:spMkLst>
            <pc:docMk/>
            <pc:sldMk cId="982564115" sldId="705"/>
            <ac:spMk id="5" creationId="{29DF5DE9-BEA2-23F0-19D9-FCDADD9F5578}"/>
          </ac:spMkLst>
        </pc:spChg>
        <pc:picChg chg="del">
          <ac:chgData name="Domitille Van Dijk" userId="89f0ede4-75bc-4c2b-b27b-f97cea9073cc" providerId="ADAL" clId="{34FBEE69-067A-4AFC-A5D0-D92B7EB603AF}" dt="2022-05-05T16:48:31.447" v="583" actId="478"/>
          <ac:picMkLst>
            <pc:docMk/>
            <pc:sldMk cId="982564115" sldId="705"/>
            <ac:picMk id="1026" creationId="{359622D9-23F1-A363-20FE-F0D16E1A8502}"/>
          </ac:picMkLst>
        </pc:picChg>
      </pc:sldChg>
      <pc:sldChg chg="modSp add mod">
        <pc:chgData name="Domitille Van Dijk" userId="89f0ede4-75bc-4c2b-b27b-f97cea9073cc" providerId="ADAL" clId="{34FBEE69-067A-4AFC-A5D0-D92B7EB603AF}" dt="2022-05-05T18:04:31.830" v="1658" actId="20577"/>
        <pc:sldMkLst>
          <pc:docMk/>
          <pc:sldMk cId="404415458" sldId="706"/>
        </pc:sldMkLst>
        <pc:spChg chg="mod">
          <ac:chgData name="Domitille Van Dijk" userId="89f0ede4-75bc-4c2b-b27b-f97cea9073cc" providerId="ADAL" clId="{34FBEE69-067A-4AFC-A5D0-D92B7EB603AF}" dt="2022-05-05T18:00:01.375" v="1593" actId="20577"/>
          <ac:spMkLst>
            <pc:docMk/>
            <pc:sldMk cId="404415458" sldId="706"/>
            <ac:spMk id="4" creationId="{5E9AA9FD-A71A-D641-1459-63E21F74C76B}"/>
          </ac:spMkLst>
        </pc:spChg>
        <pc:spChg chg="mod">
          <ac:chgData name="Domitille Van Dijk" userId="89f0ede4-75bc-4c2b-b27b-f97cea9073cc" providerId="ADAL" clId="{34FBEE69-067A-4AFC-A5D0-D92B7EB603AF}" dt="2022-05-05T18:04:31.830" v="1658" actId="20577"/>
          <ac:spMkLst>
            <pc:docMk/>
            <pc:sldMk cId="404415458" sldId="706"/>
            <ac:spMk id="5" creationId="{29DF5DE9-BEA2-23F0-19D9-FCDADD9F5578}"/>
          </ac:spMkLst>
        </pc:spChg>
      </pc:sldChg>
      <pc:sldChg chg="addSp modSp add mod">
        <pc:chgData name="Domitille Van Dijk" userId="89f0ede4-75bc-4c2b-b27b-f97cea9073cc" providerId="ADAL" clId="{34FBEE69-067A-4AFC-A5D0-D92B7EB603AF}" dt="2022-05-05T18:17:25.317" v="2179" actId="6549"/>
        <pc:sldMkLst>
          <pc:docMk/>
          <pc:sldMk cId="703201462" sldId="707"/>
        </pc:sldMkLst>
        <pc:spChg chg="add mod">
          <ac:chgData name="Domitille Van Dijk" userId="89f0ede4-75bc-4c2b-b27b-f97cea9073cc" providerId="ADAL" clId="{34FBEE69-067A-4AFC-A5D0-D92B7EB603AF}" dt="2022-05-05T18:16:48.649" v="2143" actId="1076"/>
          <ac:spMkLst>
            <pc:docMk/>
            <pc:sldMk cId="703201462" sldId="707"/>
            <ac:spMk id="2" creationId="{34B2FB77-7511-3299-A755-CFA2BDA066BB}"/>
          </ac:spMkLst>
        </pc:spChg>
        <pc:spChg chg="mod">
          <ac:chgData name="Domitille Van Dijk" userId="89f0ede4-75bc-4c2b-b27b-f97cea9073cc" providerId="ADAL" clId="{34FBEE69-067A-4AFC-A5D0-D92B7EB603AF}" dt="2022-05-05T18:04:13.462" v="1637" actId="20577"/>
          <ac:spMkLst>
            <pc:docMk/>
            <pc:sldMk cId="703201462" sldId="707"/>
            <ac:spMk id="4" creationId="{5E9AA9FD-A71A-D641-1459-63E21F74C76B}"/>
          </ac:spMkLst>
        </pc:spChg>
        <pc:spChg chg="mod">
          <ac:chgData name="Domitille Van Dijk" userId="89f0ede4-75bc-4c2b-b27b-f97cea9073cc" providerId="ADAL" clId="{34FBEE69-067A-4AFC-A5D0-D92B7EB603AF}" dt="2022-05-05T18:17:25.317" v="2179" actId="6549"/>
          <ac:spMkLst>
            <pc:docMk/>
            <pc:sldMk cId="703201462" sldId="707"/>
            <ac:spMk id="5" creationId="{29DF5DE9-BEA2-23F0-19D9-FCDADD9F5578}"/>
          </ac:spMkLst>
        </pc:spChg>
      </pc:sldChg>
    </pc:docChg>
  </pc:docChgLst>
  <pc:docChgLst>
    <pc:chgData name="Gwendoline Gatefoin" userId="d9b7258e-e0d2-4e2f-b52c-46923db385d3" providerId="ADAL" clId="{1155873A-3009-4575-AC95-E57ABC2766C9}"/>
    <pc:docChg chg="undo custSel addSld delSld modSld">
      <pc:chgData name="Gwendoline Gatefoin" userId="d9b7258e-e0d2-4e2f-b52c-46923db385d3" providerId="ADAL" clId="{1155873A-3009-4575-AC95-E57ABC2766C9}" dt="2022-04-26T13:29:47.385" v="173" actId="700"/>
      <pc:docMkLst>
        <pc:docMk/>
      </pc:docMkLst>
      <pc:sldChg chg="del">
        <pc:chgData name="Gwendoline Gatefoin" userId="d9b7258e-e0d2-4e2f-b52c-46923db385d3" providerId="ADAL" clId="{1155873A-3009-4575-AC95-E57ABC2766C9}" dt="2022-04-26T13:28:09.494" v="102" actId="47"/>
        <pc:sldMkLst>
          <pc:docMk/>
          <pc:sldMk cId="2004733858" sldId="257"/>
        </pc:sldMkLst>
      </pc:sldChg>
      <pc:sldChg chg="del">
        <pc:chgData name="Gwendoline Gatefoin" userId="d9b7258e-e0d2-4e2f-b52c-46923db385d3" providerId="ADAL" clId="{1155873A-3009-4575-AC95-E57ABC2766C9}" dt="2022-04-26T13:28:09.126" v="101" actId="47"/>
        <pc:sldMkLst>
          <pc:docMk/>
          <pc:sldMk cId="3443093448" sldId="258"/>
        </pc:sldMkLst>
      </pc:sldChg>
      <pc:sldChg chg="del">
        <pc:chgData name="Gwendoline Gatefoin" userId="d9b7258e-e0d2-4e2f-b52c-46923db385d3" providerId="ADAL" clId="{1155873A-3009-4575-AC95-E57ABC2766C9}" dt="2022-04-26T13:28:08.648" v="100" actId="47"/>
        <pc:sldMkLst>
          <pc:docMk/>
          <pc:sldMk cId="1559978335" sldId="259"/>
        </pc:sldMkLst>
      </pc:sldChg>
      <pc:sldChg chg="del">
        <pc:chgData name="Gwendoline Gatefoin" userId="d9b7258e-e0d2-4e2f-b52c-46923db385d3" providerId="ADAL" clId="{1155873A-3009-4575-AC95-E57ABC2766C9}" dt="2022-04-26T13:28:07.954" v="99" actId="47"/>
        <pc:sldMkLst>
          <pc:docMk/>
          <pc:sldMk cId="2685009711" sldId="260"/>
        </pc:sldMkLst>
      </pc:sldChg>
      <pc:sldChg chg="del">
        <pc:chgData name="Gwendoline Gatefoin" userId="d9b7258e-e0d2-4e2f-b52c-46923db385d3" providerId="ADAL" clId="{1155873A-3009-4575-AC95-E57ABC2766C9}" dt="2022-04-26T13:28:07.332" v="98" actId="47"/>
        <pc:sldMkLst>
          <pc:docMk/>
          <pc:sldMk cId="3482533716" sldId="261"/>
        </pc:sldMkLst>
      </pc:sldChg>
      <pc:sldChg chg="del">
        <pc:chgData name="Gwendoline Gatefoin" userId="d9b7258e-e0d2-4e2f-b52c-46923db385d3" providerId="ADAL" clId="{1155873A-3009-4575-AC95-E57ABC2766C9}" dt="2022-04-26T13:28:04.276" v="97" actId="47"/>
        <pc:sldMkLst>
          <pc:docMk/>
          <pc:sldMk cId="3033514386" sldId="263"/>
        </pc:sldMkLst>
      </pc:sldChg>
      <pc:sldChg chg="del">
        <pc:chgData name="Gwendoline Gatefoin" userId="d9b7258e-e0d2-4e2f-b52c-46923db385d3" providerId="ADAL" clId="{1155873A-3009-4575-AC95-E57ABC2766C9}" dt="2022-04-26T13:28:03.649" v="96" actId="47"/>
        <pc:sldMkLst>
          <pc:docMk/>
          <pc:sldMk cId="2806024362" sldId="264"/>
        </pc:sldMkLst>
      </pc:sldChg>
      <pc:sldChg chg="del">
        <pc:chgData name="Gwendoline Gatefoin" userId="d9b7258e-e0d2-4e2f-b52c-46923db385d3" providerId="ADAL" clId="{1155873A-3009-4575-AC95-E57ABC2766C9}" dt="2022-04-26T13:28:03.060" v="95" actId="47"/>
        <pc:sldMkLst>
          <pc:docMk/>
          <pc:sldMk cId="848325248" sldId="265"/>
        </pc:sldMkLst>
      </pc:sldChg>
      <pc:sldChg chg="del">
        <pc:chgData name="Gwendoline Gatefoin" userId="d9b7258e-e0d2-4e2f-b52c-46923db385d3" providerId="ADAL" clId="{1155873A-3009-4575-AC95-E57ABC2766C9}" dt="2022-04-26T13:28:02.270" v="94" actId="47"/>
        <pc:sldMkLst>
          <pc:docMk/>
          <pc:sldMk cId="141472454" sldId="266"/>
        </pc:sldMkLst>
      </pc:sldChg>
      <pc:sldChg chg="del">
        <pc:chgData name="Gwendoline Gatefoin" userId="d9b7258e-e0d2-4e2f-b52c-46923db385d3" providerId="ADAL" clId="{1155873A-3009-4575-AC95-E57ABC2766C9}" dt="2022-04-26T13:28:01.547" v="93" actId="47"/>
        <pc:sldMkLst>
          <pc:docMk/>
          <pc:sldMk cId="78982831" sldId="267"/>
        </pc:sldMkLst>
      </pc:sldChg>
      <pc:sldChg chg="del">
        <pc:chgData name="Gwendoline Gatefoin" userId="d9b7258e-e0d2-4e2f-b52c-46923db385d3" providerId="ADAL" clId="{1155873A-3009-4575-AC95-E57ABC2766C9}" dt="2022-04-26T13:27:51.926" v="92" actId="47"/>
        <pc:sldMkLst>
          <pc:docMk/>
          <pc:sldMk cId="2665257911" sldId="268"/>
        </pc:sldMkLst>
      </pc:sldChg>
      <pc:sldChg chg="del">
        <pc:chgData name="Gwendoline Gatefoin" userId="d9b7258e-e0d2-4e2f-b52c-46923db385d3" providerId="ADAL" clId="{1155873A-3009-4575-AC95-E57ABC2766C9}" dt="2022-04-26T13:27:51.264" v="91" actId="47"/>
        <pc:sldMkLst>
          <pc:docMk/>
          <pc:sldMk cId="4238587311" sldId="269"/>
        </pc:sldMkLst>
      </pc:sldChg>
      <pc:sldChg chg="del">
        <pc:chgData name="Gwendoline Gatefoin" userId="d9b7258e-e0d2-4e2f-b52c-46923db385d3" providerId="ADAL" clId="{1155873A-3009-4575-AC95-E57ABC2766C9}" dt="2022-04-26T13:27:50.382" v="90" actId="47"/>
        <pc:sldMkLst>
          <pc:docMk/>
          <pc:sldMk cId="3457400135" sldId="270"/>
        </pc:sldMkLst>
      </pc:sldChg>
      <pc:sldChg chg="del">
        <pc:chgData name="Gwendoline Gatefoin" userId="d9b7258e-e0d2-4e2f-b52c-46923db385d3" providerId="ADAL" clId="{1155873A-3009-4575-AC95-E57ABC2766C9}" dt="2022-04-26T13:26:36.222" v="86" actId="47"/>
        <pc:sldMkLst>
          <pc:docMk/>
          <pc:sldMk cId="3888811799" sldId="272"/>
        </pc:sldMkLst>
      </pc:sldChg>
      <pc:sldChg chg="del">
        <pc:chgData name="Gwendoline Gatefoin" userId="d9b7258e-e0d2-4e2f-b52c-46923db385d3" providerId="ADAL" clId="{1155873A-3009-4575-AC95-E57ABC2766C9}" dt="2022-04-26T13:26:35.498" v="85" actId="47"/>
        <pc:sldMkLst>
          <pc:docMk/>
          <pc:sldMk cId="2764512340" sldId="273"/>
        </pc:sldMkLst>
      </pc:sldChg>
      <pc:sldChg chg="del">
        <pc:chgData name="Gwendoline Gatefoin" userId="d9b7258e-e0d2-4e2f-b52c-46923db385d3" providerId="ADAL" clId="{1155873A-3009-4575-AC95-E57ABC2766C9}" dt="2022-04-26T13:26:10.909" v="82" actId="47"/>
        <pc:sldMkLst>
          <pc:docMk/>
          <pc:sldMk cId="1618381343" sldId="274"/>
        </pc:sldMkLst>
      </pc:sldChg>
      <pc:sldChg chg="del">
        <pc:chgData name="Gwendoline Gatefoin" userId="d9b7258e-e0d2-4e2f-b52c-46923db385d3" providerId="ADAL" clId="{1155873A-3009-4575-AC95-E57ABC2766C9}" dt="2022-04-26T13:26:20.455" v="83" actId="47"/>
        <pc:sldMkLst>
          <pc:docMk/>
          <pc:sldMk cId="3680716073" sldId="275"/>
        </pc:sldMkLst>
      </pc:sldChg>
      <pc:sldChg chg="add">
        <pc:chgData name="Gwendoline Gatefoin" userId="d9b7258e-e0d2-4e2f-b52c-46923db385d3" providerId="ADAL" clId="{1155873A-3009-4575-AC95-E57ABC2766C9}" dt="2022-04-26T13:23:41.085" v="0"/>
        <pc:sldMkLst>
          <pc:docMk/>
          <pc:sldMk cId="682685139" sldId="632"/>
        </pc:sldMkLst>
      </pc:sldChg>
      <pc:sldChg chg="modSp add mod">
        <pc:chgData name="Gwendoline Gatefoin" userId="d9b7258e-e0d2-4e2f-b52c-46923db385d3" providerId="ADAL" clId="{1155873A-3009-4575-AC95-E57ABC2766C9}" dt="2022-04-26T13:26:02.883" v="81" actId="20577"/>
        <pc:sldMkLst>
          <pc:docMk/>
          <pc:sldMk cId="2983563067" sldId="675"/>
        </pc:sldMkLst>
        <pc:spChg chg="mod">
          <ac:chgData name="Gwendoline Gatefoin" userId="d9b7258e-e0d2-4e2f-b52c-46923db385d3" providerId="ADAL" clId="{1155873A-3009-4575-AC95-E57ABC2766C9}" dt="2022-04-26T13:26:02.883" v="81" actId="20577"/>
          <ac:spMkLst>
            <pc:docMk/>
            <pc:sldMk cId="2983563067" sldId="675"/>
            <ac:spMk id="7" creationId="{3BEA3F3C-77CA-482F-A6B4-6DE1A9E7BB38}"/>
          </ac:spMkLst>
        </pc:spChg>
      </pc:sldChg>
      <pc:sldChg chg="add">
        <pc:chgData name="Gwendoline Gatefoin" userId="d9b7258e-e0d2-4e2f-b52c-46923db385d3" providerId="ADAL" clId="{1155873A-3009-4575-AC95-E57ABC2766C9}" dt="2022-04-26T13:26:27.323" v="84"/>
        <pc:sldMkLst>
          <pc:docMk/>
          <pc:sldMk cId="2697033539" sldId="676"/>
        </pc:sldMkLst>
      </pc:sldChg>
      <pc:sldChg chg="modSp add mod">
        <pc:chgData name="Gwendoline Gatefoin" userId="d9b7258e-e0d2-4e2f-b52c-46923db385d3" providerId="ADAL" clId="{1155873A-3009-4575-AC95-E57ABC2766C9}" dt="2022-04-26T13:27:45.299" v="89" actId="27636"/>
        <pc:sldMkLst>
          <pc:docMk/>
          <pc:sldMk cId="1739702774" sldId="683"/>
        </pc:sldMkLst>
        <pc:spChg chg="mod">
          <ac:chgData name="Gwendoline Gatefoin" userId="d9b7258e-e0d2-4e2f-b52c-46923db385d3" providerId="ADAL" clId="{1155873A-3009-4575-AC95-E57ABC2766C9}" dt="2022-04-26T13:27:45.299" v="89" actId="27636"/>
          <ac:spMkLst>
            <pc:docMk/>
            <pc:sldMk cId="1739702774" sldId="683"/>
            <ac:spMk id="2" creationId="{7F4B08F2-678C-4FFE-A955-822769AE9E7A}"/>
          </ac:spMkLst>
        </pc:spChg>
      </pc:sldChg>
      <pc:sldChg chg="add">
        <pc:chgData name="Gwendoline Gatefoin" userId="d9b7258e-e0d2-4e2f-b52c-46923db385d3" providerId="ADAL" clId="{1155873A-3009-4575-AC95-E57ABC2766C9}" dt="2022-04-26T13:27:27.289" v="87"/>
        <pc:sldMkLst>
          <pc:docMk/>
          <pc:sldMk cId="703889912" sldId="701"/>
        </pc:sldMkLst>
      </pc:sldChg>
      <pc:sldChg chg="addSp delSp modSp new mod modClrScheme chgLayout">
        <pc:chgData name="Gwendoline Gatefoin" userId="d9b7258e-e0d2-4e2f-b52c-46923db385d3" providerId="ADAL" clId="{1155873A-3009-4575-AC95-E57ABC2766C9}" dt="2022-04-26T13:29:31.410" v="171" actId="6549"/>
        <pc:sldMkLst>
          <pc:docMk/>
          <pc:sldMk cId="1119425171" sldId="702"/>
        </pc:sldMkLst>
        <pc:spChg chg="del mod ord">
          <ac:chgData name="Gwendoline Gatefoin" userId="d9b7258e-e0d2-4e2f-b52c-46923db385d3" providerId="ADAL" clId="{1155873A-3009-4575-AC95-E57ABC2766C9}" dt="2022-04-26T13:28:14.160" v="104" actId="700"/>
          <ac:spMkLst>
            <pc:docMk/>
            <pc:sldMk cId="1119425171" sldId="702"/>
            <ac:spMk id="2" creationId="{72E4AD9D-530C-49F5-B6D7-0C1FD9734D3B}"/>
          </ac:spMkLst>
        </pc:spChg>
        <pc:spChg chg="del">
          <ac:chgData name="Gwendoline Gatefoin" userId="d9b7258e-e0d2-4e2f-b52c-46923db385d3" providerId="ADAL" clId="{1155873A-3009-4575-AC95-E57ABC2766C9}" dt="2022-04-26T13:28:14.160" v="104" actId="700"/>
          <ac:spMkLst>
            <pc:docMk/>
            <pc:sldMk cId="1119425171" sldId="702"/>
            <ac:spMk id="3" creationId="{8417FFAA-555A-4A3E-98DE-B964BCC4DD90}"/>
          </ac:spMkLst>
        </pc:spChg>
        <pc:spChg chg="mod ord">
          <ac:chgData name="Gwendoline Gatefoin" userId="d9b7258e-e0d2-4e2f-b52c-46923db385d3" providerId="ADAL" clId="{1155873A-3009-4575-AC95-E57ABC2766C9}" dt="2022-04-26T13:28:14.160" v="104" actId="700"/>
          <ac:spMkLst>
            <pc:docMk/>
            <pc:sldMk cId="1119425171" sldId="702"/>
            <ac:spMk id="4" creationId="{D0E9DBE9-DE01-4F4B-B3CC-96C8D3C423C1}"/>
          </ac:spMkLst>
        </pc:spChg>
        <pc:spChg chg="add mod ord">
          <ac:chgData name="Gwendoline Gatefoin" userId="d9b7258e-e0d2-4e2f-b52c-46923db385d3" providerId="ADAL" clId="{1155873A-3009-4575-AC95-E57ABC2766C9}" dt="2022-04-26T13:29:31.410" v="171" actId="6549"/>
          <ac:spMkLst>
            <pc:docMk/>
            <pc:sldMk cId="1119425171" sldId="702"/>
            <ac:spMk id="5" creationId="{6BE33870-4ADD-43C4-BBBB-EFFC263541AF}"/>
          </ac:spMkLst>
        </pc:spChg>
      </pc:sldChg>
      <pc:sldChg chg="modSp add mod modClrScheme chgLayout">
        <pc:chgData name="Gwendoline Gatefoin" userId="d9b7258e-e0d2-4e2f-b52c-46923db385d3" providerId="ADAL" clId="{1155873A-3009-4575-AC95-E57ABC2766C9}" dt="2022-04-26T13:29:47.385" v="173" actId="700"/>
        <pc:sldMkLst>
          <pc:docMk/>
          <pc:sldMk cId="3802863319" sldId="703"/>
        </pc:sldMkLst>
        <pc:spChg chg="mod ord">
          <ac:chgData name="Gwendoline Gatefoin" userId="d9b7258e-e0d2-4e2f-b52c-46923db385d3" providerId="ADAL" clId="{1155873A-3009-4575-AC95-E57ABC2766C9}" dt="2022-04-26T13:29:47.385" v="173" actId="700"/>
          <ac:spMkLst>
            <pc:docMk/>
            <pc:sldMk cId="3802863319" sldId="703"/>
            <ac:spMk id="2" creationId="{3D89F863-40D5-4F4C-B8F0-73E24DE4F2DE}"/>
          </ac:spMkLst>
        </pc:spChg>
        <pc:spChg chg="mod ord">
          <ac:chgData name="Gwendoline Gatefoin" userId="d9b7258e-e0d2-4e2f-b52c-46923db385d3" providerId="ADAL" clId="{1155873A-3009-4575-AC95-E57ABC2766C9}" dt="2022-04-26T13:29:47.385" v="173" actId="700"/>
          <ac:spMkLst>
            <pc:docMk/>
            <pc:sldMk cId="3802863319" sldId="703"/>
            <ac:spMk id="4" creationId="{A7CA23A3-039C-425A-ACB9-6002348B48EE}"/>
          </ac:spMkLst>
        </pc:spChg>
      </pc:sldChg>
    </pc:docChg>
  </pc:docChgLst>
  <pc:docChgLst>
    <pc:chgData name="Gwendoline Gatefoin" userId="S::gwendoline.gatefoin@getyooz.com::d9b7258e-e0d2-4e2f-b52c-46923db385d3" providerId="AD" clId="Web-{063108BD-EA39-46C8-24CC-D0ADB15C7D8C}"/>
    <pc:docChg chg="modSld">
      <pc:chgData name="Gwendoline Gatefoin" userId="S::gwendoline.gatefoin@getyooz.com::d9b7258e-e0d2-4e2f-b52c-46923db385d3" providerId="AD" clId="Web-{063108BD-EA39-46C8-24CC-D0ADB15C7D8C}" dt="2022-04-27T12:59:32.104" v="1" actId="20577"/>
      <pc:docMkLst>
        <pc:docMk/>
      </pc:docMkLst>
      <pc:sldChg chg="modSp">
        <pc:chgData name="Gwendoline Gatefoin" userId="S::gwendoline.gatefoin@getyooz.com::d9b7258e-e0d2-4e2f-b52c-46923db385d3" providerId="AD" clId="Web-{063108BD-EA39-46C8-24CC-D0ADB15C7D8C}" dt="2022-04-27T12:59:32.104" v="1" actId="20577"/>
        <pc:sldMkLst>
          <pc:docMk/>
          <pc:sldMk cId="2983563067" sldId="675"/>
        </pc:sldMkLst>
        <pc:spChg chg="mod">
          <ac:chgData name="Gwendoline Gatefoin" userId="S::gwendoline.gatefoin@getyooz.com::d9b7258e-e0d2-4e2f-b52c-46923db385d3" providerId="AD" clId="Web-{063108BD-EA39-46C8-24CC-D0ADB15C7D8C}" dt="2022-04-27T12:59:32.104" v="1" actId="20577"/>
          <ac:spMkLst>
            <pc:docMk/>
            <pc:sldMk cId="2983563067" sldId="675"/>
            <ac:spMk id="7" creationId="{3BEA3F3C-77CA-482F-A6B4-6DE1A9E7BB38}"/>
          </ac:spMkLst>
        </pc:spChg>
      </pc:sldChg>
    </pc:docChg>
  </pc:docChgLst>
  <pc:docChgLst>
    <pc:chgData name="Nathalie Stickelbaut" userId="5718e47d-58aa-4ba4-b67d-2e024021529b" providerId="ADAL" clId="{210639D1-B2EE-40F4-A23D-C5910B0ACF7D}"/>
    <pc:docChg chg="undo custSel delSld modSld">
      <pc:chgData name="Nathalie Stickelbaut" userId="5718e47d-58aa-4ba4-b67d-2e024021529b" providerId="ADAL" clId="{210639D1-B2EE-40F4-A23D-C5910B0ACF7D}" dt="2022-04-20T12:25:08.823" v="7" actId="13926"/>
      <pc:docMkLst>
        <pc:docMk/>
      </pc:docMkLst>
      <pc:sldChg chg="modSp mod">
        <pc:chgData name="Nathalie Stickelbaut" userId="5718e47d-58aa-4ba4-b67d-2e024021529b" providerId="ADAL" clId="{210639D1-B2EE-40F4-A23D-C5910B0ACF7D}" dt="2022-04-20T12:25:08.823" v="7" actId="13926"/>
        <pc:sldMkLst>
          <pc:docMk/>
          <pc:sldMk cId="2665257911" sldId="268"/>
        </pc:sldMkLst>
        <pc:spChg chg="mod">
          <ac:chgData name="Nathalie Stickelbaut" userId="5718e47d-58aa-4ba4-b67d-2e024021529b" providerId="ADAL" clId="{210639D1-B2EE-40F4-A23D-C5910B0ACF7D}" dt="2022-04-20T12:25:08.823" v="7" actId="13926"/>
          <ac:spMkLst>
            <pc:docMk/>
            <pc:sldMk cId="2665257911" sldId="268"/>
            <ac:spMk id="13" creationId="{A74A5311-6884-4D50-A79F-F68F32C2D052}"/>
          </ac:spMkLst>
        </pc:spChg>
      </pc:sldChg>
      <pc:sldChg chg="modSp mod">
        <pc:chgData name="Nathalie Stickelbaut" userId="5718e47d-58aa-4ba4-b67d-2e024021529b" providerId="ADAL" clId="{210639D1-B2EE-40F4-A23D-C5910B0ACF7D}" dt="2022-04-20T12:24:35.091" v="6" actId="207"/>
        <pc:sldMkLst>
          <pc:docMk/>
          <pc:sldMk cId="3888811799" sldId="272"/>
        </pc:sldMkLst>
        <pc:spChg chg="mod">
          <ac:chgData name="Nathalie Stickelbaut" userId="5718e47d-58aa-4ba4-b67d-2e024021529b" providerId="ADAL" clId="{210639D1-B2EE-40F4-A23D-C5910B0ACF7D}" dt="2022-04-20T12:24:35.091" v="6" actId="207"/>
          <ac:spMkLst>
            <pc:docMk/>
            <pc:sldMk cId="3888811799" sldId="272"/>
            <ac:spMk id="14" creationId="{D5B2F501-9DD8-404C-8107-A3B7F83C6BA5}"/>
          </ac:spMkLst>
        </pc:spChg>
        <pc:spChg chg="mod">
          <ac:chgData name="Nathalie Stickelbaut" userId="5718e47d-58aa-4ba4-b67d-2e024021529b" providerId="ADAL" clId="{210639D1-B2EE-40F4-A23D-C5910B0ACF7D}" dt="2022-04-20T12:23:57.778" v="4" actId="255"/>
          <ac:spMkLst>
            <pc:docMk/>
            <pc:sldMk cId="3888811799" sldId="272"/>
            <ac:spMk id="23" creationId="{C3535A9D-985B-4449-A020-070FF03223EC}"/>
          </ac:spMkLst>
        </pc:spChg>
      </pc:sldChg>
      <pc:sldChg chg="del">
        <pc:chgData name="Nathalie Stickelbaut" userId="5718e47d-58aa-4ba4-b67d-2e024021529b" providerId="ADAL" clId="{210639D1-B2EE-40F4-A23D-C5910B0ACF7D}" dt="2022-04-20T12:00:41.657" v="0" actId="47"/>
        <pc:sldMkLst>
          <pc:docMk/>
          <pc:sldMk cId="1128530435" sldId="28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9388B0-9DCE-4DAD-A9F7-708CB15BF7FE}" type="datetimeFigureOut">
              <a:t>20/06/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240DBE-5152-4CB7-B4EC-249856BBDBB3}" type="slidenum">
              <a:t>‹N°›</a:t>
            </a:fld>
            <a:endParaRPr lang="fr-FR"/>
          </a:p>
        </p:txBody>
      </p:sp>
    </p:spTree>
    <p:extLst>
      <p:ext uri="{BB962C8B-B14F-4D97-AF65-F5344CB8AC3E}">
        <p14:creationId xmlns:p14="http://schemas.microsoft.com/office/powerpoint/2010/main" val="27321275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 Target="../slides/slide23.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Tree>
    <p:extLst>
      <p:ext uri="{BB962C8B-B14F-4D97-AF65-F5344CB8AC3E}">
        <p14:creationId xmlns:p14="http://schemas.microsoft.com/office/powerpoint/2010/main" val="856520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38EC78-C10C-4654-9BCF-DBCAA689BC65}" type="slidenum">
              <a:rPr kumimoji="0" lang="it-IT" sz="1600" b="0" i="0" u="none" strike="noStrike" kern="1200" cap="none" spc="0" normalizeH="0" baseline="0" noProof="0" smtClean="0">
                <a:ln>
                  <a:noFill/>
                </a:ln>
                <a:solidFill>
                  <a:srgbClr val="312D2A"/>
                </a:solidFill>
                <a:effectLst/>
                <a:uLnTx/>
                <a:uFillTx/>
                <a:latin typeface="Oracle Sans Tab"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1600" b="0" i="0" u="none" strike="noStrike" kern="1200" cap="none" spc="0" normalizeH="0" baseline="0" noProof="0">
              <a:ln>
                <a:noFill/>
              </a:ln>
              <a:solidFill>
                <a:srgbClr val="312D2A"/>
              </a:solidFill>
              <a:effectLst/>
              <a:uLnTx/>
              <a:uFillTx/>
              <a:latin typeface="Oracle Sans Tab" panose="020B0503020204020204" pitchFamily="34" charset="0"/>
              <a:ea typeface="+mn-ea"/>
              <a:cs typeface="+mn-cs"/>
            </a:endParaRPr>
          </a:p>
        </p:txBody>
      </p:sp>
    </p:spTree>
    <p:extLst>
      <p:ext uri="{BB962C8B-B14F-4D97-AF65-F5344CB8AC3E}">
        <p14:creationId xmlns:p14="http://schemas.microsoft.com/office/powerpoint/2010/main" val="1341733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72D9AE-7182-4680-8F79-479C4181FF08}" type="slidenum">
              <a:rPr kumimoji="0" lang="en-US" sz="1200" b="0" i="0" u="none" strike="noStrike" kern="1200" cap="none" spc="0" normalizeH="0" baseline="0" noProof="0" smtClean="0">
                <a:ln>
                  <a:noFill/>
                </a:ln>
                <a:solidFill>
                  <a:srgbClr val="5F5F5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5F5F5F"/>
              </a:solidFill>
              <a:effectLst/>
              <a:uLnTx/>
              <a:uFillTx/>
              <a:latin typeface="Calibri"/>
              <a:ea typeface="+mn-ea"/>
              <a:cs typeface="+mn-cs"/>
            </a:endParaRPr>
          </a:p>
        </p:txBody>
      </p:sp>
    </p:spTree>
    <p:extLst>
      <p:ext uri="{BB962C8B-B14F-4D97-AF65-F5344CB8AC3E}">
        <p14:creationId xmlns:p14="http://schemas.microsoft.com/office/powerpoint/2010/main" val="3921212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sz="1200" b="0" i="0" kern="1200" dirty="0">
              <a:solidFill>
                <a:schemeClr val="tx1"/>
              </a:solidFill>
              <a:effectLst/>
              <a:latin typeface="Oracle Sans Tab" panose="020B0503020204020204" pitchFamily="34" charset="0"/>
              <a:ea typeface="+mn-ea"/>
              <a:cs typeface="Oracle Sans" panose="020B0503020204020204" pitchFamily="34" charset="0"/>
            </a:endParaRPr>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20085949-01A6-3B46-BBD7-7305F477A54B}" type="slidenum">
              <a:rPr kumimoji="0" lang="en-US" sz="1200" b="0" i="0" u="none" strike="noStrike" kern="1200" cap="none" spc="0" normalizeH="0" baseline="0" noProof="0" smtClean="0">
                <a:ln>
                  <a:noFill/>
                </a:ln>
                <a:solidFill>
                  <a:prstClr val="black"/>
                </a:solidFill>
                <a:effectLst/>
                <a:uLnTx/>
                <a:uFillTx/>
                <a:latin typeface="Oracle Sans" panose="020B0503020204020204" pitchFamily="34" charset="0"/>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Oracle Sans" panose="020B0503020204020204" pitchFamily="34" charset="0"/>
              <a:ea typeface="+mn-ea"/>
              <a:cs typeface="Arial"/>
            </a:endParaRPr>
          </a:p>
        </p:txBody>
      </p:sp>
    </p:spTree>
    <p:extLst>
      <p:ext uri="{BB962C8B-B14F-4D97-AF65-F5344CB8AC3E}">
        <p14:creationId xmlns:p14="http://schemas.microsoft.com/office/powerpoint/2010/main" val="35903594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6CC4F5-8BAE-8444-BCCC-0C2A7C2928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6297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737176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C2B5D8F-9D9D-4173-A9BF-1ACE61BA05F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6/20/20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09519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DC5964-3162-43B5-B1EC-63C8D166D7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1456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6913" y="301625"/>
            <a:ext cx="3625850" cy="2039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8C72D9AE-7182-4680-8F79-479C4181FF08}" type="slidenum">
              <a:rPr kumimoji="0" lang="en-US" sz="1200" b="0" i="0" u="none" strike="noStrike" kern="1200" cap="none" spc="0" normalizeH="0" baseline="0" noProof="0" smtClean="0">
                <a:ln>
                  <a:noFill/>
                </a:ln>
                <a:solidFill>
                  <a:srgbClr val="58595B"/>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srgbClr val="58595B"/>
              </a:solidFill>
              <a:effectLst/>
              <a:uLnTx/>
              <a:uFillTx/>
              <a:latin typeface="Calibri"/>
              <a:ea typeface="+mn-ea"/>
              <a:cs typeface="+mn-cs"/>
            </a:endParaRPr>
          </a:p>
        </p:txBody>
      </p:sp>
    </p:spTree>
    <p:extLst>
      <p:ext uri="{BB962C8B-B14F-4D97-AF65-F5344CB8AC3E}">
        <p14:creationId xmlns:p14="http://schemas.microsoft.com/office/powerpoint/2010/main" val="422719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fr-FR" dirty="0"/>
          </a:p>
          <a:p>
            <a:r>
              <a:rPr lang="fr-FR" dirty="0"/>
              <a:t>Slide 6</a:t>
            </a:r>
          </a:p>
          <a:p>
            <a:endParaRPr lang="fr-FR" dirty="0"/>
          </a:p>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58926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B5D8F-9D9D-4173-A9BF-1ACE61BA05F2}"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20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1648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04394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a:lnSpc>
                <a:spcPct val="90000"/>
              </a:lnSpc>
            </a:pPr>
            <a:endParaRPr lang="en-US"/>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DC5964-3162-43B5-B1EC-63C8D166D7D3}" type="slidenum">
              <a:rPr kumimoji="0" lang="en-US" sz="1600" b="0" i="0" u="none" strike="noStrike" kern="1200" cap="none" spc="0" normalizeH="0" baseline="0" noProof="0" smtClean="0">
                <a:ln>
                  <a:noFill/>
                </a:ln>
                <a:solidFill>
                  <a:prstClr val="black"/>
                </a:solidFill>
                <a:effectLst/>
                <a:uLnTx/>
                <a:uFillTx/>
                <a:latin typeface="Oracle Sans"/>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600" b="0" i="0" u="none" strike="noStrike" kern="1200" cap="none" spc="0" normalizeH="0" baseline="0" noProof="0">
              <a:ln>
                <a:noFill/>
              </a:ln>
              <a:solidFill>
                <a:prstClr val="black"/>
              </a:solidFill>
              <a:effectLst/>
              <a:uLnTx/>
              <a:uFillTx/>
              <a:latin typeface="Oracle Sans"/>
              <a:ea typeface="+mn-ea"/>
              <a:cs typeface="Arial"/>
            </a:endParaRPr>
          </a:p>
        </p:txBody>
      </p:sp>
    </p:spTree>
    <p:extLst>
      <p:ext uri="{BB962C8B-B14F-4D97-AF65-F5344CB8AC3E}">
        <p14:creationId xmlns:p14="http://schemas.microsoft.com/office/powerpoint/2010/main" val="1175589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0112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B5D8F-9D9D-4173-A9BF-1ACE61BA05F2}"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20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2212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dirty="0"/>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DC5964-3162-43B5-B1EC-63C8D166D7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2671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0666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660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38EC78-C10C-4654-9BCF-DBCAA689BC65}" type="slidenum">
              <a:rPr kumimoji="0" lang="it-IT" sz="1600" b="0" i="0" u="none" strike="noStrike" kern="1200" cap="none" spc="0" normalizeH="0" baseline="0" noProof="0" smtClean="0">
                <a:ln>
                  <a:noFill/>
                </a:ln>
                <a:solidFill>
                  <a:srgbClr val="312D2A"/>
                </a:solidFill>
                <a:effectLst/>
                <a:uLnTx/>
                <a:uFillTx/>
                <a:latin typeface="Oracle Sans Tab"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600" b="0" i="0" u="none" strike="noStrike" kern="1200" cap="none" spc="0" normalizeH="0" baseline="0" noProof="0">
              <a:ln>
                <a:noFill/>
              </a:ln>
              <a:solidFill>
                <a:srgbClr val="312D2A"/>
              </a:solidFill>
              <a:effectLst/>
              <a:uLnTx/>
              <a:uFillTx/>
              <a:latin typeface="Oracle Sans Tab" panose="020B0503020204020204" pitchFamily="34" charset="0"/>
              <a:ea typeface="+mn-ea"/>
              <a:cs typeface="+mn-cs"/>
            </a:endParaRPr>
          </a:p>
        </p:txBody>
      </p:sp>
    </p:spTree>
    <p:extLst>
      <p:ext uri="{BB962C8B-B14F-4D97-AF65-F5344CB8AC3E}">
        <p14:creationId xmlns:p14="http://schemas.microsoft.com/office/powerpoint/2010/main" val="17704170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9.jp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9.jp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5.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68.jp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9.pn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9.xml"/><Relationship Id="rId4" Type="http://schemas.openxmlformats.org/officeDocument/2006/relationships/image" Target="../media/image2.jp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0.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18.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5.jp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5.jp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5" Type="http://schemas.openxmlformats.org/officeDocument/2006/relationships/image" Target="../media/image19.jpeg"/><Relationship Id="rId4" Type="http://schemas.openxmlformats.org/officeDocument/2006/relationships/image" Target="../media/image18.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29.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8.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27.jpeg"/><Relationship Id="rId5" Type="http://schemas.openxmlformats.org/officeDocument/2006/relationships/tags" Target="../tags/tag14.xml"/><Relationship Id="rId10" Type="http://schemas.openxmlformats.org/officeDocument/2006/relationships/slideMaster" Target="../slideMasters/slideMaster4.xml"/><Relationship Id="rId4" Type="http://schemas.openxmlformats.org/officeDocument/2006/relationships/tags" Target="../tags/tag13.xml"/><Relationship Id="rId9" Type="http://schemas.openxmlformats.org/officeDocument/2006/relationships/tags" Target="../tags/tag1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0.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4.xml"/><Relationship Id="rId5" Type="http://schemas.openxmlformats.org/officeDocument/2006/relationships/tags" Target="../tags/tag23.xml"/><Relationship Id="rId4" Type="http://schemas.openxmlformats.org/officeDocument/2006/relationships/tags" Target="../tags/tag2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2.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2.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33.png"/><Relationship Id="rId1" Type="http://schemas.openxmlformats.org/officeDocument/2006/relationships/slideMaster" Target="../slideMasters/slideMaster5.xml"/><Relationship Id="rId5" Type="http://schemas.openxmlformats.org/officeDocument/2006/relationships/image" Target="../media/image34.png"/><Relationship Id="rId4"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jp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3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oracle.com/investor" TargetMode="External"/><Relationship Id="rId1" Type="http://schemas.openxmlformats.org/officeDocument/2006/relationships/slideMaster" Target="../slideMasters/slideMaster5.xml"/><Relationship Id="rId5" Type="http://schemas.openxmlformats.org/officeDocument/2006/relationships/image" Target="../media/image31.png"/><Relationship Id="rId4" Type="http://schemas.openxmlformats.org/officeDocument/2006/relationships/image" Target="../media/image25.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oracle.com/investor" TargetMode="External"/><Relationship Id="rId1" Type="http://schemas.openxmlformats.org/officeDocument/2006/relationships/slideMaster" Target="../slideMasters/slideMaster5.xml"/><Relationship Id="rId5" Type="http://schemas.openxmlformats.org/officeDocument/2006/relationships/image" Target="../media/image31.png"/><Relationship Id="rId4" Type="http://schemas.openxmlformats.org/officeDocument/2006/relationships/image" Target="../media/image25.jp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5.xml"/><Relationship Id="rId5" Type="http://schemas.openxmlformats.org/officeDocument/2006/relationships/tags" Target="../tags/tag28.xml"/><Relationship Id="rId4" Type="http://schemas.openxmlformats.org/officeDocument/2006/relationships/tags" Target="../tags/tag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2.jp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49.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 Id="rId4" Type="http://schemas.openxmlformats.org/officeDocument/2006/relationships/image" Target="../media/image25.jp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Master" Target="../slideMasters/slideMaster6.xml"/><Relationship Id="rId4" Type="http://schemas.openxmlformats.org/officeDocument/2006/relationships/image" Target="../media/image56.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57.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9.jpg"/><Relationship Id="rId1" Type="http://schemas.openxmlformats.org/officeDocument/2006/relationships/slideMaster" Target="../slideMasters/slideMaster7.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9.jpg"/><Relationship Id="rId1" Type="http://schemas.openxmlformats.org/officeDocument/2006/relationships/slideMaster" Target="../slideMasters/slideMaster7.xml"/><Relationship Id="rId5" Type="http://schemas.openxmlformats.org/officeDocument/2006/relationships/image" Target="../media/image52.svg"/><Relationship Id="rId4" Type="http://schemas.openxmlformats.org/officeDocument/2006/relationships/image" Target="../media/image51.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0.png"/><Relationship Id="rId1" Type="http://schemas.openxmlformats.org/officeDocument/2006/relationships/slideMaster" Target="../slideMasters/slideMaster7.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1.png"/><Relationship Id="rId1" Type="http://schemas.openxmlformats.org/officeDocument/2006/relationships/slideMaster" Target="../slideMasters/slideMaster7.xml"/><Relationship Id="rId5" Type="http://schemas.openxmlformats.org/officeDocument/2006/relationships/image" Target="../media/image52.svg"/><Relationship Id="rId4" Type="http://schemas.openxmlformats.org/officeDocument/2006/relationships/image" Target="../media/image51.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9.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2.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3.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4.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5.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2.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3.pn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B32560C-4600-4DC8-9086-BFD2106EE640}"/>
              </a:ext>
            </a:extLst>
          </p:cNvPr>
          <p:cNvSpPr>
            <a:spLocks noGrp="1"/>
          </p:cNvSpPr>
          <p:nvPr>
            <p:ph type="title"/>
          </p:nvPr>
        </p:nvSpPr>
        <p:spPr/>
        <p:txBody>
          <a:bodyPr/>
          <a:lstStyle/>
          <a:p>
            <a:r>
              <a:rPr lang="fr-FR"/>
              <a:t>Modifiez le style du titre</a:t>
            </a:r>
          </a:p>
        </p:txBody>
      </p:sp>
      <p:sp>
        <p:nvSpPr>
          <p:cNvPr id="5" name="Espace réservé du numéro de diapositive 2">
            <a:extLst>
              <a:ext uri="{FF2B5EF4-FFF2-40B4-BE49-F238E27FC236}">
                <a16:creationId xmlns:a16="http://schemas.microsoft.com/office/drawing/2014/main" id="{C0EFB5CD-8EAF-4449-AD1D-2A4D8D268B55}"/>
              </a:ext>
            </a:extLst>
          </p:cNvPr>
          <p:cNvSpPr>
            <a:spLocks noGrp="1"/>
          </p:cNvSpPr>
          <p:nvPr>
            <p:ph type="sldNum" sz="quarter" idx="4"/>
          </p:nvPr>
        </p:nvSpPr>
        <p:spPr>
          <a:xfrm>
            <a:off x="11451770" y="6415088"/>
            <a:ext cx="513067" cy="365125"/>
          </a:xfrm>
          <a:prstGeom prst="rect">
            <a:avLst/>
          </a:prstGeom>
        </p:spPr>
        <p:txBody>
          <a:bodyPr vert="horz" lIns="91440" tIns="45720" rIns="91440" bIns="45720" rtlCol="0" anchor="ctr"/>
          <a:lstStyle>
            <a:lvl1pPr algn="r">
              <a:defRPr sz="1000" b="1">
                <a:solidFill>
                  <a:srgbClr val="714C6C"/>
                </a:solidFill>
                <a:latin typeface="Noto Sans" panose="020B0502040504020204" pitchFamily="34" charset="0"/>
              </a:defRPr>
            </a:lvl1pPr>
          </a:lstStyle>
          <a:p>
            <a:fld id="{1DCA0A7C-70FE-4DA8-BFDF-9B5B0D096ACE}" type="slidenum">
              <a:rPr lang="fr-FR" smtClean="0"/>
              <a:pPr/>
              <a:t>‹N°›</a:t>
            </a:fld>
            <a:endParaRPr lang="fr-FR"/>
          </a:p>
        </p:txBody>
      </p:sp>
    </p:spTree>
    <p:extLst>
      <p:ext uri="{BB962C8B-B14F-4D97-AF65-F5344CB8AC3E}">
        <p14:creationId xmlns:p14="http://schemas.microsoft.com/office/powerpoint/2010/main" val="380806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Dark Title and content">
    <p:spTree>
      <p:nvGrpSpPr>
        <p:cNvPr id="1" name=""/>
        <p:cNvGrpSpPr/>
        <p:nvPr/>
      </p:nvGrpSpPr>
      <p:grpSpPr>
        <a:xfrm>
          <a:off x="0" y="0"/>
          <a:ext cx="0" cy="0"/>
          <a:chOff x="0" y="0"/>
          <a:chExt cx="0" cy="0"/>
        </a:xfrm>
      </p:grpSpPr>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9887834"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2288559"/>
            <a:ext cx="9887835" cy="3360372"/>
          </a:xfrm>
        </p:spPr>
        <p:txBody>
          <a:bodyPr lIns="0" rIns="0">
            <a:noAutofit/>
          </a:bodyPr>
          <a:lstStyle>
            <a:lvl1pPr marL="0" indent="0">
              <a:lnSpc>
                <a:spcPct val="100000"/>
              </a:lnSpc>
              <a:spcBef>
                <a:spcPts val="0"/>
              </a:spcBef>
              <a:buNone/>
              <a:defRPr sz="1800" b="0" i="0" kern="0" spc="0" baseline="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 </a:t>
            </a:r>
            <a:r>
              <a:rPr lang="en-US" dirty="0" err="1"/>
              <a:t>Donec</a:t>
            </a:r>
            <a:r>
              <a:rPr lang="en-US" dirty="0"/>
              <a:t> </a:t>
            </a:r>
            <a:r>
              <a:rPr lang="en-US" dirty="0" err="1"/>
              <a:t>auctor</a:t>
            </a:r>
            <a:r>
              <a:rPr lang="en-US" dirty="0"/>
              <a:t> </a:t>
            </a:r>
            <a:r>
              <a:rPr lang="en-US" dirty="0" err="1"/>
              <a:t>metus</a:t>
            </a:r>
            <a:r>
              <a:rPr lang="en-US" dirty="0"/>
              <a:t> sed </a:t>
            </a:r>
            <a:r>
              <a:rPr lang="en-US" dirty="0" err="1"/>
              <a:t>velit</a:t>
            </a:r>
            <a:r>
              <a:rPr lang="en-US" dirty="0"/>
              <a:t> </a:t>
            </a:r>
            <a:r>
              <a:rPr lang="en-US" dirty="0" err="1"/>
              <a:t>imperdiet</a:t>
            </a:r>
            <a:r>
              <a:rPr lang="en-US" dirty="0"/>
              <a:t> </a:t>
            </a:r>
            <a:r>
              <a:rPr lang="en-US" dirty="0" err="1"/>
              <a:t>consectetur</a:t>
            </a:r>
            <a:r>
              <a:rPr lang="en-US" dirty="0"/>
              <a:t>. </a:t>
            </a:r>
            <a:r>
              <a:rPr lang="en-US" dirty="0" err="1"/>
              <a:t>Aenean</a:t>
            </a:r>
            <a:r>
              <a:rPr lang="en-US" dirty="0"/>
              <a:t> et </a:t>
            </a:r>
            <a:r>
              <a:rPr lang="en-US" dirty="0" err="1"/>
              <a:t>turpis</a:t>
            </a:r>
            <a:r>
              <a:rPr lang="en-US" dirty="0"/>
              <a:t> </a:t>
            </a:r>
            <a:r>
              <a:rPr lang="en-US" dirty="0" err="1"/>
              <a:t>sapien</a:t>
            </a:r>
            <a:r>
              <a:rPr lang="en-US" dirty="0"/>
              <a:t>.</a:t>
            </a:r>
          </a:p>
        </p:txBody>
      </p:sp>
      <p:sp>
        <p:nvSpPr>
          <p:cNvPr id="10" name="Rectangle 9">
            <a:extLst>
              <a:ext uri="{FF2B5EF4-FFF2-40B4-BE49-F238E27FC236}">
                <a16:creationId xmlns:a16="http://schemas.microsoft.com/office/drawing/2014/main" id="{324354AA-8715-3B44-8031-FEACECD4374F}"/>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8B01B341-CE4F-4A4A-83C2-9813F15E75BA}"/>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4" name="Footer Placeholder 3">
            <a:extLst>
              <a:ext uri="{FF2B5EF4-FFF2-40B4-BE49-F238E27FC236}">
                <a16:creationId xmlns:a16="http://schemas.microsoft.com/office/drawing/2014/main" id="{B390D434-9F80-4D7D-840A-0535E9467C03}"/>
              </a:ext>
            </a:extLst>
          </p:cNvPr>
          <p:cNvSpPr>
            <a:spLocks noGrp="1"/>
          </p:cNvSpPr>
          <p:nvPr>
            <p:ph type="ftr" sz="quarter" idx="10"/>
          </p:nvPr>
        </p:nvSpPr>
        <p:spPr/>
        <p:txBody>
          <a:bodyPr/>
          <a:lstStyle/>
          <a:p>
            <a:r>
              <a:rPr lang="en-US"/>
              <a:t>Confidential – © 2019 Oracle Internal/Restricted/Highly Restricted</a:t>
            </a:r>
            <a:endParaRPr lang="en-US" dirty="0"/>
          </a:p>
        </p:txBody>
      </p:sp>
      <p:sp>
        <p:nvSpPr>
          <p:cNvPr id="6" name="Slide Number Placeholder 5">
            <a:extLst>
              <a:ext uri="{FF2B5EF4-FFF2-40B4-BE49-F238E27FC236}">
                <a16:creationId xmlns:a16="http://schemas.microsoft.com/office/drawing/2014/main" id="{C88AEB73-FD9D-4BDC-8014-8A23904D57FE}"/>
              </a:ext>
            </a:extLst>
          </p:cNvPr>
          <p:cNvSpPr>
            <a:spLocks noGrp="1"/>
          </p:cNvSpPr>
          <p:nvPr>
            <p:ph type="sldNum" sz="quarter" idx="11"/>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214424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ight - Quote with Abstract Border">
    <p:bg>
      <p:bgPr>
        <a:solidFill>
          <a:schemeClr val="bg2"/>
        </a:solidFill>
        <a:effectLst/>
      </p:bgPr>
    </p:bg>
    <p:spTree>
      <p:nvGrpSpPr>
        <p:cNvPr id="1" name=""/>
        <p:cNvGrpSpPr/>
        <p:nvPr/>
      </p:nvGrpSpPr>
      <p:grpSpPr>
        <a:xfrm>
          <a:off x="0" y="0"/>
          <a:ext cx="0" cy="0"/>
          <a:chOff x="0" y="0"/>
          <a:chExt cx="0" cy="0"/>
        </a:xfrm>
      </p:grpSpPr>
      <p:pic>
        <p:nvPicPr>
          <p:cNvPr id="15" name="Abstract Illustration">
            <a:extLst>
              <a:ext uri="{FF2B5EF4-FFF2-40B4-BE49-F238E27FC236}">
                <a16:creationId xmlns:a16="http://schemas.microsoft.com/office/drawing/2014/main" id="{4BA47984-3BFF-A548-8C6E-B57F84FA97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pic>
        <p:nvPicPr>
          <p:cNvPr id="34" name="OTag">
            <a:extLst>
              <a:ext uri="{FF2B5EF4-FFF2-40B4-BE49-F238E27FC236}">
                <a16:creationId xmlns:a16="http://schemas.microsoft.com/office/drawing/2014/main" id="{13B56594-FE97-D04E-A433-8BA9531F6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6" name="Footer">
            <a:extLst>
              <a:ext uri="{FF2B5EF4-FFF2-40B4-BE49-F238E27FC236}">
                <a16:creationId xmlns:a16="http://schemas.microsoft.com/office/drawing/2014/main" id="{DDFC6D9C-FDF9-F949-B5D5-6521B6F60D6B}"/>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chemeClr val="bg2"/>
                </a:solidFill>
              </a:defRPr>
            </a:lvl1pPr>
          </a:lstStyle>
          <a:p>
            <a:r>
              <a:rPr lang="en-US" dirty="0">
                <a:solidFill>
                  <a:srgbClr val="FCFBFA"/>
                </a:solidFill>
              </a:rPr>
              <a:t>Copyright © 2020, Oracle and/or its affiliates  |  Confidential: Internal/Restricted/Highly Restricted</a:t>
            </a:r>
          </a:p>
        </p:txBody>
      </p:sp>
      <p:sp>
        <p:nvSpPr>
          <p:cNvPr id="12" name="Slide Number">
            <a:extLst>
              <a:ext uri="{FF2B5EF4-FFF2-40B4-BE49-F238E27FC236}">
                <a16:creationId xmlns:a16="http://schemas.microsoft.com/office/drawing/2014/main" id="{95A033EA-7970-B64A-B936-A4621582ECE2}"/>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chemeClr val="bg1"/>
                </a:solidFill>
              </a:defRPr>
            </a:lvl1pPr>
          </a:lstStyle>
          <a:p>
            <a:fld id="{345D60D9-5372-5F40-9443-0F9AE5BDC3C8}" type="slidenum">
              <a:rPr lang="en-US" smtClean="0">
                <a:solidFill>
                  <a:srgbClr val="FCFBFA"/>
                </a:solidFill>
              </a:rPr>
              <a:pPr/>
              <a:t>‹N°›</a:t>
            </a:fld>
            <a:endParaRPr lang="en-US" dirty="0">
              <a:solidFill>
                <a:srgbClr val="FCFBFA"/>
              </a:solidFill>
            </a:endParaRPr>
          </a:p>
        </p:txBody>
      </p:sp>
      <p:sp>
        <p:nvSpPr>
          <p:cNvPr id="10" name="Text Field">
            <a:extLst>
              <a:ext uri="{FF2B5EF4-FFF2-40B4-BE49-F238E27FC236}">
                <a16:creationId xmlns:a16="http://schemas.microsoft.com/office/drawing/2014/main" id="{18FFF1FB-05AB-0B41-BAE5-8E8BC51700AF}"/>
              </a:ext>
            </a:extLst>
          </p:cNvPr>
          <p:cNvSpPr>
            <a:spLocks noGrp="1"/>
          </p:cNvSpPr>
          <p:nvPr>
            <p:ph type="body" sz="quarter" idx="34" hasCustomPrompt="1"/>
          </p:nvPr>
        </p:nvSpPr>
        <p:spPr>
          <a:xfrm>
            <a:off x="1018030" y="4706392"/>
            <a:ext cx="5077970" cy="895181"/>
          </a:xfrm>
        </p:spPr>
        <p:txBody>
          <a:bodyPr>
            <a:noAutofit/>
          </a:bodyPr>
          <a:lstStyle>
            <a:lvl1pPr>
              <a:defRPr/>
            </a:lvl1pPr>
          </a:lstStyle>
          <a:p>
            <a:pPr lvl="0"/>
            <a:r>
              <a:rPr lang="en-US" dirty="0"/>
              <a:t>Presenter’s Title</a:t>
            </a:r>
          </a:p>
          <a:p>
            <a:pPr lvl="0"/>
            <a:r>
              <a:rPr lang="en-US" dirty="0"/>
              <a:t>Organization, Division or Business Unit</a:t>
            </a:r>
          </a:p>
          <a:p>
            <a:pPr lvl="0"/>
            <a:r>
              <a:rPr lang="en-US" dirty="0"/>
              <a:t>Month 00, 2019</a:t>
            </a:r>
          </a:p>
        </p:txBody>
      </p:sp>
      <p:sp>
        <p:nvSpPr>
          <p:cNvPr id="11" name="Text Field">
            <a:extLst>
              <a:ext uri="{FF2B5EF4-FFF2-40B4-BE49-F238E27FC236}">
                <a16:creationId xmlns:a16="http://schemas.microsoft.com/office/drawing/2014/main" id="{64B2DE50-0500-D341-B88E-362BEEF5810C}"/>
              </a:ext>
            </a:extLst>
          </p:cNvPr>
          <p:cNvSpPr>
            <a:spLocks noGrp="1"/>
          </p:cNvSpPr>
          <p:nvPr>
            <p:ph type="body" sz="quarter" idx="35" hasCustomPrompt="1"/>
          </p:nvPr>
        </p:nvSpPr>
        <p:spPr>
          <a:xfrm>
            <a:off x="1018030" y="4368799"/>
            <a:ext cx="5077970" cy="266291"/>
          </a:xfrm>
        </p:spPr>
        <p:txBody>
          <a:bodyPr>
            <a:noAutofit/>
          </a:bodyPr>
          <a:lstStyle>
            <a:lvl1pPr>
              <a:defRPr b="1"/>
            </a:lvl1pPr>
          </a:lstStyle>
          <a:p>
            <a:pPr lvl="0"/>
            <a:r>
              <a:rPr lang="en-US" dirty="0"/>
              <a:t>Name</a:t>
            </a:r>
          </a:p>
        </p:txBody>
      </p:sp>
      <p:cxnSp>
        <p:nvCxnSpPr>
          <p:cNvPr id="21" name="Accent Mark">
            <a:extLst>
              <a:ext uri="{FF2B5EF4-FFF2-40B4-BE49-F238E27FC236}">
                <a16:creationId xmlns:a16="http://schemas.microsoft.com/office/drawing/2014/main" id="{07C84D47-A05F-1B4C-B629-729C7FD3826E}"/>
              </a:ext>
            </a:extLst>
          </p:cNvPr>
          <p:cNvCxnSpPr>
            <a:cxnSpLocks/>
          </p:cNvCxnSpPr>
          <p:nvPr userDrawn="1"/>
        </p:nvCxnSpPr>
        <p:spPr>
          <a:xfrm flipH="1">
            <a:off x="1021084"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Quote">
            <a:extLst>
              <a:ext uri="{FF2B5EF4-FFF2-40B4-BE49-F238E27FC236}">
                <a16:creationId xmlns:a16="http://schemas.microsoft.com/office/drawing/2014/main" id="{A623B5CC-1D01-324D-977F-DBEB5E2F1940}"/>
              </a:ext>
            </a:extLst>
          </p:cNvPr>
          <p:cNvSpPr>
            <a:spLocks noGrp="1"/>
          </p:cNvSpPr>
          <p:nvPr>
            <p:ph type="body" sz="quarter" idx="13" hasCustomPrompt="1"/>
          </p:nvPr>
        </p:nvSpPr>
        <p:spPr>
          <a:xfrm>
            <a:off x="1014987" y="2383542"/>
            <a:ext cx="10149840" cy="1477328"/>
          </a:xfrm>
          <a:prstGeom prst="rect">
            <a:avLst/>
          </a:prstGeom>
        </p:spPr>
        <p:txBody>
          <a:bodyPr wrap="square" lIns="0" anchor="b" anchorCtr="0">
            <a:noAutofit/>
          </a:bodyPr>
          <a:lstStyle>
            <a:lvl1pPr marL="0" indent="0" algn="l" fontAlgn="t">
              <a:lnSpc>
                <a:spcPct val="100000"/>
              </a:lnSpc>
              <a:spcBef>
                <a:spcPts val="0"/>
              </a:spcBef>
              <a:buNone/>
              <a:defRPr sz="3200" b="0" i="0">
                <a:latin typeface="+mj-lt"/>
                <a:cs typeface="Oracle Sans" panose="020B0503020204020204" pitchFamily="34" charset="0"/>
              </a:defRPr>
            </a:lvl1pPr>
          </a:lstStyle>
          <a:p>
            <a:pPr lvl="0"/>
            <a:r>
              <a:rPr lang="en-US" dirty="0"/>
              <a:t>“Click to type customer or partner quote surrounded by quotation marks.” Remove/replace placeholder logo as needed.</a:t>
            </a:r>
          </a:p>
        </p:txBody>
      </p:sp>
    </p:spTree>
    <p:extLst>
      <p:ext uri="{BB962C8B-B14F-4D97-AF65-F5344CB8AC3E}">
        <p14:creationId xmlns:p14="http://schemas.microsoft.com/office/powerpoint/2010/main" val="341649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 Quote with Abstract Border">
    <p:bg>
      <p:bgPr>
        <a:solidFill>
          <a:schemeClr val="tx1"/>
        </a:solidFill>
        <a:effectLst/>
      </p:bgPr>
    </p:bg>
    <p:spTree>
      <p:nvGrpSpPr>
        <p:cNvPr id="1" name=""/>
        <p:cNvGrpSpPr/>
        <p:nvPr/>
      </p:nvGrpSpPr>
      <p:grpSpPr>
        <a:xfrm>
          <a:off x="0" y="0"/>
          <a:ext cx="0" cy="0"/>
          <a:chOff x="0" y="0"/>
          <a:chExt cx="0" cy="0"/>
        </a:xfrm>
      </p:grpSpPr>
      <p:pic>
        <p:nvPicPr>
          <p:cNvPr id="15" name="Abstract Illustration">
            <a:extLst>
              <a:ext uri="{FF2B5EF4-FFF2-40B4-BE49-F238E27FC236}">
                <a16:creationId xmlns:a16="http://schemas.microsoft.com/office/drawing/2014/main" id="{4BA47984-3BFF-A548-8C6E-B57F84FA97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pic>
        <p:nvPicPr>
          <p:cNvPr id="34" name="OTag">
            <a:extLst>
              <a:ext uri="{FF2B5EF4-FFF2-40B4-BE49-F238E27FC236}">
                <a16:creationId xmlns:a16="http://schemas.microsoft.com/office/drawing/2014/main" id="{13B56594-FE97-D04E-A433-8BA9531F6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6" name="Footer">
            <a:extLst>
              <a:ext uri="{FF2B5EF4-FFF2-40B4-BE49-F238E27FC236}">
                <a16:creationId xmlns:a16="http://schemas.microsoft.com/office/drawing/2014/main" id="{981CFCC1-6EF1-9447-9D22-C4396466EA53}"/>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chemeClr val="bg2"/>
                </a:solidFill>
              </a:defRPr>
            </a:lvl1pPr>
          </a:lstStyle>
          <a:p>
            <a:r>
              <a:rPr lang="en-US" dirty="0">
                <a:solidFill>
                  <a:srgbClr val="FCFBFA"/>
                </a:solidFill>
              </a:rPr>
              <a:t>Copyright © 2020, Oracle and/or its affiliates  |  Confidential: Internal/Restricted/Highly Restricted</a:t>
            </a:r>
          </a:p>
        </p:txBody>
      </p:sp>
      <p:sp>
        <p:nvSpPr>
          <p:cNvPr id="12" name="Slide Number">
            <a:extLst>
              <a:ext uri="{FF2B5EF4-FFF2-40B4-BE49-F238E27FC236}">
                <a16:creationId xmlns:a16="http://schemas.microsoft.com/office/drawing/2014/main" id="{95A033EA-7970-B64A-B936-A4621582ECE2}"/>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chemeClr val="bg1"/>
                </a:solidFill>
              </a:defRPr>
            </a:lvl1pPr>
          </a:lstStyle>
          <a:p>
            <a:fld id="{345D60D9-5372-5F40-9443-0F9AE5BDC3C8}" type="slidenum">
              <a:rPr lang="en-US" smtClean="0">
                <a:solidFill>
                  <a:srgbClr val="FCFBFA"/>
                </a:solidFill>
              </a:rPr>
              <a:pPr/>
              <a:t>‹N°›</a:t>
            </a:fld>
            <a:endParaRPr lang="en-US" dirty="0">
              <a:solidFill>
                <a:srgbClr val="FCFBFA"/>
              </a:solidFill>
            </a:endParaRPr>
          </a:p>
        </p:txBody>
      </p:sp>
      <p:sp>
        <p:nvSpPr>
          <p:cNvPr id="10" name="Text Field">
            <a:extLst>
              <a:ext uri="{FF2B5EF4-FFF2-40B4-BE49-F238E27FC236}">
                <a16:creationId xmlns:a16="http://schemas.microsoft.com/office/drawing/2014/main" id="{805BEE86-35FD-004A-A348-8BC2F7BCD410}"/>
              </a:ext>
            </a:extLst>
          </p:cNvPr>
          <p:cNvSpPr>
            <a:spLocks noGrp="1"/>
          </p:cNvSpPr>
          <p:nvPr>
            <p:ph type="body" sz="quarter" idx="36" hasCustomPrompt="1"/>
          </p:nvPr>
        </p:nvSpPr>
        <p:spPr>
          <a:xfrm>
            <a:off x="1018030" y="4706392"/>
            <a:ext cx="5077970" cy="895181"/>
          </a:xfrm>
        </p:spPr>
        <p:txBody>
          <a:bodyPr>
            <a:noAutofit/>
          </a:bodyPr>
          <a:lstStyle>
            <a:lvl1pPr>
              <a:defRPr>
                <a:solidFill>
                  <a:schemeClr val="bg1"/>
                </a:solidFill>
              </a:defRPr>
            </a:lvl1pPr>
          </a:lstStyle>
          <a:p>
            <a:pPr lvl="0"/>
            <a:r>
              <a:rPr lang="en-US" dirty="0"/>
              <a:t>Presenter’s Title</a:t>
            </a:r>
          </a:p>
          <a:p>
            <a:pPr lvl="0"/>
            <a:r>
              <a:rPr lang="en-US" dirty="0"/>
              <a:t>Organization, Division or Business Unit</a:t>
            </a:r>
          </a:p>
          <a:p>
            <a:pPr lvl="0"/>
            <a:r>
              <a:rPr lang="en-US" dirty="0"/>
              <a:t>Month 00, 2019</a:t>
            </a:r>
          </a:p>
        </p:txBody>
      </p:sp>
      <p:sp>
        <p:nvSpPr>
          <p:cNvPr id="11" name="Text Field">
            <a:extLst>
              <a:ext uri="{FF2B5EF4-FFF2-40B4-BE49-F238E27FC236}">
                <a16:creationId xmlns:a16="http://schemas.microsoft.com/office/drawing/2014/main" id="{B9E3D702-4533-A342-B4A3-7F2D598D004D}"/>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bg1"/>
                </a:solidFill>
              </a:defRPr>
            </a:lvl1pPr>
          </a:lstStyle>
          <a:p>
            <a:pPr lvl="0"/>
            <a:r>
              <a:rPr lang="en-US" dirty="0"/>
              <a:t>Name</a:t>
            </a:r>
          </a:p>
        </p:txBody>
      </p:sp>
      <p:cxnSp>
        <p:nvCxnSpPr>
          <p:cNvPr id="21" name="Accent Mark">
            <a:extLst>
              <a:ext uri="{FF2B5EF4-FFF2-40B4-BE49-F238E27FC236}">
                <a16:creationId xmlns:a16="http://schemas.microsoft.com/office/drawing/2014/main" id="{07C84D47-A05F-1B4C-B629-729C7FD3826E}"/>
              </a:ext>
            </a:extLst>
          </p:cNvPr>
          <p:cNvCxnSpPr>
            <a:cxnSpLocks/>
          </p:cNvCxnSpPr>
          <p:nvPr userDrawn="1"/>
        </p:nvCxnSpPr>
        <p:spPr>
          <a:xfrm flipH="1">
            <a:off x="1021084"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Quote">
            <a:extLst>
              <a:ext uri="{FF2B5EF4-FFF2-40B4-BE49-F238E27FC236}">
                <a16:creationId xmlns:a16="http://schemas.microsoft.com/office/drawing/2014/main" id="{A623B5CC-1D01-324D-977F-DBEB5E2F1940}"/>
              </a:ext>
            </a:extLst>
          </p:cNvPr>
          <p:cNvSpPr>
            <a:spLocks noGrp="1"/>
          </p:cNvSpPr>
          <p:nvPr>
            <p:ph type="body" sz="quarter" idx="13" hasCustomPrompt="1"/>
          </p:nvPr>
        </p:nvSpPr>
        <p:spPr>
          <a:xfrm>
            <a:off x="1014987" y="2383542"/>
            <a:ext cx="10149840" cy="1477328"/>
          </a:xfrm>
          <a:prstGeom prst="rect">
            <a:avLst/>
          </a:prstGeom>
        </p:spPr>
        <p:txBody>
          <a:bodyPr wrap="square" lIns="0" anchor="b" anchorCtr="0">
            <a:no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Click to type customer or partner quote surrounded by quotation marks.” Remove/replace placeholder logo as needed.</a:t>
            </a:r>
          </a:p>
        </p:txBody>
      </p:sp>
    </p:spTree>
    <p:extLst>
      <p:ext uri="{BB962C8B-B14F-4D97-AF65-F5344CB8AC3E}">
        <p14:creationId xmlns:p14="http://schemas.microsoft.com/office/powerpoint/2010/main" val="233405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Light - Blank">
    <p:bg>
      <p:bgPr>
        <a:solidFill>
          <a:schemeClr val="bg2"/>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0080C163-77F3-9A4B-A059-12FFFC705F80}"/>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10" name="OTag">
            <a:extLst>
              <a:ext uri="{FF2B5EF4-FFF2-40B4-BE49-F238E27FC236}">
                <a16:creationId xmlns:a16="http://schemas.microsoft.com/office/drawing/2014/main" id="{ACACB2B4-7B71-9C4C-986F-8528A7AE73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9" name="Footer">
            <a:extLst>
              <a:ext uri="{FF2B5EF4-FFF2-40B4-BE49-F238E27FC236}">
                <a16:creationId xmlns:a16="http://schemas.microsoft.com/office/drawing/2014/main" id="{F8A11974-1B05-3142-902C-0DFEB16D0BB7}"/>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8" name="Slide Number">
            <a:extLst>
              <a:ext uri="{FF2B5EF4-FFF2-40B4-BE49-F238E27FC236}">
                <a16:creationId xmlns:a16="http://schemas.microsoft.com/office/drawing/2014/main" id="{0462D45F-6FA9-224B-ABF3-CE2CA4B78F6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pic>
        <p:nvPicPr>
          <p:cNvPr id="7" name="Abstract Pattern Strip">
            <a:extLst>
              <a:ext uri="{FF2B5EF4-FFF2-40B4-BE49-F238E27FC236}">
                <a16:creationId xmlns:a16="http://schemas.microsoft.com/office/drawing/2014/main" id="{1C6BA009-6898-4544-B36F-423AA2D6FE5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88622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ark - Blank">
    <p:bg>
      <p:bgPr>
        <a:solidFill>
          <a:schemeClr val="tx1"/>
        </a:solidFill>
        <a:effectLst/>
      </p:bgPr>
    </p:bg>
    <p:spTree>
      <p:nvGrpSpPr>
        <p:cNvPr id="1" name=""/>
        <p:cNvGrpSpPr/>
        <p:nvPr/>
      </p:nvGrpSpPr>
      <p:grpSpPr>
        <a:xfrm>
          <a:off x="0" y="0"/>
          <a:ext cx="0" cy="0"/>
          <a:chOff x="0" y="0"/>
          <a:chExt cx="0" cy="0"/>
        </a:xfrm>
      </p:grpSpPr>
      <p:pic>
        <p:nvPicPr>
          <p:cNvPr id="9" name="Data Texture Cloud">
            <a:extLst>
              <a:ext uri="{FF2B5EF4-FFF2-40B4-BE49-F238E27FC236}">
                <a16:creationId xmlns:a16="http://schemas.microsoft.com/office/drawing/2014/main" id="{13510D0A-E32C-124C-BAD6-D29BE0EA5C60}"/>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10" name="OTag">
            <a:extLst>
              <a:ext uri="{FF2B5EF4-FFF2-40B4-BE49-F238E27FC236}">
                <a16:creationId xmlns:a16="http://schemas.microsoft.com/office/drawing/2014/main" id="{ACACB2B4-7B71-9C4C-986F-8528A7AE73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1" name="Footer">
            <a:extLst>
              <a:ext uri="{FF2B5EF4-FFF2-40B4-BE49-F238E27FC236}">
                <a16:creationId xmlns:a16="http://schemas.microsoft.com/office/drawing/2014/main" id="{1EC1E23F-73C7-CF43-AFBA-30998AF737B2}"/>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8" name="Slide Number">
            <a:extLst>
              <a:ext uri="{FF2B5EF4-FFF2-40B4-BE49-F238E27FC236}">
                <a16:creationId xmlns:a16="http://schemas.microsoft.com/office/drawing/2014/main" id="{0462D45F-6FA9-224B-ABF3-CE2CA4B78F6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pic>
        <p:nvPicPr>
          <p:cNvPr id="7" name="Abstract Pattern Strip">
            <a:extLst>
              <a:ext uri="{FF2B5EF4-FFF2-40B4-BE49-F238E27FC236}">
                <a16:creationId xmlns:a16="http://schemas.microsoft.com/office/drawing/2014/main" id="{1C6BA009-6898-4544-B36F-423AA2D6FE5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82739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Light - Title Only">
    <p:bg>
      <p:bgPr>
        <a:solidFill>
          <a:schemeClr val="bg2"/>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9450FB77-997D-6A45-B0F4-D18F7B9C7A4E}"/>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17" name="OTag">
            <a:extLst>
              <a:ext uri="{FF2B5EF4-FFF2-40B4-BE49-F238E27FC236}">
                <a16:creationId xmlns:a16="http://schemas.microsoft.com/office/drawing/2014/main" id="{E92E3AB4-CA2B-2947-A479-6006EC506B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2" name="Footer">
            <a:extLst>
              <a:ext uri="{FF2B5EF4-FFF2-40B4-BE49-F238E27FC236}">
                <a16:creationId xmlns:a16="http://schemas.microsoft.com/office/drawing/2014/main" id="{094BB478-39FC-BC45-B020-64CE083CBD80}"/>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cxnSp>
        <p:nvCxnSpPr>
          <p:cNvPr id="14" name="Accent Mark">
            <a:extLst>
              <a:ext uri="{FF2B5EF4-FFF2-40B4-BE49-F238E27FC236}">
                <a16:creationId xmlns:a16="http://schemas.microsoft.com/office/drawing/2014/main" id="{034E11FD-0B1E-6B44-8BDF-4C70FAA7BAAB}"/>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 name="Title">
            <a:extLst>
              <a:ext uri="{FF2B5EF4-FFF2-40B4-BE49-F238E27FC236}">
                <a16:creationId xmlns:a16="http://schemas.microsoft.com/office/drawing/2014/main" id="{8CF093CC-9165-2740-A9A1-C2DF5C8D69CB}"/>
              </a:ext>
            </a:extLst>
          </p:cNvPr>
          <p:cNvSpPr>
            <a:spLocks noGrp="1"/>
          </p:cNvSpPr>
          <p:nvPr>
            <p:ph type="body" sz="quarter" idx="10" hasCustomPrompt="1"/>
          </p:nvPr>
        </p:nvSpPr>
        <p:spPr>
          <a:xfrm>
            <a:off x="762000" y="508000"/>
            <a:ext cx="10671048" cy="822960"/>
          </a:xfrm>
        </p:spPr>
        <p:txBody>
          <a:bodyPr anchor="b" anchorCtr="0"/>
          <a:lstStyle>
            <a:lvl1pPr>
              <a:defRPr sz="2400" b="1"/>
            </a:lvl1pPr>
          </a:lstStyle>
          <a:p>
            <a:pPr lvl="0"/>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2945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ark - Title Only">
    <p:bg>
      <p:bgPr>
        <a:solidFill>
          <a:schemeClr val="tx1"/>
        </a:solidFill>
        <a:effectLst/>
      </p:bgPr>
    </p:bg>
    <p:spTree>
      <p:nvGrpSpPr>
        <p:cNvPr id="1" name=""/>
        <p:cNvGrpSpPr/>
        <p:nvPr/>
      </p:nvGrpSpPr>
      <p:grpSpPr>
        <a:xfrm>
          <a:off x="0" y="0"/>
          <a:ext cx="0" cy="0"/>
          <a:chOff x="0" y="0"/>
          <a:chExt cx="0" cy="0"/>
        </a:xfrm>
      </p:grpSpPr>
      <p:pic>
        <p:nvPicPr>
          <p:cNvPr id="9" name="Data Texture Cloud">
            <a:extLst>
              <a:ext uri="{FF2B5EF4-FFF2-40B4-BE49-F238E27FC236}">
                <a16:creationId xmlns:a16="http://schemas.microsoft.com/office/drawing/2014/main" id="{BE3051D7-79D0-AB46-B536-B10AE0FBA314}"/>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17" name="OTag">
            <a:extLst>
              <a:ext uri="{FF2B5EF4-FFF2-40B4-BE49-F238E27FC236}">
                <a16:creationId xmlns:a16="http://schemas.microsoft.com/office/drawing/2014/main" id="{E92E3AB4-CA2B-2947-A479-6006EC506B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2" name="Footer">
            <a:extLst>
              <a:ext uri="{FF2B5EF4-FFF2-40B4-BE49-F238E27FC236}">
                <a16:creationId xmlns:a16="http://schemas.microsoft.com/office/drawing/2014/main" id="{C58DA5F4-19CE-C74A-BF3C-EFD5EA081742}"/>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cxnSp>
        <p:nvCxnSpPr>
          <p:cNvPr id="14" name="Accent Mark">
            <a:extLst>
              <a:ext uri="{FF2B5EF4-FFF2-40B4-BE49-F238E27FC236}">
                <a16:creationId xmlns:a16="http://schemas.microsoft.com/office/drawing/2014/main" id="{034E11FD-0B1E-6B44-8BDF-4C70FAA7BAAB}"/>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6" name="Title">
            <a:extLst>
              <a:ext uri="{FF2B5EF4-FFF2-40B4-BE49-F238E27FC236}">
                <a16:creationId xmlns:a16="http://schemas.microsoft.com/office/drawing/2014/main" id="{FCA55692-CE36-1D4F-96A0-F74E95F76A38}"/>
              </a:ext>
            </a:extLst>
          </p:cNvPr>
          <p:cNvSpPr>
            <a:spLocks noGrp="1"/>
          </p:cNvSpPr>
          <p:nvPr>
            <p:ph type="body" sz="quarter" idx="10" hasCustomPrompt="1"/>
          </p:nvPr>
        </p:nvSpPr>
        <p:spPr>
          <a:xfrm>
            <a:off x="762000" y="508000"/>
            <a:ext cx="10671048" cy="822960"/>
          </a:xfrm>
        </p:spPr>
        <p:txBody>
          <a:bodyPr anchor="b" anchorCtr="0"/>
          <a:lstStyle>
            <a:lvl1pPr>
              <a:defRPr sz="2400" b="1">
                <a:solidFill>
                  <a:schemeClr val="bg1"/>
                </a:solidFill>
              </a:defRPr>
            </a:lvl1pPr>
          </a:lstStyle>
          <a:p>
            <a:pPr lvl="0"/>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20037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p:bg>
      <p:bgPr>
        <a:solidFill>
          <a:schemeClr val="bg2"/>
        </a:solidFill>
        <a:effectLst/>
      </p:bgPr>
    </p:bg>
    <p:spTree>
      <p:nvGrpSpPr>
        <p:cNvPr id="1" name=""/>
        <p:cNvGrpSpPr/>
        <p:nvPr/>
      </p:nvGrpSpPr>
      <p:grpSpPr>
        <a:xfrm>
          <a:off x="0" y="0"/>
          <a:ext cx="0" cy="0"/>
          <a:chOff x="0" y="0"/>
          <a:chExt cx="0" cy="0"/>
        </a:xfrm>
      </p:grpSpPr>
      <p:pic>
        <p:nvPicPr>
          <p:cNvPr id="19" name="Data Texture Cloud">
            <a:extLst>
              <a:ext uri="{FF2B5EF4-FFF2-40B4-BE49-F238E27FC236}">
                <a16:creationId xmlns:a16="http://schemas.microsoft.com/office/drawing/2014/main" id="{2079C2AD-37AA-0044-A804-55FDAE95F69D}"/>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17" name="OTag">
            <a:extLst>
              <a:ext uri="{FF2B5EF4-FFF2-40B4-BE49-F238E27FC236}">
                <a16:creationId xmlns:a16="http://schemas.microsoft.com/office/drawing/2014/main" id="{E92E3AB4-CA2B-2947-A479-6006EC506B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1" name="Footer">
            <a:extLst>
              <a:ext uri="{FF2B5EF4-FFF2-40B4-BE49-F238E27FC236}">
                <a16:creationId xmlns:a16="http://schemas.microsoft.com/office/drawing/2014/main" id="{9B38191F-5718-D34F-A1D1-D1C28CE0A93A}"/>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2" name="Slide Number">
            <a:extLst>
              <a:ext uri="{FF2B5EF4-FFF2-40B4-BE49-F238E27FC236}">
                <a16:creationId xmlns:a16="http://schemas.microsoft.com/office/drawing/2014/main" id="{D7A7E286-6F34-C745-B594-99BF177EC1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cxnSp>
        <p:nvCxnSpPr>
          <p:cNvPr id="16" name="Accent Mark">
            <a:extLst>
              <a:ext uri="{FF2B5EF4-FFF2-40B4-BE49-F238E27FC236}">
                <a16:creationId xmlns:a16="http://schemas.microsoft.com/office/drawing/2014/main" id="{A3FCA7A5-C5A6-7E43-9B07-6B262509CB9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FC0004EB-159B-A345-859C-0E83416ED930}"/>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C5B988DC-BF6C-334D-85AD-4F0BEE2F334E}"/>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05750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p:bg>
      <p:bgPr>
        <a:solidFill>
          <a:schemeClr val="tx1"/>
        </a:solidFill>
        <a:effectLst/>
      </p:bgPr>
    </p:bg>
    <p:spTree>
      <p:nvGrpSpPr>
        <p:cNvPr id="1" name=""/>
        <p:cNvGrpSpPr/>
        <p:nvPr/>
      </p:nvGrpSpPr>
      <p:grpSpPr>
        <a:xfrm>
          <a:off x="0" y="0"/>
          <a:ext cx="0" cy="0"/>
          <a:chOff x="0" y="0"/>
          <a:chExt cx="0" cy="0"/>
        </a:xfrm>
      </p:grpSpPr>
      <p:pic>
        <p:nvPicPr>
          <p:cNvPr id="11" name="Data Texture Cloud">
            <a:extLst>
              <a:ext uri="{FF2B5EF4-FFF2-40B4-BE49-F238E27FC236}">
                <a16:creationId xmlns:a16="http://schemas.microsoft.com/office/drawing/2014/main" id="{B32BC054-60FB-064F-A282-C18437F0420B}"/>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17" name="OTag">
            <a:extLst>
              <a:ext uri="{FF2B5EF4-FFF2-40B4-BE49-F238E27FC236}">
                <a16:creationId xmlns:a16="http://schemas.microsoft.com/office/drawing/2014/main" id="{E92E3AB4-CA2B-2947-A479-6006EC506B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8" name="Footer">
            <a:extLst>
              <a:ext uri="{FF2B5EF4-FFF2-40B4-BE49-F238E27FC236}">
                <a16:creationId xmlns:a16="http://schemas.microsoft.com/office/drawing/2014/main" id="{72D531CE-F6EC-404D-B2CF-232D501E33E3}"/>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2" name="Slide Number">
            <a:extLst>
              <a:ext uri="{FF2B5EF4-FFF2-40B4-BE49-F238E27FC236}">
                <a16:creationId xmlns:a16="http://schemas.microsoft.com/office/drawing/2014/main" id="{D7A7E286-6F34-C745-B594-99BF177EC1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cxnSp>
        <p:nvCxnSpPr>
          <p:cNvPr id="16" name="Accent Mark">
            <a:extLst>
              <a:ext uri="{FF2B5EF4-FFF2-40B4-BE49-F238E27FC236}">
                <a16:creationId xmlns:a16="http://schemas.microsoft.com/office/drawing/2014/main" id="{A3FCA7A5-C5A6-7E43-9B07-6B262509CB9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FC0004EB-159B-A345-859C-0E83416ED930}"/>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C5B988DC-BF6C-334D-85AD-4F0BEE2F334E}"/>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68180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Light - Title 1 Column">
    <p:bg>
      <p:bgPr>
        <a:solidFill>
          <a:schemeClr val="bg2"/>
        </a:solidFill>
        <a:effectLst/>
      </p:bgPr>
    </p:bg>
    <p:spTree>
      <p:nvGrpSpPr>
        <p:cNvPr id="1" name=""/>
        <p:cNvGrpSpPr/>
        <p:nvPr/>
      </p:nvGrpSpPr>
      <p:grpSpPr>
        <a:xfrm>
          <a:off x="0" y="0"/>
          <a:ext cx="0" cy="0"/>
          <a:chOff x="0" y="0"/>
          <a:chExt cx="0" cy="0"/>
        </a:xfrm>
      </p:grpSpPr>
      <p:pic>
        <p:nvPicPr>
          <p:cNvPr id="12" name="Data Texture Cloud">
            <a:extLst>
              <a:ext uri="{FF2B5EF4-FFF2-40B4-BE49-F238E27FC236}">
                <a16:creationId xmlns:a16="http://schemas.microsoft.com/office/drawing/2014/main" id="{1232875C-001D-FE46-B15E-BCC2DA970349}"/>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18" name="OTag">
            <a:extLst>
              <a:ext uri="{FF2B5EF4-FFF2-40B4-BE49-F238E27FC236}">
                <a16:creationId xmlns:a16="http://schemas.microsoft.com/office/drawing/2014/main" id="{F65C325A-C973-E74C-AD41-1A4DFAE0BB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4" name="Footer">
            <a:extLst>
              <a:ext uri="{FF2B5EF4-FFF2-40B4-BE49-F238E27FC236}">
                <a16:creationId xmlns:a16="http://schemas.microsoft.com/office/drawing/2014/main" id="{8F5FEAFC-E730-6143-955B-B888D65BB03B}"/>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p>
            <a:pPr lvl="0"/>
            <a:r>
              <a:rPr lang="fr-FR"/>
              <a:t>Modifier les styles du texte du masque
Deuxième niveau
Troisième niveau
Quatrième niveau
Cinquième niveau</a:t>
            </a:r>
            <a:endParaRPr lang="en-US" dirty="0"/>
          </a:p>
        </p:txBody>
      </p:sp>
      <p:cxnSp>
        <p:nvCxnSpPr>
          <p:cNvPr id="33" name="Accent Mark">
            <a:extLst>
              <a:ext uri="{FF2B5EF4-FFF2-40B4-BE49-F238E27FC236}">
                <a16:creationId xmlns:a16="http://schemas.microsoft.com/office/drawing/2014/main" id="{F8F561A6-16DC-7848-8FAE-BF35C0DBFABA}"/>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90019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ark - Title 1 Column">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30973D80-F90C-2B41-AAF3-064791F626A1}"/>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18" name="OTag">
            <a:extLst>
              <a:ext uri="{FF2B5EF4-FFF2-40B4-BE49-F238E27FC236}">
                <a16:creationId xmlns:a16="http://schemas.microsoft.com/office/drawing/2014/main" id="{F65C325A-C973-E74C-AD41-1A4DFAE0BB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5" name="Footer">
            <a:extLst>
              <a:ext uri="{FF2B5EF4-FFF2-40B4-BE49-F238E27FC236}">
                <a16:creationId xmlns:a16="http://schemas.microsoft.com/office/drawing/2014/main" id="{C0850CC3-142D-B940-A205-0D84E1CA4C14}"/>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33" name="Accent Mark">
            <a:extLst>
              <a:ext uri="{FF2B5EF4-FFF2-40B4-BE49-F238E27FC236}">
                <a16:creationId xmlns:a16="http://schemas.microsoft.com/office/drawing/2014/main" id="{F8F561A6-16DC-7848-8FAE-BF35C0DBFABA}"/>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75703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ark Remote speaker picture">
    <p:spTree>
      <p:nvGrpSpPr>
        <p:cNvPr id="1" name=""/>
        <p:cNvGrpSpPr/>
        <p:nvPr/>
      </p:nvGrpSpPr>
      <p:grpSpPr>
        <a:xfrm>
          <a:off x="0" y="0"/>
          <a:ext cx="0" cy="0"/>
          <a:chOff x="0" y="0"/>
          <a:chExt cx="0" cy="0"/>
        </a:xfrm>
      </p:grpSpPr>
      <p:pic>
        <p:nvPicPr>
          <p:cNvPr id="9" name="Picture 8" descr="A person looking at the camera&#10;&#10;Description automatically generated">
            <a:extLst>
              <a:ext uri="{FF2B5EF4-FFF2-40B4-BE49-F238E27FC236}">
                <a16:creationId xmlns:a16="http://schemas.microsoft.com/office/drawing/2014/main" id="{4E879062-D42A-C24B-9506-CFFED71D4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54000"/>
            <a:ext cx="5133848" cy="6626102"/>
          </a:xfrm>
          <a:prstGeom prst="rect">
            <a:avLst/>
          </a:prstGeom>
        </p:spPr>
      </p:pic>
      <p:sp>
        <p:nvSpPr>
          <p:cNvPr id="6" name="Picture Placeholder 5">
            <a:extLst>
              <a:ext uri="{FF2B5EF4-FFF2-40B4-BE49-F238E27FC236}">
                <a16:creationId xmlns:a16="http://schemas.microsoft.com/office/drawing/2014/main" id="{DBBD2CF4-1E90-A941-8678-001223FD4124}"/>
              </a:ext>
            </a:extLst>
          </p:cNvPr>
          <p:cNvSpPr>
            <a:spLocks noGrp="1"/>
          </p:cNvSpPr>
          <p:nvPr>
            <p:ph type="pic" sz="quarter" idx="10"/>
          </p:nvPr>
        </p:nvSpPr>
        <p:spPr>
          <a:xfrm>
            <a:off x="0" y="254000"/>
            <a:ext cx="5133848" cy="6626102"/>
          </a:xfrm>
        </p:spPr>
        <p:txBody>
          <a:bodyPr/>
          <a:lstStyle/>
          <a:p>
            <a:r>
              <a:rPr lang="en-US"/>
              <a:t>Click icon to add picture</a:t>
            </a:r>
            <a:endParaRPr lang="en-US" dirty="0"/>
          </a:p>
        </p:txBody>
      </p:sp>
      <p:sp>
        <p:nvSpPr>
          <p:cNvPr id="7" name="Text Placeholder 6">
            <a:extLst>
              <a:ext uri="{FF2B5EF4-FFF2-40B4-BE49-F238E27FC236}">
                <a16:creationId xmlns:a16="http://schemas.microsoft.com/office/drawing/2014/main" id="{948B0DA0-F967-2742-83CF-A94F1A88E58F}"/>
              </a:ext>
            </a:extLst>
          </p:cNvPr>
          <p:cNvSpPr>
            <a:spLocks noGrp="1"/>
          </p:cNvSpPr>
          <p:nvPr>
            <p:ph type="body" sz="quarter" idx="11"/>
          </p:nvPr>
        </p:nvSpPr>
        <p:spPr>
          <a:xfrm>
            <a:off x="5659226" y="1729568"/>
            <a:ext cx="6184238" cy="482019"/>
          </a:xfrm>
        </p:spPr>
        <p:txBody>
          <a:bodyPr lIns="0">
            <a:noAutofit/>
          </a:bodyPr>
          <a:lstStyle>
            <a:lvl1pPr>
              <a:defRPr sz="2400" b="1" i="0">
                <a:latin typeface="Oracle Sans" panose="020B0503020204020204" pitchFamily="34" charset="0"/>
                <a:cs typeface="Oracle Sans" panose="020B0503020204020204" pitchFamily="34" charset="0"/>
              </a:defRPr>
            </a:lvl1pPr>
          </a:lstStyle>
          <a:p>
            <a:pPr lvl="0"/>
            <a:r>
              <a:rPr lang="en-US"/>
              <a:t>Click to edit Master text styles</a:t>
            </a:r>
          </a:p>
        </p:txBody>
      </p:sp>
      <p:sp>
        <p:nvSpPr>
          <p:cNvPr id="15" name="Text Placeholder 10">
            <a:extLst>
              <a:ext uri="{FF2B5EF4-FFF2-40B4-BE49-F238E27FC236}">
                <a16:creationId xmlns:a16="http://schemas.microsoft.com/office/drawing/2014/main" id="{085E64C9-9C43-0840-BE43-4074F7178F7C}"/>
              </a:ext>
            </a:extLst>
          </p:cNvPr>
          <p:cNvSpPr>
            <a:spLocks noGrp="1"/>
          </p:cNvSpPr>
          <p:nvPr>
            <p:ph type="body" sz="quarter" idx="15"/>
          </p:nvPr>
        </p:nvSpPr>
        <p:spPr>
          <a:xfrm>
            <a:off x="5659226" y="2852531"/>
            <a:ext cx="6184237" cy="2587963"/>
          </a:xfrm>
        </p:spPr>
        <p:txBody>
          <a:bodyPr lIns="0" anchor="ctr" anchorCtr="0">
            <a:noAutofit/>
          </a:bodyPr>
          <a:lstStyle>
            <a:lvl1pPr>
              <a:spcBef>
                <a:spcPts val="0"/>
              </a:spcBef>
              <a:spcAft>
                <a:spcPts val="800"/>
              </a:spcAft>
              <a:buClr>
                <a:schemeClr val="bg1"/>
              </a:buClr>
              <a:defRPr sz="2000" b="0" i="0">
                <a:latin typeface="Oracle Sans" panose="020B0503020204020204" pitchFamily="34" charset="0"/>
                <a:cs typeface="Oracle Sans" panose="020B0503020204020204" pitchFamily="34" charset="0"/>
              </a:defRPr>
            </a:lvl1pPr>
            <a:lvl2pPr marL="228600">
              <a:spcBef>
                <a:spcPts val="0"/>
              </a:spcBef>
              <a:buClr>
                <a:schemeClr val="bg1"/>
              </a:buClr>
              <a:defRPr/>
            </a:lvl2pPr>
          </a:lstStyle>
          <a:p>
            <a:pPr lvl="0"/>
            <a:r>
              <a:rPr lang="en-US" dirty="0"/>
              <a:t>Click to edit Master text styles</a:t>
            </a:r>
          </a:p>
          <a:p>
            <a:pPr lvl="0"/>
            <a:r>
              <a:rPr lang="en-US" dirty="0"/>
              <a:t>Second level</a:t>
            </a:r>
          </a:p>
        </p:txBody>
      </p:sp>
      <p:pic>
        <p:nvPicPr>
          <p:cNvPr id="16" name="Picture 15">
            <a:extLst>
              <a:ext uri="{FF2B5EF4-FFF2-40B4-BE49-F238E27FC236}">
                <a16:creationId xmlns:a16="http://schemas.microsoft.com/office/drawing/2014/main" id="{655F6A82-2EA7-8C4D-A6E5-04849642E6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0" name="Rectangle 19">
            <a:extLst>
              <a:ext uri="{FF2B5EF4-FFF2-40B4-BE49-F238E27FC236}">
                <a16:creationId xmlns:a16="http://schemas.microsoft.com/office/drawing/2014/main" id="{683AB1BC-2635-8847-B41C-2FADD8B3257E}"/>
              </a:ext>
            </a:extLst>
          </p:cNvPr>
          <p:cNvSpPr/>
          <p:nvPr userDrawn="1"/>
        </p:nvSpPr>
        <p:spPr>
          <a:xfrm>
            <a:off x="5659227" y="2452044"/>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83D3678D-880F-6545-80F0-0F8C8579C9EC}"/>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E6D20634-3E03-42BA-9E65-8D474CE5DB1D}"/>
              </a:ext>
            </a:extLst>
          </p:cNvPr>
          <p:cNvSpPr>
            <a:spLocks noGrp="1"/>
          </p:cNvSpPr>
          <p:nvPr>
            <p:ph type="ftr" sz="quarter" idx="16"/>
          </p:nvPr>
        </p:nvSpPr>
        <p:spPr/>
        <p:txBody>
          <a:bodyPr/>
          <a:lstStyle>
            <a:lvl1pPr>
              <a:defRPr>
                <a:solidFill>
                  <a:srgbClr val="8B8078"/>
                </a:solidFill>
              </a:defRPr>
            </a:lvl1p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ED8B103B-7B4E-4EF2-B2AC-56C456AA730A}"/>
              </a:ext>
            </a:extLst>
          </p:cNvPr>
          <p:cNvSpPr>
            <a:spLocks noGrp="1"/>
          </p:cNvSpPr>
          <p:nvPr>
            <p:ph type="sldNum" sz="quarter" idx="17"/>
          </p:nvPr>
        </p:nvSpPr>
        <p:spPr/>
        <p:txBody>
          <a:bodyPr/>
          <a:lstStyle>
            <a:lvl1pPr>
              <a:defRPr>
                <a:solidFill>
                  <a:srgbClr val="8B8078"/>
                </a:solidFill>
              </a:defRPr>
            </a:lvl1p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22860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1 Column">
    <p:bg>
      <p:bgPr>
        <a:solidFill>
          <a:schemeClr val="bg2"/>
        </a:solidFill>
        <a:effectLst/>
      </p:bgPr>
    </p:bg>
    <p:spTree>
      <p:nvGrpSpPr>
        <p:cNvPr id="1" name=""/>
        <p:cNvGrpSpPr/>
        <p:nvPr/>
      </p:nvGrpSpPr>
      <p:grpSpPr>
        <a:xfrm>
          <a:off x="0" y="0"/>
          <a:ext cx="0" cy="0"/>
          <a:chOff x="0" y="0"/>
          <a:chExt cx="0" cy="0"/>
        </a:xfrm>
      </p:grpSpPr>
      <p:pic>
        <p:nvPicPr>
          <p:cNvPr id="19" name="Data Texture Cloud">
            <a:extLst>
              <a:ext uri="{FF2B5EF4-FFF2-40B4-BE49-F238E27FC236}">
                <a16:creationId xmlns:a16="http://schemas.microsoft.com/office/drawing/2014/main" id="{BAF6345E-D104-C540-A797-9C0E53A4C8D6}"/>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18" name="OTag">
            <a:extLst>
              <a:ext uri="{FF2B5EF4-FFF2-40B4-BE49-F238E27FC236}">
                <a16:creationId xmlns:a16="http://schemas.microsoft.com/office/drawing/2014/main" id="{F65C325A-C973-E74C-AD41-1A4DFAE0BB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6" name="Footer">
            <a:extLst>
              <a:ext uri="{FF2B5EF4-FFF2-40B4-BE49-F238E27FC236}">
                <a16:creationId xmlns:a16="http://schemas.microsoft.com/office/drawing/2014/main" id="{1AB0EF40-5295-EF4A-B110-EB440EE86C0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2" name="Text Field">
            <a:extLst>
              <a:ext uri="{FF2B5EF4-FFF2-40B4-BE49-F238E27FC236}">
                <a16:creationId xmlns:a16="http://schemas.microsoft.com/office/drawing/2014/main" id="{2A24E767-3408-FF44-93E3-22135CDCE5AB}"/>
              </a:ext>
            </a:extLst>
          </p:cNvPr>
          <p:cNvSpPr>
            <a:spLocks noGrp="1"/>
          </p:cNvSpPr>
          <p:nvPr>
            <p:ph type="body" sz="quarter" idx="12"/>
          </p:nvPr>
        </p:nvSpPr>
        <p:spPr>
          <a:xfrm>
            <a:off x="758952" y="1837944"/>
            <a:ext cx="10671048" cy="4261104"/>
          </a:xfrm>
        </p:spPr>
        <p:txBody>
          <a:bodyPr/>
          <a:lstStyle/>
          <a:p>
            <a:pPr lvl="0"/>
            <a:r>
              <a:rPr lang="fr-FR"/>
              <a:t>Modifier les styles du texte du masque
Deuxième niveau
Troisième niveau
Quatrième niveau
Cinquième niveau</a:t>
            </a:r>
            <a:endParaRPr lang="en-US" dirty="0"/>
          </a:p>
        </p:txBody>
      </p:sp>
      <p:cxnSp>
        <p:nvCxnSpPr>
          <p:cNvPr id="13" name="Accent Mark">
            <a:extLst>
              <a:ext uri="{FF2B5EF4-FFF2-40B4-BE49-F238E27FC236}">
                <a16:creationId xmlns:a16="http://schemas.microsoft.com/office/drawing/2014/main" id="{95ED051A-D2F4-A940-B08A-5DD1A2024E8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 name="Subtitle">
            <a:extLst>
              <a:ext uri="{FF2B5EF4-FFF2-40B4-BE49-F238E27FC236}">
                <a16:creationId xmlns:a16="http://schemas.microsoft.com/office/drawing/2014/main" id="{46A3BF75-E03A-3149-A8B6-C22593F32B62}"/>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5215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1 Column">
    <p:bg>
      <p:bgPr>
        <a:solidFill>
          <a:schemeClr val="tx1"/>
        </a:solidFill>
        <a:effectLst/>
      </p:bgPr>
    </p:bg>
    <p:spTree>
      <p:nvGrpSpPr>
        <p:cNvPr id="1" name=""/>
        <p:cNvGrpSpPr/>
        <p:nvPr/>
      </p:nvGrpSpPr>
      <p:grpSpPr>
        <a:xfrm>
          <a:off x="0" y="0"/>
          <a:ext cx="0" cy="0"/>
          <a:chOff x="0" y="0"/>
          <a:chExt cx="0" cy="0"/>
        </a:xfrm>
      </p:grpSpPr>
      <p:pic>
        <p:nvPicPr>
          <p:cNvPr id="15" name="Data Texture Cloud">
            <a:extLst>
              <a:ext uri="{FF2B5EF4-FFF2-40B4-BE49-F238E27FC236}">
                <a16:creationId xmlns:a16="http://schemas.microsoft.com/office/drawing/2014/main" id="{57E73E0B-D3D9-9D49-AA25-ABB738EFB4DC}"/>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18" name="OTag">
            <a:extLst>
              <a:ext uri="{FF2B5EF4-FFF2-40B4-BE49-F238E27FC236}">
                <a16:creationId xmlns:a16="http://schemas.microsoft.com/office/drawing/2014/main" id="{F65C325A-C973-E74C-AD41-1A4DFAE0BB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9" name="Footer">
            <a:extLst>
              <a:ext uri="{FF2B5EF4-FFF2-40B4-BE49-F238E27FC236}">
                <a16:creationId xmlns:a16="http://schemas.microsoft.com/office/drawing/2014/main" id="{A9B4F8FA-F520-6046-B8D1-1E46A6E0512B}"/>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2" name="Text Field">
            <a:extLst>
              <a:ext uri="{FF2B5EF4-FFF2-40B4-BE49-F238E27FC236}">
                <a16:creationId xmlns:a16="http://schemas.microsoft.com/office/drawing/2014/main" id="{2A24E767-3408-FF44-93E3-22135CDCE5AB}"/>
              </a:ext>
            </a:extLst>
          </p:cNvPr>
          <p:cNvSpPr>
            <a:spLocks noGrp="1"/>
          </p:cNvSpPr>
          <p:nvPr>
            <p:ph type="body" sz="quarter" idx="12"/>
          </p:nvPr>
        </p:nvSpPr>
        <p:spPr>
          <a:xfrm>
            <a:off x="758952" y="1837944"/>
            <a:ext cx="10671048"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13" name="Accent Mark">
            <a:extLst>
              <a:ext uri="{FF2B5EF4-FFF2-40B4-BE49-F238E27FC236}">
                <a16:creationId xmlns:a16="http://schemas.microsoft.com/office/drawing/2014/main" id="{95ED051A-D2F4-A940-B08A-5DD1A2024E8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6" name="Subtitle">
            <a:extLst>
              <a:ext uri="{FF2B5EF4-FFF2-40B4-BE49-F238E27FC236}">
                <a16:creationId xmlns:a16="http://schemas.microsoft.com/office/drawing/2014/main" id="{23E1B665-00A8-8343-AE5D-D91C2C56BB7A}"/>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33A530BD-4FD9-9B46-86C2-8FCE03913CBD}"/>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37706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ight - Title 2 Column">
    <p:bg>
      <p:bgPr>
        <a:solidFill>
          <a:schemeClr val="bg2"/>
        </a:solidFill>
        <a:effectLst/>
      </p:bgPr>
    </p:bg>
    <p:spTree>
      <p:nvGrpSpPr>
        <p:cNvPr id="1" name=""/>
        <p:cNvGrpSpPr/>
        <p:nvPr/>
      </p:nvGrpSpPr>
      <p:grpSpPr>
        <a:xfrm>
          <a:off x="0" y="0"/>
          <a:ext cx="0" cy="0"/>
          <a:chOff x="0" y="0"/>
          <a:chExt cx="0" cy="0"/>
        </a:xfrm>
      </p:grpSpPr>
      <p:pic>
        <p:nvPicPr>
          <p:cNvPr id="19" name="Data Texture Cloud">
            <a:extLst>
              <a:ext uri="{FF2B5EF4-FFF2-40B4-BE49-F238E27FC236}">
                <a16:creationId xmlns:a16="http://schemas.microsoft.com/office/drawing/2014/main" id="{CE6E5ABD-A4A2-D340-B066-B5DA98D2FDE8}"/>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1" name="OTag">
            <a:extLst>
              <a:ext uri="{FF2B5EF4-FFF2-40B4-BE49-F238E27FC236}">
                <a16:creationId xmlns:a16="http://schemas.microsoft.com/office/drawing/2014/main" id="{388F650B-0096-C146-8FEB-5C25B15CB5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3" name="Footer">
            <a:extLst>
              <a:ext uri="{FF2B5EF4-FFF2-40B4-BE49-F238E27FC236}">
                <a16:creationId xmlns:a16="http://schemas.microsoft.com/office/drawing/2014/main" id="{C90B1C98-9997-BC41-8A72-235FB5E6B247}"/>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4" name="Slide Number">
            <a:extLst>
              <a:ext uri="{FF2B5EF4-FFF2-40B4-BE49-F238E27FC236}">
                <a16:creationId xmlns:a16="http://schemas.microsoft.com/office/drawing/2014/main" id="{B1F84A78-226C-CA42-8F2B-D960C013FF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7" name="Text Field">
            <a:extLst>
              <a:ext uri="{FF2B5EF4-FFF2-40B4-BE49-F238E27FC236}">
                <a16:creationId xmlns:a16="http://schemas.microsoft.com/office/drawing/2014/main" id="{127206D3-5FC9-5940-86CA-B490BFF33849}"/>
              </a:ext>
            </a:extLst>
          </p:cNvPr>
          <p:cNvSpPr>
            <a:spLocks noGrp="1"/>
          </p:cNvSpPr>
          <p:nvPr>
            <p:ph type="body" sz="quarter" idx="13"/>
          </p:nvPr>
        </p:nvSpPr>
        <p:spPr>
          <a:xfrm>
            <a:off x="6345940" y="1837944"/>
            <a:ext cx="5084064" cy="4261104"/>
          </a:xfrm>
        </p:spPr>
        <p:txBody>
          <a:bodyPr/>
          <a:lstStyle/>
          <a:p>
            <a:pPr lvl="0"/>
            <a:r>
              <a:rPr lang="fr-FR"/>
              <a:t>Modifier les styles du texte du masque
Deuxième niveau
Troisième niveau
Quatrième niveau
Cinquième niveau</a:t>
            </a:r>
            <a:endParaRPr lang="en-US" dirty="0"/>
          </a:p>
        </p:txBody>
      </p:sp>
      <p:cxnSp>
        <p:nvCxnSpPr>
          <p:cNvPr id="25" name="Column Divider">
            <a:extLst>
              <a:ext uri="{FF2B5EF4-FFF2-40B4-BE49-F238E27FC236}">
                <a16:creationId xmlns:a16="http://schemas.microsoft.com/office/drawing/2014/main" id="{28A42096-606C-8147-93BA-A37267AD56C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A2A31D1-C418-294D-BD2C-301BE963D206}"/>
              </a:ext>
            </a:extLst>
          </p:cNvPr>
          <p:cNvSpPr>
            <a:spLocks noGrp="1"/>
          </p:cNvSpPr>
          <p:nvPr>
            <p:ph type="body" sz="quarter" idx="12"/>
          </p:nvPr>
        </p:nvSpPr>
        <p:spPr>
          <a:xfrm>
            <a:off x="758951" y="1837944"/>
            <a:ext cx="5084064" cy="4261104"/>
          </a:xfrm>
        </p:spPr>
        <p:txBody>
          <a:bodyPr/>
          <a:lstStyle/>
          <a:p>
            <a:pPr lvl="0"/>
            <a:r>
              <a:rPr lang="fr-FR"/>
              <a:t>Modifier les styles du texte du masque
Deuxième niveau
Troisième niveau
Quatrième niveau
Cinquième niveau</a:t>
            </a:r>
            <a:endParaRPr lang="en-US" dirty="0"/>
          </a:p>
        </p:txBody>
      </p:sp>
      <p:cxnSp>
        <p:nvCxnSpPr>
          <p:cNvPr id="24" name="Accent Mark">
            <a:extLst>
              <a:ext uri="{FF2B5EF4-FFF2-40B4-BE49-F238E27FC236}">
                <a16:creationId xmlns:a16="http://schemas.microsoft.com/office/drawing/2014/main" id="{4F8F28C5-BA11-D440-84B1-6070C377A9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0D3E541A-8971-9E40-A861-AC82931F791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5807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ark - Title 2 Column">
    <p:bg>
      <p:bgPr>
        <a:solidFill>
          <a:schemeClr val="tx1"/>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45600894-19FA-B44D-93AD-7FDD489F09A1}"/>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1" name="OTag">
            <a:extLst>
              <a:ext uri="{FF2B5EF4-FFF2-40B4-BE49-F238E27FC236}">
                <a16:creationId xmlns:a16="http://schemas.microsoft.com/office/drawing/2014/main" id="{388F650B-0096-C146-8FEB-5C25B15CB5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9" name="Footer">
            <a:extLst>
              <a:ext uri="{FF2B5EF4-FFF2-40B4-BE49-F238E27FC236}">
                <a16:creationId xmlns:a16="http://schemas.microsoft.com/office/drawing/2014/main" id="{6832C504-7CC4-EB49-969C-2D1F650FA95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4" name="Slide Number">
            <a:extLst>
              <a:ext uri="{FF2B5EF4-FFF2-40B4-BE49-F238E27FC236}">
                <a16:creationId xmlns:a16="http://schemas.microsoft.com/office/drawing/2014/main" id="{B1F84A78-226C-CA42-8F2B-D960C013FF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7" name="Text Field">
            <a:extLst>
              <a:ext uri="{FF2B5EF4-FFF2-40B4-BE49-F238E27FC236}">
                <a16:creationId xmlns:a16="http://schemas.microsoft.com/office/drawing/2014/main" id="{127206D3-5FC9-5940-86CA-B490BFF33849}"/>
              </a:ext>
            </a:extLst>
          </p:cNvPr>
          <p:cNvSpPr>
            <a:spLocks noGrp="1"/>
          </p:cNvSpPr>
          <p:nvPr>
            <p:ph type="body" sz="quarter" idx="13"/>
          </p:nvPr>
        </p:nvSpPr>
        <p:spPr>
          <a:xfrm>
            <a:off x="6345940"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5" name="Column Divider">
            <a:extLst>
              <a:ext uri="{FF2B5EF4-FFF2-40B4-BE49-F238E27FC236}">
                <a16:creationId xmlns:a16="http://schemas.microsoft.com/office/drawing/2014/main" id="{28A42096-606C-8147-93BA-A37267AD56C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A2A31D1-C418-294D-BD2C-301BE963D206}"/>
              </a:ext>
            </a:extLst>
          </p:cNvPr>
          <p:cNvSpPr>
            <a:spLocks noGrp="1"/>
          </p:cNvSpPr>
          <p:nvPr>
            <p:ph type="body" sz="quarter" idx="12"/>
          </p:nvPr>
        </p:nvSpPr>
        <p:spPr>
          <a:xfrm>
            <a:off x="758951"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4" name="Accent Mark">
            <a:extLst>
              <a:ext uri="{FF2B5EF4-FFF2-40B4-BE49-F238E27FC236}">
                <a16:creationId xmlns:a16="http://schemas.microsoft.com/office/drawing/2014/main" id="{4F8F28C5-BA11-D440-84B1-6070C377A9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0D3E541A-8971-9E40-A861-AC82931F791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82191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2 Column">
    <p:bg>
      <p:bgPr>
        <a:solidFill>
          <a:schemeClr val="bg2"/>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C2F2253F-E2CD-F84C-B073-F9A6ABBAA333}"/>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1" name="OTag">
            <a:extLst>
              <a:ext uri="{FF2B5EF4-FFF2-40B4-BE49-F238E27FC236}">
                <a16:creationId xmlns:a16="http://schemas.microsoft.com/office/drawing/2014/main" id="{388F650B-0096-C146-8FEB-5C25B15CB5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3" name="Footer">
            <a:extLst>
              <a:ext uri="{FF2B5EF4-FFF2-40B4-BE49-F238E27FC236}">
                <a16:creationId xmlns:a16="http://schemas.microsoft.com/office/drawing/2014/main" id="{B0B28D38-F083-CA40-B16E-54DA45441E8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03830144-8015-0B47-8564-18124FA6BA2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9" name="Text Field">
            <a:extLst>
              <a:ext uri="{FF2B5EF4-FFF2-40B4-BE49-F238E27FC236}">
                <a16:creationId xmlns:a16="http://schemas.microsoft.com/office/drawing/2014/main" id="{2A8FF7D0-24DE-7247-896A-E6C4E80C5A3C}"/>
              </a:ext>
            </a:extLst>
          </p:cNvPr>
          <p:cNvSpPr>
            <a:spLocks noGrp="1"/>
          </p:cNvSpPr>
          <p:nvPr>
            <p:ph type="body" sz="quarter" idx="14"/>
          </p:nvPr>
        </p:nvSpPr>
        <p:spPr>
          <a:xfrm>
            <a:off x="6345940" y="1837944"/>
            <a:ext cx="5084064" cy="4261104"/>
          </a:xfrm>
        </p:spPr>
        <p:txBody>
          <a:bodyPr/>
          <a:lstStyle/>
          <a:p>
            <a:pPr lvl="0"/>
            <a:r>
              <a:rPr lang="fr-FR"/>
              <a:t>Modifier les styles du texte du masque
Deuxième niveau
Troisième niveau
Quatrième niveau
Cinquième niveau</a:t>
            </a:r>
            <a:endParaRPr lang="en-US" dirty="0"/>
          </a:p>
        </p:txBody>
      </p:sp>
      <p:cxnSp>
        <p:nvCxnSpPr>
          <p:cNvPr id="20" name="Column Divider">
            <a:extLst>
              <a:ext uri="{FF2B5EF4-FFF2-40B4-BE49-F238E27FC236}">
                <a16:creationId xmlns:a16="http://schemas.microsoft.com/office/drawing/2014/main" id="{EA926242-7D27-8F4E-A826-549D9E4C23B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5" name="Text Field">
            <a:extLst>
              <a:ext uri="{FF2B5EF4-FFF2-40B4-BE49-F238E27FC236}">
                <a16:creationId xmlns:a16="http://schemas.microsoft.com/office/drawing/2014/main" id="{B4879B6D-DA18-6D4D-8E7D-338DA1C8FEEF}"/>
              </a:ext>
            </a:extLst>
          </p:cNvPr>
          <p:cNvSpPr>
            <a:spLocks noGrp="1"/>
          </p:cNvSpPr>
          <p:nvPr>
            <p:ph type="body" sz="quarter" idx="13"/>
          </p:nvPr>
        </p:nvSpPr>
        <p:spPr>
          <a:xfrm>
            <a:off x="758951" y="1837944"/>
            <a:ext cx="5084064" cy="4261104"/>
          </a:xfrm>
        </p:spPr>
        <p:txBody>
          <a:bodyPr/>
          <a:lstStyle/>
          <a:p>
            <a:pPr lvl="0"/>
            <a:r>
              <a:rPr lang="fr-FR"/>
              <a:t>Modifier les styles du texte du masque
Deuxième niveau
Troisième niveau
Quatrième niveau
Cinquième niveau</a:t>
            </a:r>
            <a:endParaRPr lang="en-US" dirty="0"/>
          </a:p>
        </p:txBody>
      </p:sp>
      <p:cxnSp>
        <p:nvCxnSpPr>
          <p:cNvPr id="23" name="Accent Mark">
            <a:extLst>
              <a:ext uri="{FF2B5EF4-FFF2-40B4-BE49-F238E27FC236}">
                <a16:creationId xmlns:a16="http://schemas.microsoft.com/office/drawing/2014/main" id="{41922730-243C-E841-A960-EDBFD169F1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7" name="Subtitle">
            <a:extLst>
              <a:ext uri="{FF2B5EF4-FFF2-40B4-BE49-F238E27FC236}">
                <a16:creationId xmlns:a16="http://schemas.microsoft.com/office/drawing/2014/main" id="{BD40C05F-32CC-E442-B2BC-903A0529B0B8}"/>
              </a:ext>
            </a:extLst>
          </p:cNvPr>
          <p:cNvSpPr>
            <a:spLocks noGrp="1"/>
          </p:cNvSpPr>
          <p:nvPr>
            <p:ph type="body" sz="quarter" idx="12"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50F45247-EDFA-CF4B-A197-C393721426EC}"/>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53728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2 Column">
    <p:bg>
      <p:bgPr>
        <a:solidFill>
          <a:schemeClr val="tx1"/>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088EE63F-D017-8F4C-825E-76E07B952F9F}"/>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1" name="OTag">
            <a:extLst>
              <a:ext uri="{FF2B5EF4-FFF2-40B4-BE49-F238E27FC236}">
                <a16:creationId xmlns:a16="http://schemas.microsoft.com/office/drawing/2014/main" id="{388F650B-0096-C146-8FEB-5C25B15CB5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2" name="Footer">
            <a:extLst>
              <a:ext uri="{FF2B5EF4-FFF2-40B4-BE49-F238E27FC236}">
                <a16:creationId xmlns:a16="http://schemas.microsoft.com/office/drawing/2014/main" id="{3BF7ADE5-40E3-934B-B8B6-734DD687E60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03830144-8015-0B47-8564-18124FA6BA2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9" name="Text Field">
            <a:extLst>
              <a:ext uri="{FF2B5EF4-FFF2-40B4-BE49-F238E27FC236}">
                <a16:creationId xmlns:a16="http://schemas.microsoft.com/office/drawing/2014/main" id="{2A8FF7D0-24DE-7247-896A-E6C4E80C5A3C}"/>
              </a:ext>
            </a:extLst>
          </p:cNvPr>
          <p:cNvSpPr>
            <a:spLocks noGrp="1"/>
          </p:cNvSpPr>
          <p:nvPr>
            <p:ph type="body" sz="quarter" idx="14"/>
          </p:nvPr>
        </p:nvSpPr>
        <p:spPr>
          <a:xfrm>
            <a:off x="6345940"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0" name="Column Divider">
            <a:extLst>
              <a:ext uri="{FF2B5EF4-FFF2-40B4-BE49-F238E27FC236}">
                <a16:creationId xmlns:a16="http://schemas.microsoft.com/office/drawing/2014/main" id="{EA926242-7D27-8F4E-A826-549D9E4C23B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5" name="Text Field">
            <a:extLst>
              <a:ext uri="{FF2B5EF4-FFF2-40B4-BE49-F238E27FC236}">
                <a16:creationId xmlns:a16="http://schemas.microsoft.com/office/drawing/2014/main" id="{B4879B6D-DA18-6D4D-8E7D-338DA1C8FEEF}"/>
              </a:ext>
            </a:extLst>
          </p:cNvPr>
          <p:cNvSpPr>
            <a:spLocks noGrp="1"/>
          </p:cNvSpPr>
          <p:nvPr>
            <p:ph type="body" sz="quarter" idx="13"/>
          </p:nvPr>
        </p:nvSpPr>
        <p:spPr>
          <a:xfrm>
            <a:off x="758951"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3" name="Accent Mark">
            <a:extLst>
              <a:ext uri="{FF2B5EF4-FFF2-40B4-BE49-F238E27FC236}">
                <a16:creationId xmlns:a16="http://schemas.microsoft.com/office/drawing/2014/main" id="{41922730-243C-E841-A960-EDBFD169F1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7" name="Subtitle">
            <a:extLst>
              <a:ext uri="{FF2B5EF4-FFF2-40B4-BE49-F238E27FC236}">
                <a16:creationId xmlns:a16="http://schemas.microsoft.com/office/drawing/2014/main" id="{BD40C05F-32CC-E442-B2BC-903A0529B0B8}"/>
              </a:ext>
            </a:extLst>
          </p:cNvPr>
          <p:cNvSpPr>
            <a:spLocks noGrp="1"/>
          </p:cNvSpPr>
          <p:nvPr>
            <p:ph type="body" sz="quarter" idx="12"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50F45247-EDFA-CF4B-A197-C393721426EC}"/>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11514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Light - Title 3 Column">
    <p:bg>
      <p:bgPr>
        <a:solidFill>
          <a:schemeClr val="bg2"/>
        </a:solidFill>
        <a:effectLst/>
      </p:bgPr>
    </p:bg>
    <p:spTree>
      <p:nvGrpSpPr>
        <p:cNvPr id="1" name=""/>
        <p:cNvGrpSpPr/>
        <p:nvPr/>
      </p:nvGrpSpPr>
      <p:grpSpPr>
        <a:xfrm>
          <a:off x="0" y="0"/>
          <a:ext cx="0" cy="0"/>
          <a:chOff x="0" y="0"/>
          <a:chExt cx="0" cy="0"/>
        </a:xfrm>
      </p:grpSpPr>
      <p:pic>
        <p:nvPicPr>
          <p:cNvPr id="21" name="Data Texture Cloud">
            <a:extLst>
              <a:ext uri="{FF2B5EF4-FFF2-40B4-BE49-F238E27FC236}">
                <a16:creationId xmlns:a16="http://schemas.microsoft.com/office/drawing/2014/main" id="{6B9192B5-0A20-764D-9C90-A22272603329}"/>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4" name="Footer">
            <a:extLst>
              <a:ext uri="{FF2B5EF4-FFF2-40B4-BE49-F238E27FC236}">
                <a16:creationId xmlns:a16="http://schemas.microsoft.com/office/drawing/2014/main" id="{04ED8D0D-9633-5F4D-A28C-1584C0DFFEE2}"/>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3415ABCF-F4E1-8F45-97C7-BB3BBB93D523}"/>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8" name="Text Field">
            <a:extLst>
              <a:ext uri="{FF2B5EF4-FFF2-40B4-BE49-F238E27FC236}">
                <a16:creationId xmlns:a16="http://schemas.microsoft.com/office/drawing/2014/main" id="{F99B7BFF-D980-2D4A-B1AC-7510DE0D9D1C}"/>
              </a:ext>
            </a:extLst>
          </p:cNvPr>
          <p:cNvSpPr>
            <a:spLocks noGrp="1"/>
          </p:cNvSpPr>
          <p:nvPr>
            <p:ph type="body" sz="quarter" idx="14"/>
          </p:nvPr>
        </p:nvSpPr>
        <p:spPr>
          <a:xfrm>
            <a:off x="8128000" y="1837944"/>
            <a:ext cx="3300984" cy="4261104"/>
          </a:xfrm>
        </p:spPr>
        <p:txBody>
          <a:bodyPr/>
          <a:lstStyle/>
          <a:p>
            <a:pPr lvl="0"/>
            <a:r>
              <a:rPr lang="fr-FR"/>
              <a:t>Modifier les styles du texte du masque
Deuxième niveau
Troisième niveau
Quatrième niveau
Cinquième niveau</a:t>
            </a:r>
            <a:endParaRPr lang="en-US" dirty="0"/>
          </a:p>
        </p:txBody>
      </p:sp>
      <p:cxnSp>
        <p:nvCxnSpPr>
          <p:cNvPr id="44" name="Column Divider">
            <a:extLst>
              <a:ext uri="{FF2B5EF4-FFF2-40B4-BE49-F238E27FC236}">
                <a16:creationId xmlns:a16="http://schemas.microsoft.com/office/drawing/2014/main" id="{AFE66E1B-CB9E-AD43-8F62-B5F7E5962235}"/>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A701984C-34A6-1346-A2AA-2794191C0405}"/>
              </a:ext>
            </a:extLst>
          </p:cNvPr>
          <p:cNvSpPr>
            <a:spLocks noGrp="1"/>
          </p:cNvSpPr>
          <p:nvPr>
            <p:ph type="body" sz="quarter" idx="15"/>
          </p:nvPr>
        </p:nvSpPr>
        <p:spPr>
          <a:xfrm>
            <a:off x="4445000" y="1837944"/>
            <a:ext cx="3300984" cy="4261104"/>
          </a:xfrm>
        </p:spPr>
        <p:txBody>
          <a:bodyPr/>
          <a:lstStyle/>
          <a:p>
            <a:pPr lvl="0"/>
            <a:r>
              <a:rPr lang="fr-FR"/>
              <a:t>Modifier les styles du texte du masque
Deuxième niveau
Troisième niveau
Quatrième niveau
Cinquième niveau</a:t>
            </a:r>
            <a:endParaRPr lang="en-US" dirty="0"/>
          </a:p>
        </p:txBody>
      </p:sp>
      <p:cxnSp>
        <p:nvCxnSpPr>
          <p:cNvPr id="43" name="Column Divider">
            <a:extLst>
              <a:ext uri="{FF2B5EF4-FFF2-40B4-BE49-F238E27FC236}">
                <a16:creationId xmlns:a16="http://schemas.microsoft.com/office/drawing/2014/main" id="{96487311-07DE-BA4A-B675-135E5473D5A5}"/>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31E9FA52-D320-6043-8DA5-2A295E356128}"/>
              </a:ext>
            </a:extLst>
          </p:cNvPr>
          <p:cNvSpPr>
            <a:spLocks noGrp="1"/>
          </p:cNvSpPr>
          <p:nvPr>
            <p:ph type="body" sz="quarter" idx="13"/>
          </p:nvPr>
        </p:nvSpPr>
        <p:spPr>
          <a:xfrm>
            <a:off x="758951" y="1837944"/>
            <a:ext cx="3300984" cy="4261104"/>
          </a:xfrm>
        </p:spPr>
        <p:txBody>
          <a:bodyPr/>
          <a:lstStyle/>
          <a:p>
            <a:pPr lvl="0"/>
            <a:r>
              <a:rPr lang="fr-FR"/>
              <a:t>Modifier les styles du texte du masque
Deuxième niveau
Troisième niveau
Quatrième niveau
Cinquième niveau</a:t>
            </a:r>
            <a:endParaRPr lang="en-US" dirty="0"/>
          </a:p>
        </p:txBody>
      </p:sp>
      <p:cxnSp>
        <p:nvCxnSpPr>
          <p:cNvPr id="42" name="Accent Mark">
            <a:extLst>
              <a:ext uri="{FF2B5EF4-FFF2-40B4-BE49-F238E27FC236}">
                <a16:creationId xmlns:a16="http://schemas.microsoft.com/office/drawing/2014/main" id="{4E732D89-C34A-F248-94A1-01F258A23E11}"/>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01217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ark - Title 3 Column">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6B6AE226-6298-A74E-881D-C391B7DBFC74}"/>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1" name="Footer">
            <a:extLst>
              <a:ext uri="{FF2B5EF4-FFF2-40B4-BE49-F238E27FC236}">
                <a16:creationId xmlns:a16="http://schemas.microsoft.com/office/drawing/2014/main" id="{2A872738-4F3E-AE41-AFF8-FC3272689F7F}"/>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3415ABCF-F4E1-8F45-97C7-BB3BBB93D523}"/>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8" name="Text Field">
            <a:extLst>
              <a:ext uri="{FF2B5EF4-FFF2-40B4-BE49-F238E27FC236}">
                <a16:creationId xmlns:a16="http://schemas.microsoft.com/office/drawing/2014/main" id="{F99B7BFF-D980-2D4A-B1AC-7510DE0D9D1C}"/>
              </a:ext>
            </a:extLst>
          </p:cNvPr>
          <p:cNvSpPr>
            <a:spLocks noGrp="1"/>
          </p:cNvSpPr>
          <p:nvPr>
            <p:ph type="body" sz="quarter" idx="14"/>
          </p:nvPr>
        </p:nvSpPr>
        <p:spPr>
          <a:xfrm>
            <a:off x="8128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44" name="Column Divider">
            <a:extLst>
              <a:ext uri="{FF2B5EF4-FFF2-40B4-BE49-F238E27FC236}">
                <a16:creationId xmlns:a16="http://schemas.microsoft.com/office/drawing/2014/main" id="{AFE66E1B-CB9E-AD43-8F62-B5F7E5962235}"/>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A701984C-34A6-1346-A2AA-2794191C0405}"/>
              </a:ext>
            </a:extLst>
          </p:cNvPr>
          <p:cNvSpPr>
            <a:spLocks noGrp="1"/>
          </p:cNvSpPr>
          <p:nvPr>
            <p:ph type="body" sz="quarter" idx="15"/>
          </p:nvPr>
        </p:nvSpPr>
        <p:spPr>
          <a:xfrm>
            <a:off x="4445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43" name="Column Divider">
            <a:extLst>
              <a:ext uri="{FF2B5EF4-FFF2-40B4-BE49-F238E27FC236}">
                <a16:creationId xmlns:a16="http://schemas.microsoft.com/office/drawing/2014/main" id="{96487311-07DE-BA4A-B675-135E5473D5A5}"/>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31E9FA52-D320-6043-8DA5-2A295E356128}"/>
              </a:ext>
            </a:extLst>
          </p:cNvPr>
          <p:cNvSpPr>
            <a:spLocks noGrp="1"/>
          </p:cNvSpPr>
          <p:nvPr>
            <p:ph type="body" sz="quarter" idx="13"/>
          </p:nvPr>
        </p:nvSpPr>
        <p:spPr>
          <a:xfrm>
            <a:off x="758951"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42" name="Accent Mark">
            <a:extLst>
              <a:ext uri="{FF2B5EF4-FFF2-40B4-BE49-F238E27FC236}">
                <a16:creationId xmlns:a16="http://schemas.microsoft.com/office/drawing/2014/main" id="{4E732D89-C34A-F248-94A1-01F258A23E11}"/>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2834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3 Column">
    <p:bg>
      <p:bgPr>
        <a:solidFill>
          <a:schemeClr val="bg2"/>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C70EC8FB-8F52-1849-8B54-6C3C260AEC4E}"/>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4" name="Footer">
            <a:extLst>
              <a:ext uri="{FF2B5EF4-FFF2-40B4-BE49-F238E27FC236}">
                <a16:creationId xmlns:a16="http://schemas.microsoft.com/office/drawing/2014/main" id="{E2B63F06-EA27-0644-94D3-23B5E702495B}"/>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5" name="Slide Number">
            <a:extLst>
              <a:ext uri="{FF2B5EF4-FFF2-40B4-BE49-F238E27FC236}">
                <a16:creationId xmlns:a16="http://schemas.microsoft.com/office/drawing/2014/main" id="{5DB444FB-0B40-4E4B-905E-8C07DFBDC50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9" name="Text Field">
            <a:extLst>
              <a:ext uri="{FF2B5EF4-FFF2-40B4-BE49-F238E27FC236}">
                <a16:creationId xmlns:a16="http://schemas.microsoft.com/office/drawing/2014/main" id="{AFFA3B66-F839-0A43-B947-288947FAE76A}"/>
              </a:ext>
            </a:extLst>
          </p:cNvPr>
          <p:cNvSpPr>
            <a:spLocks noGrp="1"/>
          </p:cNvSpPr>
          <p:nvPr>
            <p:ph type="body" sz="quarter" idx="15"/>
          </p:nvPr>
        </p:nvSpPr>
        <p:spPr>
          <a:xfrm>
            <a:off x="8128000" y="1837944"/>
            <a:ext cx="3300984" cy="4261104"/>
          </a:xfrm>
        </p:spPr>
        <p:txBody>
          <a:bodyPr/>
          <a:lstStyle/>
          <a:p>
            <a:pPr lvl="0"/>
            <a:r>
              <a:rPr lang="fr-FR"/>
              <a:t>Modifier les styles du texte du masque
Deuxième niveau
Troisième niveau
Quatrième niveau
Cinquième niveau</a:t>
            </a:r>
            <a:endParaRPr lang="en-US" dirty="0"/>
          </a:p>
        </p:txBody>
      </p:sp>
      <p:cxnSp>
        <p:nvCxnSpPr>
          <p:cNvPr id="26" name="Column Divider">
            <a:extLst>
              <a:ext uri="{FF2B5EF4-FFF2-40B4-BE49-F238E27FC236}">
                <a16:creationId xmlns:a16="http://schemas.microsoft.com/office/drawing/2014/main" id="{FEBC52D1-D61C-E242-953A-FE75F4230057}"/>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20" name="Text Field">
            <a:extLst>
              <a:ext uri="{FF2B5EF4-FFF2-40B4-BE49-F238E27FC236}">
                <a16:creationId xmlns:a16="http://schemas.microsoft.com/office/drawing/2014/main" id="{A3F2668A-2594-E744-9A86-00F03A65B3D0}"/>
              </a:ext>
            </a:extLst>
          </p:cNvPr>
          <p:cNvSpPr>
            <a:spLocks noGrp="1"/>
          </p:cNvSpPr>
          <p:nvPr>
            <p:ph type="body" sz="quarter" idx="16"/>
          </p:nvPr>
        </p:nvSpPr>
        <p:spPr>
          <a:xfrm>
            <a:off x="4445000" y="1837944"/>
            <a:ext cx="3300984" cy="4261104"/>
          </a:xfrm>
        </p:spPr>
        <p:txBody>
          <a:bodyPr/>
          <a:lstStyle/>
          <a:p>
            <a:pPr lvl="0"/>
            <a:r>
              <a:rPr lang="fr-FR"/>
              <a:t>Modifier les styles du texte du masque
Deuxième niveau
Troisième niveau
Quatrième niveau
Cinquième niveau</a:t>
            </a:r>
            <a:endParaRPr lang="en-US" dirty="0"/>
          </a:p>
        </p:txBody>
      </p:sp>
      <p:cxnSp>
        <p:nvCxnSpPr>
          <p:cNvPr id="25" name="Column Divider">
            <a:extLst>
              <a:ext uri="{FF2B5EF4-FFF2-40B4-BE49-F238E27FC236}">
                <a16:creationId xmlns:a16="http://schemas.microsoft.com/office/drawing/2014/main" id="{FFFD347B-C0A8-2C4A-806D-EDC1B041B75F}"/>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DBDDCF0-B3BA-F84E-B95B-56F0DD652B4E}"/>
              </a:ext>
            </a:extLst>
          </p:cNvPr>
          <p:cNvSpPr>
            <a:spLocks noGrp="1"/>
          </p:cNvSpPr>
          <p:nvPr>
            <p:ph type="body" sz="quarter" idx="14"/>
          </p:nvPr>
        </p:nvSpPr>
        <p:spPr>
          <a:xfrm>
            <a:off x="758951" y="1837944"/>
            <a:ext cx="3300984" cy="4261104"/>
          </a:xfrm>
        </p:spPr>
        <p:txBody>
          <a:bodyPr/>
          <a:lstStyle/>
          <a:p>
            <a:pPr lvl="0"/>
            <a:r>
              <a:rPr lang="fr-FR"/>
              <a:t>Modifier les styles du texte du masque
Deuxième niveau
Troisième niveau
Quatrième niveau
Cinquième niveau</a:t>
            </a:r>
            <a:endParaRPr lang="en-US" dirty="0"/>
          </a:p>
        </p:txBody>
      </p:sp>
      <p:cxnSp>
        <p:nvCxnSpPr>
          <p:cNvPr id="27" name="Accent Mark">
            <a:extLst>
              <a:ext uri="{FF2B5EF4-FFF2-40B4-BE49-F238E27FC236}">
                <a16:creationId xmlns:a16="http://schemas.microsoft.com/office/drawing/2014/main" id="{A42B5292-498A-834B-8514-61985A01386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C2DB86C1-D122-1844-AC1A-B24593E8DB7A}"/>
              </a:ext>
            </a:extLst>
          </p:cNvPr>
          <p:cNvSpPr>
            <a:spLocks noGrp="1"/>
          </p:cNvSpPr>
          <p:nvPr>
            <p:ph type="body" sz="quarter" idx="13"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1AD6C625-E91C-C740-B6CB-B38FD66B396D}"/>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81080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3 Column">
    <p:bg>
      <p:bgPr>
        <a:solidFill>
          <a:schemeClr val="tx1"/>
        </a:solidFill>
        <a:effectLst/>
      </p:bgPr>
    </p:bg>
    <p:spTree>
      <p:nvGrpSpPr>
        <p:cNvPr id="1" name=""/>
        <p:cNvGrpSpPr/>
        <p:nvPr/>
      </p:nvGrpSpPr>
      <p:grpSpPr>
        <a:xfrm>
          <a:off x="0" y="0"/>
          <a:ext cx="0" cy="0"/>
          <a:chOff x="0" y="0"/>
          <a:chExt cx="0" cy="0"/>
        </a:xfrm>
      </p:grpSpPr>
      <p:pic>
        <p:nvPicPr>
          <p:cNvPr id="24" name="Data Texture Cloud">
            <a:extLst>
              <a:ext uri="{FF2B5EF4-FFF2-40B4-BE49-F238E27FC236}">
                <a16:creationId xmlns:a16="http://schemas.microsoft.com/office/drawing/2014/main" id="{0FC7E372-ADF2-0D42-B73B-DDFEABF951C1}"/>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8" name="Footer">
            <a:extLst>
              <a:ext uri="{FF2B5EF4-FFF2-40B4-BE49-F238E27FC236}">
                <a16:creationId xmlns:a16="http://schemas.microsoft.com/office/drawing/2014/main" id="{0D2A1D40-7B1E-8C46-A38C-6EF04D30A14E}"/>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5" name="Slide Number">
            <a:extLst>
              <a:ext uri="{FF2B5EF4-FFF2-40B4-BE49-F238E27FC236}">
                <a16:creationId xmlns:a16="http://schemas.microsoft.com/office/drawing/2014/main" id="{5DB444FB-0B40-4E4B-905E-8C07DFBDC50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9" name="Text Field">
            <a:extLst>
              <a:ext uri="{FF2B5EF4-FFF2-40B4-BE49-F238E27FC236}">
                <a16:creationId xmlns:a16="http://schemas.microsoft.com/office/drawing/2014/main" id="{AFFA3B66-F839-0A43-B947-288947FAE76A}"/>
              </a:ext>
            </a:extLst>
          </p:cNvPr>
          <p:cNvSpPr>
            <a:spLocks noGrp="1"/>
          </p:cNvSpPr>
          <p:nvPr>
            <p:ph type="body" sz="quarter" idx="15"/>
          </p:nvPr>
        </p:nvSpPr>
        <p:spPr>
          <a:xfrm>
            <a:off x="8128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6" name="Column Divider">
            <a:extLst>
              <a:ext uri="{FF2B5EF4-FFF2-40B4-BE49-F238E27FC236}">
                <a16:creationId xmlns:a16="http://schemas.microsoft.com/office/drawing/2014/main" id="{FEBC52D1-D61C-E242-953A-FE75F4230057}"/>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20" name="Text Field">
            <a:extLst>
              <a:ext uri="{FF2B5EF4-FFF2-40B4-BE49-F238E27FC236}">
                <a16:creationId xmlns:a16="http://schemas.microsoft.com/office/drawing/2014/main" id="{A3F2668A-2594-E744-9A86-00F03A65B3D0}"/>
              </a:ext>
            </a:extLst>
          </p:cNvPr>
          <p:cNvSpPr>
            <a:spLocks noGrp="1"/>
          </p:cNvSpPr>
          <p:nvPr>
            <p:ph type="body" sz="quarter" idx="16"/>
          </p:nvPr>
        </p:nvSpPr>
        <p:spPr>
          <a:xfrm>
            <a:off x="4445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5" name="Column Divider">
            <a:extLst>
              <a:ext uri="{FF2B5EF4-FFF2-40B4-BE49-F238E27FC236}">
                <a16:creationId xmlns:a16="http://schemas.microsoft.com/office/drawing/2014/main" id="{FFFD347B-C0A8-2C4A-806D-EDC1B041B75F}"/>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DBDDCF0-B3BA-F84E-B95B-56F0DD652B4E}"/>
              </a:ext>
            </a:extLst>
          </p:cNvPr>
          <p:cNvSpPr>
            <a:spLocks noGrp="1"/>
          </p:cNvSpPr>
          <p:nvPr>
            <p:ph type="body" sz="quarter" idx="14"/>
          </p:nvPr>
        </p:nvSpPr>
        <p:spPr>
          <a:xfrm>
            <a:off x="758951"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7" name="Accent Mark">
            <a:extLst>
              <a:ext uri="{FF2B5EF4-FFF2-40B4-BE49-F238E27FC236}">
                <a16:creationId xmlns:a16="http://schemas.microsoft.com/office/drawing/2014/main" id="{A42B5292-498A-834B-8514-61985A01386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C2DB86C1-D122-1844-AC1A-B24593E8DB7A}"/>
              </a:ext>
            </a:extLst>
          </p:cNvPr>
          <p:cNvSpPr>
            <a:spLocks noGrp="1"/>
          </p:cNvSpPr>
          <p:nvPr>
            <p:ph type="body" sz="quarter" idx="13"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1AD6C625-E91C-C740-B6CB-B38FD66B396D}"/>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93023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 Title and numbered list">
    <p:spTree>
      <p:nvGrpSpPr>
        <p:cNvPr id="1" name=""/>
        <p:cNvGrpSpPr/>
        <p:nvPr/>
      </p:nvGrpSpPr>
      <p:grpSpPr>
        <a:xfrm>
          <a:off x="0" y="0"/>
          <a:ext cx="0" cy="0"/>
          <a:chOff x="0" y="0"/>
          <a:chExt cx="0" cy="0"/>
        </a:xfrm>
      </p:grpSpPr>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r="29573"/>
          <a:stretch/>
        </p:blipFill>
        <p:spPr>
          <a:xfrm>
            <a:off x="6337183" y="565565"/>
            <a:ext cx="5854818" cy="3169433"/>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2064470" y="2302901"/>
            <a:ext cx="8814062" cy="395562"/>
          </a:xfr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One</a:t>
            </a:r>
          </a:p>
        </p:txBody>
      </p:sp>
      <p:sp>
        <p:nvSpPr>
          <p:cNvPr id="10" name="Title 1">
            <a:extLst>
              <a:ext uri="{FF2B5EF4-FFF2-40B4-BE49-F238E27FC236}">
                <a16:creationId xmlns:a16="http://schemas.microsoft.com/office/drawing/2014/main" id="{99AFAB69-F72F-B44B-BB67-D4480049D826}"/>
              </a:ext>
            </a:extLst>
          </p:cNvPr>
          <p:cNvSpPr>
            <a:spLocks noGrp="1"/>
          </p:cNvSpPr>
          <p:nvPr>
            <p:ph type="title" hasCustomPrompt="1"/>
          </p:nvPr>
        </p:nvSpPr>
        <p:spPr>
          <a:xfrm>
            <a:off x="768096" y="783026"/>
            <a:ext cx="10110436" cy="844095"/>
          </a:xfrm>
        </p:spPr>
        <p:txBody>
          <a:bodyPr vert="horz" lIns="0" tIns="45720" rIns="0" bIns="45720" rtlCol="0" anchor="b">
            <a:norm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Headline</a:t>
            </a:r>
          </a:p>
        </p:txBody>
      </p:sp>
      <p:sp>
        <p:nvSpPr>
          <p:cNvPr id="13" name="Text Placeholder 5">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1461153" y="2302995"/>
            <a:ext cx="439953" cy="395562"/>
          </a:xfrm>
        </p:spPr>
        <p:txBody>
          <a:bodyPr lIns="0" rIns="0">
            <a:noAutofit/>
          </a:bodyPr>
          <a:lstStyle>
            <a:lvl1pPr algn="ctr">
              <a:defRPr sz="2000">
                <a:solidFill>
                  <a:schemeClr val="accent2"/>
                </a:solidFill>
                <a:latin typeface="Georgia" panose="02040502050405020303" pitchFamily="18" charset="0"/>
              </a:defRPr>
            </a:lvl1pPr>
          </a:lstStyle>
          <a:p>
            <a:pPr lvl="0"/>
            <a:r>
              <a:rPr lang="en-US" dirty="0"/>
              <a:t>X</a:t>
            </a:r>
          </a:p>
        </p:txBody>
      </p:sp>
      <p:sp>
        <p:nvSpPr>
          <p:cNvPr id="15" name="Text Placeholder 5">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1461153" y="2822169"/>
            <a:ext cx="439953" cy="395562"/>
          </a:xfrm>
        </p:spPr>
        <p:txBody>
          <a:bodyPr lIns="0" rIns="0">
            <a:noAutofit/>
          </a:bodyPr>
          <a:lstStyle>
            <a:lvl1pPr algn="ctr">
              <a:defRPr sz="2000">
                <a:solidFill>
                  <a:schemeClr val="accent2"/>
                </a:solidFill>
                <a:latin typeface="Georgia" panose="02040502050405020303" pitchFamily="18" charset="0"/>
              </a:defRPr>
            </a:lvl1pPr>
          </a:lstStyle>
          <a:p>
            <a:pPr lvl="0"/>
            <a:r>
              <a:rPr lang="en-US" dirty="0"/>
              <a:t>X</a:t>
            </a:r>
          </a:p>
        </p:txBody>
      </p:sp>
      <p:sp>
        <p:nvSpPr>
          <p:cNvPr id="16" name="Text Placeholder 5">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1461153" y="3341343"/>
            <a:ext cx="439953" cy="395562"/>
          </a:xfrm>
        </p:spPr>
        <p:txBody>
          <a:bodyPr lIns="0" rIns="0">
            <a:noAutofit/>
          </a:bodyPr>
          <a:lstStyle>
            <a:lvl1pPr algn="ctr">
              <a:defRPr sz="2000">
                <a:solidFill>
                  <a:schemeClr val="accent2"/>
                </a:solidFill>
                <a:latin typeface="Georgia" panose="02040502050405020303" pitchFamily="18" charset="0"/>
              </a:defRPr>
            </a:lvl1pPr>
          </a:lstStyle>
          <a:p>
            <a:pPr lvl="0"/>
            <a:r>
              <a:rPr lang="en-US" dirty="0"/>
              <a:t>X</a:t>
            </a:r>
          </a:p>
        </p:txBody>
      </p:sp>
      <p:sp>
        <p:nvSpPr>
          <p:cNvPr id="17" name="Text Placeholder 5">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1461153" y="3860517"/>
            <a:ext cx="439953" cy="395562"/>
          </a:xfrm>
        </p:spPr>
        <p:txBody>
          <a:bodyPr lIns="0" rIns="0">
            <a:noAutofit/>
          </a:bodyPr>
          <a:lstStyle>
            <a:lvl1pPr algn="ctr">
              <a:defRPr sz="2000">
                <a:solidFill>
                  <a:schemeClr val="accent2"/>
                </a:solidFill>
                <a:latin typeface="Georgia" panose="02040502050405020303" pitchFamily="18" charset="0"/>
              </a:defRPr>
            </a:lvl1pPr>
          </a:lstStyle>
          <a:p>
            <a:pPr lvl="0"/>
            <a:r>
              <a:rPr lang="en-US" dirty="0"/>
              <a:t>X</a:t>
            </a:r>
          </a:p>
        </p:txBody>
      </p:sp>
      <p:sp>
        <p:nvSpPr>
          <p:cNvPr id="18" name="Text Placeholder 5">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1461153" y="4379689"/>
            <a:ext cx="439953" cy="395562"/>
          </a:xfrm>
        </p:spPr>
        <p:txBody>
          <a:bodyPr lIns="0" rIns="0">
            <a:noAutofit/>
          </a:bodyPr>
          <a:lstStyle>
            <a:lvl1pPr algn="ctr">
              <a:defRPr sz="2000">
                <a:solidFill>
                  <a:schemeClr val="accent2"/>
                </a:solidFill>
                <a:latin typeface="Georgia" panose="02040502050405020303" pitchFamily="18" charset="0"/>
              </a:defRPr>
            </a:lvl1pPr>
          </a:lstStyle>
          <a:p>
            <a:pPr lvl="0"/>
            <a:r>
              <a:rPr lang="en-US" dirty="0"/>
              <a:t>X</a:t>
            </a:r>
          </a:p>
        </p:txBody>
      </p:sp>
      <p:sp>
        <p:nvSpPr>
          <p:cNvPr id="19" name="Text Placeholder 2">
            <a:extLst>
              <a:ext uri="{FF2B5EF4-FFF2-40B4-BE49-F238E27FC236}">
                <a16:creationId xmlns:a16="http://schemas.microsoft.com/office/drawing/2014/main" id="{53E966DA-E5B9-074E-B0AA-F5451AF51BAE}"/>
              </a:ext>
            </a:extLst>
          </p:cNvPr>
          <p:cNvSpPr>
            <a:spLocks noGrp="1"/>
          </p:cNvSpPr>
          <p:nvPr>
            <p:ph type="body" idx="16" hasCustomPrompt="1"/>
          </p:nvPr>
        </p:nvSpPr>
        <p:spPr>
          <a:xfrm>
            <a:off x="2064470" y="2822098"/>
            <a:ext cx="8814062" cy="395562"/>
          </a:xfr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wo</a:t>
            </a:r>
          </a:p>
          <a:p>
            <a:pPr lvl="0"/>
            <a:endParaRPr lang="en-US" dirty="0"/>
          </a:p>
        </p:txBody>
      </p:sp>
      <p:sp>
        <p:nvSpPr>
          <p:cNvPr id="20" name="Text Placeholder 2">
            <a:extLst>
              <a:ext uri="{FF2B5EF4-FFF2-40B4-BE49-F238E27FC236}">
                <a16:creationId xmlns:a16="http://schemas.microsoft.com/office/drawing/2014/main" id="{35FDD008-E0E6-4746-AB5B-78D012E92B2E}"/>
              </a:ext>
            </a:extLst>
          </p:cNvPr>
          <p:cNvSpPr>
            <a:spLocks noGrp="1"/>
          </p:cNvSpPr>
          <p:nvPr>
            <p:ph type="body" idx="17" hasCustomPrompt="1"/>
          </p:nvPr>
        </p:nvSpPr>
        <p:spPr>
          <a:xfrm>
            <a:off x="2064470" y="3341295"/>
            <a:ext cx="8814062" cy="395562"/>
          </a:xfr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hree</a:t>
            </a:r>
          </a:p>
        </p:txBody>
      </p:sp>
      <p:sp>
        <p:nvSpPr>
          <p:cNvPr id="22" name="Text Placeholder 2">
            <a:extLst>
              <a:ext uri="{FF2B5EF4-FFF2-40B4-BE49-F238E27FC236}">
                <a16:creationId xmlns:a16="http://schemas.microsoft.com/office/drawing/2014/main" id="{A5DE72B7-8353-7C47-A8C2-69DED713D179}"/>
              </a:ext>
            </a:extLst>
          </p:cNvPr>
          <p:cNvSpPr>
            <a:spLocks noGrp="1"/>
          </p:cNvSpPr>
          <p:nvPr>
            <p:ph type="body" idx="18" hasCustomPrompt="1"/>
          </p:nvPr>
        </p:nvSpPr>
        <p:spPr>
          <a:xfrm>
            <a:off x="2064470" y="3860492"/>
            <a:ext cx="8814062" cy="395562"/>
          </a:xfr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Four</a:t>
            </a:r>
          </a:p>
        </p:txBody>
      </p:sp>
      <p:sp>
        <p:nvSpPr>
          <p:cNvPr id="23" name="Text Placeholder 2">
            <a:extLst>
              <a:ext uri="{FF2B5EF4-FFF2-40B4-BE49-F238E27FC236}">
                <a16:creationId xmlns:a16="http://schemas.microsoft.com/office/drawing/2014/main" id="{6D1BD307-5E4B-9647-A402-54CF30BEC3C6}"/>
              </a:ext>
            </a:extLst>
          </p:cNvPr>
          <p:cNvSpPr>
            <a:spLocks noGrp="1"/>
          </p:cNvSpPr>
          <p:nvPr>
            <p:ph type="body" idx="19" hasCustomPrompt="1"/>
          </p:nvPr>
        </p:nvSpPr>
        <p:spPr>
          <a:xfrm>
            <a:off x="2064470" y="4379689"/>
            <a:ext cx="8814062" cy="395562"/>
          </a:xfr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Five</a:t>
            </a:r>
          </a:p>
        </p:txBody>
      </p:sp>
      <p:pic>
        <p:nvPicPr>
          <p:cNvPr id="26" name="Picture 25">
            <a:extLst>
              <a:ext uri="{FF2B5EF4-FFF2-40B4-BE49-F238E27FC236}">
                <a16:creationId xmlns:a16="http://schemas.microsoft.com/office/drawing/2014/main" id="{79720989-2482-AB44-A4C6-51E24E779058}"/>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CEF703C9-4FDD-4F44-9D4C-DE37399565BB}"/>
              </a:ext>
            </a:extLst>
          </p:cNvPr>
          <p:cNvSpPr>
            <a:spLocks noGrp="1"/>
          </p:cNvSpPr>
          <p:nvPr>
            <p:ph type="ftr" sz="quarter" idx="20"/>
          </p:nvPr>
        </p:nvSpPr>
        <p:spPr/>
        <p:txBody>
          <a:bodyPr/>
          <a:lstStyle/>
          <a:p>
            <a:r>
              <a:rPr lang="en-US"/>
              <a:t>Confidential – © 2019 Oracle Internal/Restricted/Highly Restricted</a:t>
            </a:r>
            <a:endParaRPr lang="en-US" dirty="0"/>
          </a:p>
        </p:txBody>
      </p:sp>
      <p:sp>
        <p:nvSpPr>
          <p:cNvPr id="4" name="Slide Number Placeholder 3">
            <a:extLst>
              <a:ext uri="{FF2B5EF4-FFF2-40B4-BE49-F238E27FC236}">
                <a16:creationId xmlns:a16="http://schemas.microsoft.com/office/drawing/2014/main" id="{45342AF7-5BA7-456C-A09B-16DC37B984D5}"/>
              </a:ext>
            </a:extLst>
          </p:cNvPr>
          <p:cNvSpPr>
            <a:spLocks noGrp="1"/>
          </p:cNvSpPr>
          <p:nvPr>
            <p:ph type="sldNum" sz="quarter" idx="21"/>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28494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ight - Title 4 Column">
    <p:bg>
      <p:bgPr>
        <a:solidFill>
          <a:schemeClr val="bg2"/>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E384CA2D-A4F2-454B-8E32-D2A8DB39E29E}"/>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4" name="Footer">
            <a:extLst>
              <a:ext uri="{FF2B5EF4-FFF2-40B4-BE49-F238E27FC236}">
                <a16:creationId xmlns:a16="http://schemas.microsoft.com/office/drawing/2014/main" id="{524098CF-9376-754A-A9D8-69D985334EC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03D4BE4B-47A2-B746-908D-9F252050644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20" name="Text Field">
            <a:extLst>
              <a:ext uri="{FF2B5EF4-FFF2-40B4-BE49-F238E27FC236}">
                <a16:creationId xmlns:a16="http://schemas.microsoft.com/office/drawing/2014/main" id="{02F4F3B9-1A25-4E45-9B9E-E6DE163F5149}"/>
              </a:ext>
            </a:extLst>
          </p:cNvPr>
          <p:cNvSpPr>
            <a:spLocks noGrp="1"/>
          </p:cNvSpPr>
          <p:nvPr>
            <p:ph type="body" sz="quarter" idx="17"/>
          </p:nvPr>
        </p:nvSpPr>
        <p:spPr>
          <a:xfrm>
            <a:off x="8953500"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53" name="Column Divider">
            <a:extLst>
              <a:ext uri="{FF2B5EF4-FFF2-40B4-BE49-F238E27FC236}">
                <a16:creationId xmlns:a16="http://schemas.microsoft.com/office/drawing/2014/main" id="{C1EA1156-1AC8-084F-859D-8B19F16BA32D}"/>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Text Field">
            <a:extLst>
              <a:ext uri="{FF2B5EF4-FFF2-40B4-BE49-F238E27FC236}">
                <a16:creationId xmlns:a16="http://schemas.microsoft.com/office/drawing/2014/main" id="{D92D1E76-E845-ED49-B199-B642E9394D9A}"/>
              </a:ext>
            </a:extLst>
          </p:cNvPr>
          <p:cNvSpPr>
            <a:spLocks noGrp="1"/>
          </p:cNvSpPr>
          <p:nvPr>
            <p:ph type="body" sz="quarter" idx="15"/>
          </p:nvPr>
        </p:nvSpPr>
        <p:spPr>
          <a:xfrm>
            <a:off x="6221476"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52" name="Column Divider">
            <a:extLst>
              <a:ext uri="{FF2B5EF4-FFF2-40B4-BE49-F238E27FC236}">
                <a16:creationId xmlns:a16="http://schemas.microsoft.com/office/drawing/2014/main" id="{9AE92E81-C82E-E149-A4CF-9306BBF686F1}"/>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FAD02FEA-1BCB-BB40-B9E3-D33BD182F3A3}"/>
              </a:ext>
            </a:extLst>
          </p:cNvPr>
          <p:cNvSpPr>
            <a:spLocks noGrp="1"/>
          </p:cNvSpPr>
          <p:nvPr>
            <p:ph type="body" sz="quarter" idx="16"/>
          </p:nvPr>
        </p:nvSpPr>
        <p:spPr>
          <a:xfrm>
            <a:off x="3492500"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51" name="Column Divider">
            <a:extLst>
              <a:ext uri="{FF2B5EF4-FFF2-40B4-BE49-F238E27FC236}">
                <a16:creationId xmlns:a16="http://schemas.microsoft.com/office/drawing/2014/main" id="{D8752716-0CB6-6540-9B2F-91540EE5400A}"/>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CBAC9E2A-9AED-D148-B16F-3A131864B9B9}"/>
              </a:ext>
            </a:extLst>
          </p:cNvPr>
          <p:cNvSpPr>
            <a:spLocks noGrp="1"/>
          </p:cNvSpPr>
          <p:nvPr>
            <p:ph type="body" sz="quarter" idx="14"/>
          </p:nvPr>
        </p:nvSpPr>
        <p:spPr>
          <a:xfrm>
            <a:off x="758951"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49" name="Accent Mark">
            <a:extLst>
              <a:ext uri="{FF2B5EF4-FFF2-40B4-BE49-F238E27FC236}">
                <a16:creationId xmlns:a16="http://schemas.microsoft.com/office/drawing/2014/main" id="{B2F74B94-3BCD-EA4C-BFF9-D9AB5ED375AC}"/>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18814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ark - Title 4 Column">
    <p:bg>
      <p:bgPr>
        <a:solidFill>
          <a:schemeClr val="tx1"/>
        </a:solidFill>
        <a:effectLst/>
      </p:bgPr>
    </p:bg>
    <p:spTree>
      <p:nvGrpSpPr>
        <p:cNvPr id="1" name=""/>
        <p:cNvGrpSpPr/>
        <p:nvPr/>
      </p:nvGrpSpPr>
      <p:grpSpPr>
        <a:xfrm>
          <a:off x="0" y="0"/>
          <a:ext cx="0" cy="0"/>
          <a:chOff x="0" y="0"/>
          <a:chExt cx="0" cy="0"/>
        </a:xfrm>
      </p:grpSpPr>
      <p:pic>
        <p:nvPicPr>
          <p:cNvPr id="24" name="Data Texture Cloud">
            <a:extLst>
              <a:ext uri="{FF2B5EF4-FFF2-40B4-BE49-F238E27FC236}">
                <a16:creationId xmlns:a16="http://schemas.microsoft.com/office/drawing/2014/main" id="{030D5F68-2B7D-5945-9127-3A54A7FB2BFE}"/>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2" name="Footer">
            <a:extLst>
              <a:ext uri="{FF2B5EF4-FFF2-40B4-BE49-F238E27FC236}">
                <a16:creationId xmlns:a16="http://schemas.microsoft.com/office/drawing/2014/main" id="{9FD82624-1FF4-F549-95A0-47E76ADA63CF}"/>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03D4BE4B-47A2-B746-908D-9F252050644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20" name="Text Field">
            <a:extLst>
              <a:ext uri="{FF2B5EF4-FFF2-40B4-BE49-F238E27FC236}">
                <a16:creationId xmlns:a16="http://schemas.microsoft.com/office/drawing/2014/main" id="{02F4F3B9-1A25-4E45-9B9E-E6DE163F5149}"/>
              </a:ext>
            </a:extLst>
          </p:cNvPr>
          <p:cNvSpPr>
            <a:spLocks noGrp="1"/>
          </p:cNvSpPr>
          <p:nvPr>
            <p:ph type="body" sz="quarter" idx="17"/>
          </p:nvPr>
        </p:nvSpPr>
        <p:spPr>
          <a:xfrm>
            <a:off x="8953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53" name="Column Divider">
            <a:extLst>
              <a:ext uri="{FF2B5EF4-FFF2-40B4-BE49-F238E27FC236}">
                <a16:creationId xmlns:a16="http://schemas.microsoft.com/office/drawing/2014/main" id="{C1EA1156-1AC8-084F-859D-8B19F16BA32D}"/>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Text Field">
            <a:extLst>
              <a:ext uri="{FF2B5EF4-FFF2-40B4-BE49-F238E27FC236}">
                <a16:creationId xmlns:a16="http://schemas.microsoft.com/office/drawing/2014/main" id="{D92D1E76-E845-ED49-B199-B642E9394D9A}"/>
              </a:ext>
            </a:extLst>
          </p:cNvPr>
          <p:cNvSpPr>
            <a:spLocks noGrp="1"/>
          </p:cNvSpPr>
          <p:nvPr>
            <p:ph type="body" sz="quarter" idx="15"/>
          </p:nvPr>
        </p:nvSpPr>
        <p:spPr>
          <a:xfrm>
            <a:off x="6221476"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52" name="Column Divider">
            <a:extLst>
              <a:ext uri="{FF2B5EF4-FFF2-40B4-BE49-F238E27FC236}">
                <a16:creationId xmlns:a16="http://schemas.microsoft.com/office/drawing/2014/main" id="{9AE92E81-C82E-E149-A4CF-9306BBF686F1}"/>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FAD02FEA-1BCB-BB40-B9E3-D33BD182F3A3}"/>
              </a:ext>
            </a:extLst>
          </p:cNvPr>
          <p:cNvSpPr>
            <a:spLocks noGrp="1"/>
          </p:cNvSpPr>
          <p:nvPr>
            <p:ph type="body" sz="quarter" idx="16"/>
          </p:nvPr>
        </p:nvSpPr>
        <p:spPr>
          <a:xfrm>
            <a:off x="3492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51" name="Column Divider">
            <a:extLst>
              <a:ext uri="{FF2B5EF4-FFF2-40B4-BE49-F238E27FC236}">
                <a16:creationId xmlns:a16="http://schemas.microsoft.com/office/drawing/2014/main" id="{D8752716-0CB6-6540-9B2F-91540EE5400A}"/>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CBAC9E2A-9AED-D148-B16F-3A131864B9B9}"/>
              </a:ext>
            </a:extLst>
          </p:cNvPr>
          <p:cNvSpPr>
            <a:spLocks noGrp="1"/>
          </p:cNvSpPr>
          <p:nvPr>
            <p:ph type="body" sz="quarter" idx="14"/>
          </p:nvPr>
        </p:nvSpPr>
        <p:spPr>
          <a:xfrm>
            <a:off x="758951"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49" name="Accent Mark">
            <a:extLst>
              <a:ext uri="{FF2B5EF4-FFF2-40B4-BE49-F238E27FC236}">
                <a16:creationId xmlns:a16="http://schemas.microsoft.com/office/drawing/2014/main" id="{B2F74B94-3BCD-EA4C-BFF9-D9AB5ED375AC}"/>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43306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4 Column">
    <p:bg>
      <p:bgPr>
        <a:solidFill>
          <a:schemeClr val="bg2"/>
        </a:solidFill>
        <a:effectLst/>
      </p:bgPr>
    </p:bg>
    <p:spTree>
      <p:nvGrpSpPr>
        <p:cNvPr id="1" name=""/>
        <p:cNvGrpSpPr/>
        <p:nvPr/>
      </p:nvGrpSpPr>
      <p:grpSpPr>
        <a:xfrm>
          <a:off x="0" y="0"/>
          <a:ext cx="0" cy="0"/>
          <a:chOff x="0" y="0"/>
          <a:chExt cx="0" cy="0"/>
        </a:xfrm>
      </p:grpSpPr>
      <p:pic>
        <p:nvPicPr>
          <p:cNvPr id="21" name="Data Texture Cloud">
            <a:extLst>
              <a:ext uri="{FF2B5EF4-FFF2-40B4-BE49-F238E27FC236}">
                <a16:creationId xmlns:a16="http://schemas.microsoft.com/office/drawing/2014/main" id="{BD09BE5E-B760-8549-A8BC-E223A297FC8C}"/>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2" name="Footer">
            <a:extLst>
              <a:ext uri="{FF2B5EF4-FFF2-40B4-BE49-F238E27FC236}">
                <a16:creationId xmlns:a16="http://schemas.microsoft.com/office/drawing/2014/main" id="{74B95F78-71AA-7641-8496-F7ABCE92E01A}"/>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9" name="Slide Number">
            <a:extLst>
              <a:ext uri="{FF2B5EF4-FFF2-40B4-BE49-F238E27FC236}">
                <a16:creationId xmlns:a16="http://schemas.microsoft.com/office/drawing/2014/main" id="{33487866-D41F-8C4E-BEA1-BDF786DFA5A6}"/>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5" name="Text Field">
            <a:extLst>
              <a:ext uri="{FF2B5EF4-FFF2-40B4-BE49-F238E27FC236}">
                <a16:creationId xmlns:a16="http://schemas.microsoft.com/office/drawing/2014/main" id="{339804BB-2EA6-8C4F-866E-E719BA537F8D}"/>
              </a:ext>
            </a:extLst>
          </p:cNvPr>
          <p:cNvSpPr>
            <a:spLocks noGrp="1"/>
          </p:cNvSpPr>
          <p:nvPr>
            <p:ph type="body" sz="quarter" idx="18"/>
          </p:nvPr>
        </p:nvSpPr>
        <p:spPr>
          <a:xfrm>
            <a:off x="8953500"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30" name="Column Divider">
            <a:extLst>
              <a:ext uri="{FF2B5EF4-FFF2-40B4-BE49-F238E27FC236}">
                <a16:creationId xmlns:a16="http://schemas.microsoft.com/office/drawing/2014/main" id="{69DCFAC0-F500-FF4B-9DC2-971161B458E5}"/>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2" name="Text Field">
            <a:extLst>
              <a:ext uri="{FF2B5EF4-FFF2-40B4-BE49-F238E27FC236}">
                <a16:creationId xmlns:a16="http://schemas.microsoft.com/office/drawing/2014/main" id="{32015544-9835-C645-A5B4-B9C3710188C1}"/>
              </a:ext>
            </a:extLst>
          </p:cNvPr>
          <p:cNvSpPr>
            <a:spLocks noGrp="1"/>
          </p:cNvSpPr>
          <p:nvPr>
            <p:ph type="body" sz="quarter" idx="16"/>
          </p:nvPr>
        </p:nvSpPr>
        <p:spPr>
          <a:xfrm>
            <a:off x="6221476"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29" name="Column Divider">
            <a:extLst>
              <a:ext uri="{FF2B5EF4-FFF2-40B4-BE49-F238E27FC236}">
                <a16:creationId xmlns:a16="http://schemas.microsoft.com/office/drawing/2014/main" id="{6D056399-51EB-AC43-94D0-5FE8C7D62D3A}"/>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4" name="Text Field">
            <a:extLst>
              <a:ext uri="{FF2B5EF4-FFF2-40B4-BE49-F238E27FC236}">
                <a16:creationId xmlns:a16="http://schemas.microsoft.com/office/drawing/2014/main" id="{8936CF8B-824C-6D43-87AC-7D28E5F4AFF6}"/>
              </a:ext>
            </a:extLst>
          </p:cNvPr>
          <p:cNvSpPr>
            <a:spLocks noGrp="1"/>
          </p:cNvSpPr>
          <p:nvPr>
            <p:ph type="body" sz="quarter" idx="17"/>
          </p:nvPr>
        </p:nvSpPr>
        <p:spPr>
          <a:xfrm>
            <a:off x="3492500"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28" name="Column Divider">
            <a:extLst>
              <a:ext uri="{FF2B5EF4-FFF2-40B4-BE49-F238E27FC236}">
                <a16:creationId xmlns:a16="http://schemas.microsoft.com/office/drawing/2014/main" id="{EAAA606E-CE35-0449-B08C-449A1A629AD6}"/>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1" name="Text Field">
            <a:extLst>
              <a:ext uri="{FF2B5EF4-FFF2-40B4-BE49-F238E27FC236}">
                <a16:creationId xmlns:a16="http://schemas.microsoft.com/office/drawing/2014/main" id="{BBD3C9DD-1023-264E-8B2E-C3737E9E5BB3}"/>
              </a:ext>
            </a:extLst>
          </p:cNvPr>
          <p:cNvSpPr>
            <a:spLocks noGrp="1"/>
          </p:cNvSpPr>
          <p:nvPr>
            <p:ph type="body" sz="quarter" idx="15"/>
          </p:nvPr>
        </p:nvSpPr>
        <p:spPr>
          <a:xfrm>
            <a:off x="758951" y="1837944"/>
            <a:ext cx="2478024" cy="4261104"/>
          </a:xfrm>
        </p:spPr>
        <p:txBody>
          <a:bodyPr/>
          <a:lstStyle/>
          <a:p>
            <a:pPr lvl="0"/>
            <a:r>
              <a:rPr lang="fr-FR"/>
              <a:t>Modifier les styles du texte du masque
Deuxième niveau
Troisième niveau
Quatrième niveau
Cinquième niveau</a:t>
            </a:r>
            <a:endParaRPr lang="en-US" dirty="0"/>
          </a:p>
        </p:txBody>
      </p:sp>
      <p:cxnSp>
        <p:nvCxnSpPr>
          <p:cNvPr id="27" name="Accent Mark">
            <a:extLst>
              <a:ext uri="{FF2B5EF4-FFF2-40B4-BE49-F238E27FC236}">
                <a16:creationId xmlns:a16="http://schemas.microsoft.com/office/drawing/2014/main" id="{3AC36BFD-AA0C-534A-ACB9-5B4A91277AB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0F29B488-9E06-2A4D-AE0A-AEDAC8C00C46}"/>
              </a:ext>
            </a:extLst>
          </p:cNvPr>
          <p:cNvSpPr>
            <a:spLocks noGrp="1"/>
          </p:cNvSpPr>
          <p:nvPr>
            <p:ph type="body" sz="quarter" idx="14"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0F194A7A-6F4C-2E4D-9455-39C5AB9DA04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62782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4 Column">
    <p:bg>
      <p:bgPr>
        <a:solidFill>
          <a:schemeClr val="tx1"/>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8695F751-C528-3B42-8EEE-1DA309C07516}"/>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3" name="OTag">
            <a:extLst>
              <a:ext uri="{FF2B5EF4-FFF2-40B4-BE49-F238E27FC236}">
                <a16:creationId xmlns:a16="http://schemas.microsoft.com/office/drawing/2014/main" id="{EBAE077C-DB09-ED47-8D39-D0B8EC31F8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1" name="Footer">
            <a:extLst>
              <a:ext uri="{FF2B5EF4-FFF2-40B4-BE49-F238E27FC236}">
                <a16:creationId xmlns:a16="http://schemas.microsoft.com/office/drawing/2014/main" id="{87B3A7DE-41C4-0746-8E51-D22D0ACBC4AD}"/>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9" name="Slide Number">
            <a:extLst>
              <a:ext uri="{FF2B5EF4-FFF2-40B4-BE49-F238E27FC236}">
                <a16:creationId xmlns:a16="http://schemas.microsoft.com/office/drawing/2014/main" id="{33487866-D41F-8C4E-BEA1-BDF786DFA5A6}"/>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5" name="Text Field">
            <a:extLst>
              <a:ext uri="{FF2B5EF4-FFF2-40B4-BE49-F238E27FC236}">
                <a16:creationId xmlns:a16="http://schemas.microsoft.com/office/drawing/2014/main" id="{339804BB-2EA6-8C4F-866E-E719BA537F8D}"/>
              </a:ext>
            </a:extLst>
          </p:cNvPr>
          <p:cNvSpPr>
            <a:spLocks noGrp="1"/>
          </p:cNvSpPr>
          <p:nvPr>
            <p:ph type="body" sz="quarter" idx="18"/>
          </p:nvPr>
        </p:nvSpPr>
        <p:spPr>
          <a:xfrm>
            <a:off x="8953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30" name="Column Divider">
            <a:extLst>
              <a:ext uri="{FF2B5EF4-FFF2-40B4-BE49-F238E27FC236}">
                <a16:creationId xmlns:a16="http://schemas.microsoft.com/office/drawing/2014/main" id="{69DCFAC0-F500-FF4B-9DC2-971161B458E5}"/>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2" name="Text Field">
            <a:extLst>
              <a:ext uri="{FF2B5EF4-FFF2-40B4-BE49-F238E27FC236}">
                <a16:creationId xmlns:a16="http://schemas.microsoft.com/office/drawing/2014/main" id="{32015544-9835-C645-A5B4-B9C3710188C1}"/>
              </a:ext>
            </a:extLst>
          </p:cNvPr>
          <p:cNvSpPr>
            <a:spLocks noGrp="1"/>
          </p:cNvSpPr>
          <p:nvPr>
            <p:ph type="body" sz="quarter" idx="16"/>
          </p:nvPr>
        </p:nvSpPr>
        <p:spPr>
          <a:xfrm>
            <a:off x="6221476"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9" name="Column Divider">
            <a:extLst>
              <a:ext uri="{FF2B5EF4-FFF2-40B4-BE49-F238E27FC236}">
                <a16:creationId xmlns:a16="http://schemas.microsoft.com/office/drawing/2014/main" id="{6D056399-51EB-AC43-94D0-5FE8C7D62D3A}"/>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4" name="Text Field">
            <a:extLst>
              <a:ext uri="{FF2B5EF4-FFF2-40B4-BE49-F238E27FC236}">
                <a16:creationId xmlns:a16="http://schemas.microsoft.com/office/drawing/2014/main" id="{8936CF8B-824C-6D43-87AC-7D28E5F4AFF6}"/>
              </a:ext>
            </a:extLst>
          </p:cNvPr>
          <p:cNvSpPr>
            <a:spLocks noGrp="1"/>
          </p:cNvSpPr>
          <p:nvPr>
            <p:ph type="body" sz="quarter" idx="17"/>
          </p:nvPr>
        </p:nvSpPr>
        <p:spPr>
          <a:xfrm>
            <a:off x="3492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8" name="Column Divider">
            <a:extLst>
              <a:ext uri="{FF2B5EF4-FFF2-40B4-BE49-F238E27FC236}">
                <a16:creationId xmlns:a16="http://schemas.microsoft.com/office/drawing/2014/main" id="{EAAA606E-CE35-0449-B08C-449A1A629AD6}"/>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1" name="Text Field">
            <a:extLst>
              <a:ext uri="{FF2B5EF4-FFF2-40B4-BE49-F238E27FC236}">
                <a16:creationId xmlns:a16="http://schemas.microsoft.com/office/drawing/2014/main" id="{BBD3C9DD-1023-264E-8B2E-C3737E9E5BB3}"/>
              </a:ext>
            </a:extLst>
          </p:cNvPr>
          <p:cNvSpPr>
            <a:spLocks noGrp="1"/>
          </p:cNvSpPr>
          <p:nvPr>
            <p:ph type="body" sz="quarter" idx="15"/>
          </p:nvPr>
        </p:nvSpPr>
        <p:spPr>
          <a:xfrm>
            <a:off x="758951"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27" name="Accent Mark">
            <a:extLst>
              <a:ext uri="{FF2B5EF4-FFF2-40B4-BE49-F238E27FC236}">
                <a16:creationId xmlns:a16="http://schemas.microsoft.com/office/drawing/2014/main" id="{3AC36BFD-AA0C-534A-ACB9-5B4A91277AB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0F29B488-9E06-2A4D-AE0A-AEDAC8C00C46}"/>
              </a:ext>
            </a:extLst>
          </p:cNvPr>
          <p:cNvSpPr>
            <a:spLocks noGrp="1"/>
          </p:cNvSpPr>
          <p:nvPr>
            <p:ph type="body" sz="quarter" idx="14"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0F194A7A-6F4C-2E4D-9455-39C5AB9DA04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499388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Light - Title Quad Infographic">
    <p:bg>
      <p:bgPr>
        <a:solidFill>
          <a:schemeClr val="bg2"/>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8BD3F0B2-DFCC-714A-8B07-137F7BAF0333}"/>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3" name="OTag">
            <a:extLst>
              <a:ext uri="{FF2B5EF4-FFF2-40B4-BE49-F238E27FC236}">
                <a16:creationId xmlns:a16="http://schemas.microsoft.com/office/drawing/2014/main" id="{F7FA49ED-B139-8A43-A7E7-4EEB220FD9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8" name="Footer">
            <a:extLst>
              <a:ext uri="{FF2B5EF4-FFF2-40B4-BE49-F238E27FC236}">
                <a16:creationId xmlns:a16="http://schemas.microsoft.com/office/drawing/2014/main" id="{F574F1B2-5125-114F-B675-196A5FB2C2E9}"/>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p>
            <a:pPr lvl="0"/>
            <a:r>
              <a:rPr lang="fr-FR"/>
              <a:t>Modifier les styles du texte du masque
Deuxième niveau
Troisième niveau
Quatrième niveau
Cinquième niveau</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p>
            <a:r>
              <a:rPr lang="fr-FR"/>
              <a:t>Cliquez sur l'icône pour ajouter une image</a:t>
            </a:r>
            <a:endParaRPr lang="en-US"/>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p>
            <a:pPr lvl="0"/>
            <a:r>
              <a:rPr lang="fr-FR"/>
              <a:t>Modifier les styles du texte du masque
Deuxième niveau
Troisième niveau
Quatrième niveau
Cinquième niveau</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p>
            <a:r>
              <a:rPr lang="fr-FR"/>
              <a:t>Cliquez sur l'icône pour ajouter une image</a:t>
            </a:r>
            <a:endParaRPr lang="en-US"/>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p>
            <a:pPr lvl="0"/>
            <a:r>
              <a:rPr lang="fr-FR"/>
              <a:t>Modifier les styles du texte du masque
Deuxième niveau
Troisième niveau
Quatrième niveau
Cinquième niveau</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p>
            <a:r>
              <a:rPr lang="fr-FR"/>
              <a:t>Cliquez sur l'icône pour ajouter une image</a:t>
            </a:r>
            <a:endParaRPr lang="en-US"/>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p>
            <a:pPr lvl="0"/>
            <a:r>
              <a:rPr lang="fr-FR"/>
              <a:t>Modifier les styles du texte du masque
Deuxième niveau
Troisième niveau
Quatrième niveau
Cinquième niveau</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p>
            <a:r>
              <a:rPr lang="fr-FR"/>
              <a:t>Cliquez sur l'icône pour ajouter une image</a:t>
            </a:r>
            <a:endParaRPr lang="en-US"/>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2" name="Title">
            <a:extLst>
              <a:ext uri="{FF2B5EF4-FFF2-40B4-BE49-F238E27FC236}">
                <a16:creationId xmlns:a16="http://schemas.microsoft.com/office/drawing/2014/main" id="{DAE39BE3-8D44-8145-A734-01B7FBD49534}"/>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tx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28103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ark - Title Quad Infographic">
    <p:bg>
      <p:bgPr>
        <a:solidFill>
          <a:schemeClr val="tx1"/>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C006553D-D7BA-DA42-89BB-D18B94E42239}"/>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3" name="OTag">
            <a:extLst>
              <a:ext uri="{FF2B5EF4-FFF2-40B4-BE49-F238E27FC236}">
                <a16:creationId xmlns:a16="http://schemas.microsoft.com/office/drawing/2014/main" id="{F7FA49ED-B139-8A43-A7E7-4EEB220FD9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8" name="Footer">
            <a:extLst>
              <a:ext uri="{FF2B5EF4-FFF2-40B4-BE49-F238E27FC236}">
                <a16:creationId xmlns:a16="http://schemas.microsoft.com/office/drawing/2014/main" id="{A72E2689-185F-C44A-9314-B32F079253AE}"/>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lvl1pPr>
              <a:defRPr>
                <a:solidFill>
                  <a:schemeClr val="bg1"/>
                </a:solidFill>
              </a:defRPr>
            </a:lvl1pPr>
          </a:lstStyle>
          <a:p>
            <a:r>
              <a:rPr lang="fr-FR"/>
              <a:t>Cliquez sur l'icône pour ajouter une image</a:t>
            </a:r>
            <a:endParaRPr lang="en-US"/>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lvl1pPr>
              <a:defRPr>
                <a:solidFill>
                  <a:schemeClr val="bg1"/>
                </a:solidFill>
              </a:defRPr>
            </a:lvl1pPr>
          </a:lstStyle>
          <a:p>
            <a:r>
              <a:rPr lang="fr-FR"/>
              <a:t>Cliquez sur l'icône pour ajouter une image</a:t>
            </a:r>
            <a:endParaRPr lang="en-US"/>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lvl1pPr>
              <a:defRPr>
                <a:solidFill>
                  <a:schemeClr val="bg1"/>
                </a:solidFill>
              </a:defRPr>
            </a:lvl1pPr>
          </a:lstStyle>
          <a:p>
            <a:r>
              <a:rPr lang="fr-FR"/>
              <a:t>Cliquez sur l'icône pour ajouter une image</a:t>
            </a:r>
            <a:endParaRPr lang="en-US"/>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lvl1pPr>
              <a:defRPr>
                <a:solidFill>
                  <a:schemeClr val="bg1"/>
                </a:solidFill>
              </a:defRPr>
            </a:lvl1pPr>
          </a:lstStyle>
          <a:p>
            <a:r>
              <a:rPr lang="fr-FR"/>
              <a:t>Cliquez sur l'icône pour ajouter une image</a:t>
            </a:r>
            <a:endParaRPr lang="en-US"/>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Title">
            <a:extLst>
              <a:ext uri="{FF2B5EF4-FFF2-40B4-BE49-F238E27FC236}">
                <a16:creationId xmlns:a16="http://schemas.microsoft.com/office/drawing/2014/main" id="{296AF406-9A7A-D345-868A-490F770891BA}"/>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32082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Quad Infographic">
    <p:bg>
      <p:bgPr>
        <a:solidFill>
          <a:schemeClr val="bg2"/>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8BD3F0B2-DFCC-714A-8B07-137F7BAF0333}"/>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3" name="OTag">
            <a:extLst>
              <a:ext uri="{FF2B5EF4-FFF2-40B4-BE49-F238E27FC236}">
                <a16:creationId xmlns:a16="http://schemas.microsoft.com/office/drawing/2014/main" id="{F7FA49ED-B139-8A43-A7E7-4EEB220FD9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8" name="Footer">
            <a:extLst>
              <a:ext uri="{FF2B5EF4-FFF2-40B4-BE49-F238E27FC236}">
                <a16:creationId xmlns:a16="http://schemas.microsoft.com/office/drawing/2014/main" id="{DACB8D5A-1D6D-124B-A372-69C969095AF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p>
            <a:pPr lvl="0"/>
            <a:r>
              <a:rPr lang="fr-FR"/>
              <a:t>Modifier les styles du texte du masque
Deuxième niveau
Troisième niveau
Quatrième niveau
Cinquième niveau</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p>
            <a:r>
              <a:rPr lang="fr-FR"/>
              <a:t>Cliquez sur l'icône pour ajouter une image</a:t>
            </a:r>
            <a:endParaRPr lang="en-US"/>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p>
            <a:pPr lvl="0"/>
            <a:r>
              <a:rPr lang="fr-FR"/>
              <a:t>Modifier les styles du texte du masque
Deuxième niveau
Troisième niveau
Quatrième niveau
Cinquième niveau</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p>
            <a:r>
              <a:rPr lang="fr-FR"/>
              <a:t>Cliquez sur l'icône pour ajouter une image</a:t>
            </a:r>
            <a:endParaRPr lang="en-US"/>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p>
            <a:pPr lvl="0"/>
            <a:r>
              <a:rPr lang="fr-FR"/>
              <a:t>Modifier les styles du texte du masque
Deuxième niveau
Troisième niveau
Quatrième niveau
Cinquième niveau</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p>
            <a:r>
              <a:rPr lang="fr-FR"/>
              <a:t>Cliquez sur l'icône pour ajouter une image</a:t>
            </a:r>
            <a:endParaRPr lang="en-US"/>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p>
            <a:pPr lvl="0"/>
            <a:r>
              <a:rPr lang="fr-FR"/>
              <a:t>Modifier les styles du texte du masque
Deuxième niveau
Troisième niveau
Quatrième niveau
Cinquième niveau</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p>
            <a:r>
              <a:rPr lang="fr-FR"/>
              <a:t>Cliquez sur l'icône pour ajouter une image</a:t>
            </a:r>
            <a:endParaRPr lang="en-US"/>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2" name="Subtitle">
            <a:extLst>
              <a:ext uri="{FF2B5EF4-FFF2-40B4-BE49-F238E27FC236}">
                <a16:creationId xmlns:a16="http://schemas.microsoft.com/office/drawing/2014/main" id="{F8627394-C302-DF4A-A2CC-76DC053BE227}"/>
              </a:ext>
            </a:extLst>
          </p:cNvPr>
          <p:cNvSpPr>
            <a:spLocks noGrp="1"/>
          </p:cNvSpPr>
          <p:nvPr>
            <p:ph type="body" sz="quarter" idx="27"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24" name="Title">
            <a:extLst>
              <a:ext uri="{FF2B5EF4-FFF2-40B4-BE49-F238E27FC236}">
                <a16:creationId xmlns:a16="http://schemas.microsoft.com/office/drawing/2014/main" id="{8C9BB090-903F-7141-8040-376390E8FE3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85899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Quad Infographic">
    <p:bg>
      <p:bgPr>
        <a:solidFill>
          <a:schemeClr val="tx1"/>
        </a:solidFill>
        <a:effectLst/>
      </p:bgPr>
    </p:bg>
    <p:spTree>
      <p:nvGrpSpPr>
        <p:cNvPr id="1" name=""/>
        <p:cNvGrpSpPr/>
        <p:nvPr/>
      </p:nvGrpSpPr>
      <p:grpSpPr>
        <a:xfrm>
          <a:off x="0" y="0"/>
          <a:ext cx="0" cy="0"/>
          <a:chOff x="0" y="0"/>
          <a:chExt cx="0" cy="0"/>
        </a:xfrm>
      </p:grpSpPr>
      <p:pic>
        <p:nvPicPr>
          <p:cNvPr id="18" name="Data Texture Cloud">
            <a:extLst>
              <a:ext uri="{FF2B5EF4-FFF2-40B4-BE49-F238E27FC236}">
                <a16:creationId xmlns:a16="http://schemas.microsoft.com/office/drawing/2014/main" id="{6C2FDC6D-E2FF-5847-B9AA-DD9B91EC4B3C}"/>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3" name="OTag">
            <a:extLst>
              <a:ext uri="{FF2B5EF4-FFF2-40B4-BE49-F238E27FC236}">
                <a16:creationId xmlns:a16="http://schemas.microsoft.com/office/drawing/2014/main" id="{F7FA49ED-B139-8A43-A7E7-4EEB220FD9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0" name="Footer">
            <a:extLst>
              <a:ext uri="{FF2B5EF4-FFF2-40B4-BE49-F238E27FC236}">
                <a16:creationId xmlns:a16="http://schemas.microsoft.com/office/drawing/2014/main" id="{78EDEE20-4CCB-F240-8978-EC19741E3376}"/>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lvl1pPr>
              <a:defRPr>
                <a:solidFill>
                  <a:schemeClr val="bg1"/>
                </a:solidFill>
              </a:defRPr>
            </a:lvl1pPr>
          </a:lstStyle>
          <a:p>
            <a:r>
              <a:rPr lang="fr-FR"/>
              <a:t>Cliquez sur l'icône pour ajouter une image</a:t>
            </a:r>
            <a:endParaRPr lang="en-US"/>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lvl1pPr>
              <a:defRPr>
                <a:solidFill>
                  <a:schemeClr val="bg1"/>
                </a:solidFill>
              </a:defRPr>
            </a:lvl1pPr>
          </a:lstStyle>
          <a:p>
            <a:r>
              <a:rPr lang="fr-FR"/>
              <a:t>Cliquez sur l'icône pour ajouter une image</a:t>
            </a:r>
            <a:endParaRPr lang="en-US"/>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lvl1pPr>
              <a:defRPr>
                <a:solidFill>
                  <a:schemeClr val="bg1"/>
                </a:solidFill>
              </a:defRPr>
            </a:lvl1pPr>
          </a:lstStyle>
          <a:p>
            <a:r>
              <a:rPr lang="fr-FR"/>
              <a:t>Cliquez sur l'icône pour ajouter une image</a:t>
            </a:r>
            <a:endParaRPr lang="en-US"/>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lvl1pPr>
              <a:defRPr>
                <a:solidFill>
                  <a:schemeClr val="bg1"/>
                </a:solidFill>
              </a:defRPr>
            </a:lvl1pPr>
          </a:lstStyle>
          <a:p>
            <a:r>
              <a:rPr lang="fr-FR"/>
              <a:t>Cliquez sur l'icône pour ajouter une image</a:t>
            </a:r>
            <a:endParaRPr lang="en-US"/>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2" name="Subtitle">
            <a:extLst>
              <a:ext uri="{FF2B5EF4-FFF2-40B4-BE49-F238E27FC236}">
                <a16:creationId xmlns:a16="http://schemas.microsoft.com/office/drawing/2014/main" id="{F8627394-C302-DF4A-A2CC-76DC053BE227}"/>
              </a:ext>
            </a:extLst>
          </p:cNvPr>
          <p:cNvSpPr>
            <a:spLocks noGrp="1"/>
          </p:cNvSpPr>
          <p:nvPr>
            <p:ph type="body" sz="quarter" idx="27"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24" name="Title">
            <a:extLst>
              <a:ext uri="{FF2B5EF4-FFF2-40B4-BE49-F238E27FC236}">
                <a16:creationId xmlns:a16="http://schemas.microsoft.com/office/drawing/2014/main" id="{8C9BB090-903F-7141-8040-376390E8FE3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04086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Light - Metric">
    <p:bg>
      <p:bgPr>
        <a:solidFill>
          <a:schemeClr val="bg2"/>
        </a:solidFill>
        <a:effectLst/>
      </p:bgPr>
    </p:bg>
    <p:spTree>
      <p:nvGrpSpPr>
        <p:cNvPr id="1" name=""/>
        <p:cNvGrpSpPr/>
        <p:nvPr/>
      </p:nvGrpSpPr>
      <p:grpSpPr>
        <a:xfrm>
          <a:off x="0" y="0"/>
          <a:ext cx="0" cy="0"/>
          <a:chOff x="0" y="0"/>
          <a:chExt cx="0" cy="0"/>
        </a:xfrm>
      </p:grpSpPr>
      <p:pic>
        <p:nvPicPr>
          <p:cNvPr id="11" name="Data Texture Image">
            <a:extLst>
              <a:ext uri="{FF2B5EF4-FFF2-40B4-BE49-F238E27FC236}">
                <a16:creationId xmlns:a16="http://schemas.microsoft.com/office/drawing/2014/main" id="{67F91AEC-142C-5447-8ED9-47FD9D73D827}"/>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49997"/>
          <a:stretch/>
        </p:blipFill>
        <p:spPr>
          <a:xfrm>
            <a:off x="6095652" y="0"/>
            <a:ext cx="6096348" cy="6858000"/>
          </a:xfrm>
          <a:prstGeom prst="rect">
            <a:avLst/>
          </a:prstGeom>
        </p:spPr>
      </p:pic>
      <p:pic>
        <p:nvPicPr>
          <p:cNvPr id="12" name="OTag">
            <a:extLst>
              <a:ext uri="{FF2B5EF4-FFF2-40B4-BE49-F238E27FC236}">
                <a16:creationId xmlns:a16="http://schemas.microsoft.com/office/drawing/2014/main" id="{E8A7F756-6885-FD4D-8CAC-01911AF996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0" name="Footer">
            <a:extLst>
              <a:ext uri="{FF2B5EF4-FFF2-40B4-BE49-F238E27FC236}">
                <a16:creationId xmlns:a16="http://schemas.microsoft.com/office/drawing/2014/main" id="{4800481F-70FF-124B-B394-1EA7F1950D2A}"/>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3" name="Slide Number">
            <a:extLst>
              <a:ext uri="{FF2B5EF4-FFF2-40B4-BE49-F238E27FC236}">
                <a16:creationId xmlns:a16="http://schemas.microsoft.com/office/drawing/2014/main" id="{FCAAB249-B453-7C45-A6AF-DF393B62BD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6" name="Text Field">
            <a:extLst>
              <a:ext uri="{FF2B5EF4-FFF2-40B4-BE49-F238E27FC236}">
                <a16:creationId xmlns:a16="http://schemas.microsoft.com/office/drawing/2014/main" id="{7409CAB6-76E7-5A4A-82F7-8D2B98C6DD05}"/>
              </a:ext>
            </a:extLst>
          </p:cNvPr>
          <p:cNvSpPr>
            <a:spLocks noGrp="1"/>
          </p:cNvSpPr>
          <p:nvPr>
            <p:ph type="body" sz="quarter" idx="12"/>
          </p:nvPr>
        </p:nvSpPr>
        <p:spPr>
          <a:xfrm>
            <a:off x="758952" y="3682999"/>
            <a:ext cx="5081014" cy="2416048"/>
          </a:xfrm>
        </p:spPr>
        <p:txBody>
          <a:bodyPr/>
          <a:lstStyle/>
          <a:p>
            <a:pPr lvl="0"/>
            <a:r>
              <a:rPr lang="fr-FR"/>
              <a:t>Modifier les styles du texte du masque
Deuxième niveau
Troisième niveau
Quatrième niveau
Cinquième niveau</a:t>
            </a:r>
            <a:endParaRPr lang="en-US" dirty="0"/>
          </a:p>
        </p:txBody>
      </p:sp>
      <p:cxnSp>
        <p:nvCxnSpPr>
          <p:cNvPr id="17" name="Accent Mark">
            <a:extLst>
              <a:ext uri="{FF2B5EF4-FFF2-40B4-BE49-F238E27FC236}">
                <a16:creationId xmlns:a16="http://schemas.microsoft.com/office/drawing/2014/main" id="{3F1F789C-055A-B94A-B592-6BAC45CA4CA5}"/>
              </a:ext>
            </a:extLst>
          </p:cNvPr>
          <p:cNvCxnSpPr>
            <a:cxnSpLocks/>
          </p:cNvCxnSpPr>
          <p:nvPr userDrawn="1"/>
        </p:nvCxnSpPr>
        <p:spPr>
          <a:xfrm flipH="1">
            <a:off x="768095" y="342899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 name="Metric">
            <a:extLst>
              <a:ext uri="{FF2B5EF4-FFF2-40B4-BE49-F238E27FC236}">
                <a16:creationId xmlns:a16="http://schemas.microsoft.com/office/drawing/2014/main" id="{6D46810D-06AF-8048-A8FC-EB9C64BA9823}"/>
              </a:ext>
            </a:extLst>
          </p:cNvPr>
          <p:cNvSpPr>
            <a:spLocks noGrp="1"/>
          </p:cNvSpPr>
          <p:nvPr>
            <p:ph type="body" sz="quarter" idx="11" hasCustomPrompt="1"/>
          </p:nvPr>
        </p:nvSpPr>
        <p:spPr>
          <a:xfrm>
            <a:off x="761285" y="2297520"/>
            <a:ext cx="5078335" cy="877163"/>
          </a:xfrm>
          <a:prstGeom prst="rect">
            <a:avLst/>
          </a:prstGeom>
        </p:spPr>
        <p:txBody>
          <a:bodyPr wrap="square" lIns="0" rIns="0" anchor="b" anchorCtr="0">
            <a:spAutoFit/>
          </a:bodyPr>
          <a:lstStyle>
            <a:lvl1pPr marL="0" indent="0">
              <a:buNone/>
              <a:defRPr sz="6000" b="0">
                <a:solidFill>
                  <a:schemeClr val="accent5"/>
                </a:solidFill>
                <a:latin typeface="Georgia" panose="02040502050405020303" pitchFamily="18" charset="0"/>
              </a:defRPr>
            </a:lvl1pPr>
          </a:lstStyle>
          <a:p>
            <a:pPr lvl="0"/>
            <a:r>
              <a:rPr lang="en-US" dirty="0"/>
              <a:t>XX%</a:t>
            </a:r>
          </a:p>
        </p:txBody>
      </p:sp>
    </p:spTree>
    <p:extLst>
      <p:ext uri="{BB962C8B-B14F-4D97-AF65-F5344CB8AC3E}">
        <p14:creationId xmlns:p14="http://schemas.microsoft.com/office/powerpoint/2010/main" val="99337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ark - Metric">
    <p:bg>
      <p:bgPr>
        <a:solidFill>
          <a:schemeClr val="tx1"/>
        </a:solidFill>
        <a:effectLst/>
      </p:bgPr>
    </p:bg>
    <p:spTree>
      <p:nvGrpSpPr>
        <p:cNvPr id="1" name=""/>
        <p:cNvGrpSpPr/>
        <p:nvPr/>
      </p:nvGrpSpPr>
      <p:grpSpPr>
        <a:xfrm>
          <a:off x="0" y="0"/>
          <a:ext cx="0" cy="0"/>
          <a:chOff x="0" y="0"/>
          <a:chExt cx="0" cy="0"/>
        </a:xfrm>
      </p:grpSpPr>
      <p:pic>
        <p:nvPicPr>
          <p:cNvPr id="11" name="Data Texture Image">
            <a:extLst>
              <a:ext uri="{FF2B5EF4-FFF2-40B4-BE49-F238E27FC236}">
                <a16:creationId xmlns:a16="http://schemas.microsoft.com/office/drawing/2014/main" id="{D0543F79-37FC-5946-9716-255D5210CBB9}"/>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9997"/>
          <a:stretch/>
        </p:blipFill>
        <p:spPr>
          <a:xfrm>
            <a:off x="6095652" y="0"/>
            <a:ext cx="6096348" cy="6858000"/>
          </a:xfrm>
          <a:prstGeom prst="rect">
            <a:avLst/>
          </a:prstGeom>
        </p:spPr>
      </p:pic>
      <p:pic>
        <p:nvPicPr>
          <p:cNvPr id="12" name="OTag">
            <a:extLst>
              <a:ext uri="{FF2B5EF4-FFF2-40B4-BE49-F238E27FC236}">
                <a16:creationId xmlns:a16="http://schemas.microsoft.com/office/drawing/2014/main" id="{E8A7F756-6885-FD4D-8CAC-01911AF996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0" name="Footer">
            <a:extLst>
              <a:ext uri="{FF2B5EF4-FFF2-40B4-BE49-F238E27FC236}">
                <a16:creationId xmlns:a16="http://schemas.microsoft.com/office/drawing/2014/main" id="{AE69D699-80F6-5A4A-B984-B481676EEDD9}"/>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3" name="Slide Number">
            <a:extLst>
              <a:ext uri="{FF2B5EF4-FFF2-40B4-BE49-F238E27FC236}">
                <a16:creationId xmlns:a16="http://schemas.microsoft.com/office/drawing/2014/main" id="{FCAAB249-B453-7C45-A6AF-DF393B62BD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6" name="Text Field">
            <a:extLst>
              <a:ext uri="{FF2B5EF4-FFF2-40B4-BE49-F238E27FC236}">
                <a16:creationId xmlns:a16="http://schemas.microsoft.com/office/drawing/2014/main" id="{7409CAB6-76E7-5A4A-82F7-8D2B98C6DD05}"/>
              </a:ext>
            </a:extLst>
          </p:cNvPr>
          <p:cNvSpPr>
            <a:spLocks noGrp="1"/>
          </p:cNvSpPr>
          <p:nvPr>
            <p:ph type="body" sz="quarter" idx="12"/>
          </p:nvPr>
        </p:nvSpPr>
        <p:spPr>
          <a:xfrm>
            <a:off x="758952" y="3682999"/>
            <a:ext cx="5081014" cy="2416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
Deuxième niveau
Troisième niveau
Quatrième niveau
Cinquième niveau</a:t>
            </a:r>
            <a:endParaRPr lang="en-US" dirty="0"/>
          </a:p>
        </p:txBody>
      </p:sp>
      <p:cxnSp>
        <p:nvCxnSpPr>
          <p:cNvPr id="17" name="Accent Mark">
            <a:extLst>
              <a:ext uri="{FF2B5EF4-FFF2-40B4-BE49-F238E27FC236}">
                <a16:creationId xmlns:a16="http://schemas.microsoft.com/office/drawing/2014/main" id="{3F1F789C-055A-B94A-B592-6BAC45CA4CA5}"/>
              </a:ext>
            </a:extLst>
          </p:cNvPr>
          <p:cNvCxnSpPr>
            <a:cxnSpLocks/>
          </p:cNvCxnSpPr>
          <p:nvPr userDrawn="1"/>
        </p:nvCxnSpPr>
        <p:spPr>
          <a:xfrm flipH="1">
            <a:off x="768095" y="342899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 name="Metric">
            <a:extLst>
              <a:ext uri="{FF2B5EF4-FFF2-40B4-BE49-F238E27FC236}">
                <a16:creationId xmlns:a16="http://schemas.microsoft.com/office/drawing/2014/main" id="{6D46810D-06AF-8048-A8FC-EB9C64BA9823}"/>
              </a:ext>
            </a:extLst>
          </p:cNvPr>
          <p:cNvSpPr>
            <a:spLocks noGrp="1"/>
          </p:cNvSpPr>
          <p:nvPr>
            <p:ph type="body" sz="quarter" idx="11" hasCustomPrompt="1"/>
          </p:nvPr>
        </p:nvSpPr>
        <p:spPr>
          <a:xfrm>
            <a:off x="761285" y="2297520"/>
            <a:ext cx="5078335" cy="877163"/>
          </a:xfrm>
          <a:prstGeom prst="rect">
            <a:avLst/>
          </a:prstGeom>
        </p:spPr>
        <p:txBody>
          <a:bodyPr wrap="square" lIns="0" rIns="0" anchor="b" anchorCtr="0">
            <a:spAutoFit/>
          </a:bodyPr>
          <a:lstStyle>
            <a:lvl1pPr marL="0" indent="0">
              <a:buNone/>
              <a:defRPr sz="6000" b="0">
                <a:solidFill>
                  <a:schemeClr val="accent6"/>
                </a:solidFill>
                <a:latin typeface="Georgia" panose="02040502050405020303" pitchFamily="18" charset="0"/>
              </a:defRPr>
            </a:lvl1pPr>
          </a:lstStyle>
          <a:p>
            <a:pPr lvl="0"/>
            <a:r>
              <a:rPr lang="en-US" dirty="0"/>
              <a:t>XX%</a:t>
            </a:r>
          </a:p>
        </p:txBody>
      </p:sp>
    </p:spTree>
    <p:extLst>
      <p:ext uri="{BB962C8B-B14F-4D97-AF65-F5344CB8AC3E}">
        <p14:creationId xmlns:p14="http://schemas.microsoft.com/office/powerpoint/2010/main" val="296392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rk Quote with log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AFA1C8-063D-48B1-AD4E-5E6897F06DB5}"/>
              </a:ext>
            </a:extLst>
          </p:cNvPr>
          <p:cNvSpPr/>
          <p:nvPr userDrawn="1"/>
        </p:nvSpPr>
        <p:spPr>
          <a:xfrm>
            <a:off x="0" y="0"/>
            <a:ext cx="12192000" cy="6858000"/>
          </a:xfrm>
          <a:prstGeom prst="rect">
            <a:avLst/>
          </a:prstGeom>
          <a:blipFill dpi="0" rotWithShape="1">
            <a:blip r:embed="rId2">
              <a:alphaModFix amt="4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16250C7C-7F0B-2B44-AAA6-883F6AB7E03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1" name="Title 1">
            <a:extLst>
              <a:ext uri="{FF2B5EF4-FFF2-40B4-BE49-F238E27FC236}">
                <a16:creationId xmlns:a16="http://schemas.microsoft.com/office/drawing/2014/main" id="{554B90B0-B853-6F47-ACDA-C26DB60F0F3D}"/>
              </a:ext>
            </a:extLst>
          </p:cNvPr>
          <p:cNvSpPr txBox="1">
            <a:spLocks/>
          </p:cNvSpPr>
          <p:nvPr userDrawn="1"/>
        </p:nvSpPr>
        <p:spPr>
          <a:xfrm>
            <a:off x="875356" y="5535006"/>
            <a:ext cx="9983144" cy="720737"/>
          </a:xfrm>
          <a:prstGeom prst="rect">
            <a:avLst/>
          </a:prstGeom>
        </p:spPr>
        <p:txBody>
          <a:bodyPr vert="horz" lIns="0" tIns="45720" rIns="0" bIns="45720" rtlCol="0" anchor="t">
            <a:noAutofit/>
          </a:bodyPr>
          <a:lstStyle>
            <a:lvl1pPr algn="l" defTabSz="914400" rtl="0" eaLnBrk="1" latinLnBrk="0" hangingPunct="1">
              <a:lnSpc>
                <a:spcPts val="1800"/>
              </a:lnSpc>
              <a:spcBef>
                <a:spcPts val="0"/>
              </a:spcBef>
              <a:buNone/>
              <a:defRPr lang="en-US" sz="1400" b="1" i="0" kern="1200">
                <a:solidFill>
                  <a:schemeClr val="bg1"/>
                </a:solidFill>
                <a:latin typeface="Oracle Sans" panose="020B0503020204020204" pitchFamily="34" charset="0"/>
                <a:ea typeface="+mn-ea"/>
                <a:cs typeface="Oracle Sans" panose="020B0503020204020204" pitchFamily="34" charset="0"/>
              </a:defRPr>
            </a:lvl1pPr>
          </a:lstStyle>
          <a:p>
            <a:endParaRPr lang="en-US" sz="1400" b="0" i="0" dirty="0">
              <a:latin typeface="Oracle Sans" panose="020B0503020204020204" pitchFamily="34" charset="0"/>
              <a:cs typeface="Oracle Sans" panose="020B0503020204020204" pitchFamily="34" charset="0"/>
            </a:endParaRPr>
          </a:p>
        </p:txBody>
      </p:sp>
      <p:sp>
        <p:nvSpPr>
          <p:cNvPr id="29" name="Text Placeholder 26">
            <a:extLst>
              <a:ext uri="{FF2B5EF4-FFF2-40B4-BE49-F238E27FC236}">
                <a16:creationId xmlns:a16="http://schemas.microsoft.com/office/drawing/2014/main" id="{90252080-E2D5-6447-93EB-F3E1BDF7CD7B}"/>
              </a:ext>
            </a:extLst>
          </p:cNvPr>
          <p:cNvSpPr>
            <a:spLocks noGrp="1"/>
          </p:cNvSpPr>
          <p:nvPr>
            <p:ph type="body" sz="quarter" idx="13" hasCustomPrompt="1"/>
          </p:nvPr>
        </p:nvSpPr>
        <p:spPr>
          <a:xfrm>
            <a:off x="768096" y="2346183"/>
            <a:ext cx="9983786" cy="2242890"/>
          </a:xfrm>
        </p:spPr>
        <p:txBody>
          <a:bodyPr lIns="0">
            <a:noAutofit/>
          </a:bodyPr>
          <a:lstStyle>
            <a:lvl1pPr algn="l" fontAlgn="t">
              <a:lnSpc>
                <a:spcPct val="100000"/>
              </a:lnSpc>
              <a:spcBef>
                <a:spcPts val="0"/>
              </a:spcBef>
              <a:defRPr sz="3200" b="1" i="0">
                <a:latin typeface="Oracle Sans" panose="020B0503020204020204" pitchFamily="34" charset="0"/>
                <a:cs typeface="Oracle Sans" panose="020B0503020204020204" pitchFamily="34" charset="0"/>
              </a:defRPr>
            </a:lvl1pPr>
          </a:lstStyle>
          <a:p>
            <a:pPr lvl="0"/>
            <a:r>
              <a:rPr lang="en-US" dirty="0"/>
              <a:t>“Click to type customer or partner quote surrounded by quotation marks.”</a:t>
            </a:r>
          </a:p>
        </p:txBody>
      </p:sp>
      <p:sp>
        <p:nvSpPr>
          <p:cNvPr id="32" name="Text Placeholder 26">
            <a:extLst>
              <a:ext uri="{FF2B5EF4-FFF2-40B4-BE49-F238E27FC236}">
                <a16:creationId xmlns:a16="http://schemas.microsoft.com/office/drawing/2014/main" id="{C9068F71-E098-E049-81D3-5491AAF8DE57}"/>
              </a:ext>
            </a:extLst>
          </p:cNvPr>
          <p:cNvSpPr>
            <a:spLocks noGrp="1"/>
          </p:cNvSpPr>
          <p:nvPr>
            <p:ph type="body" sz="quarter" idx="14" hasCustomPrompt="1"/>
          </p:nvPr>
        </p:nvSpPr>
        <p:spPr>
          <a:xfrm>
            <a:off x="768096" y="5239646"/>
            <a:ext cx="9983786" cy="249346"/>
          </a:xfrm>
        </p:spPr>
        <p:txBody>
          <a:bodyPr lIns="0">
            <a:noAutofit/>
          </a:bodyPr>
          <a:lstStyle>
            <a:lvl1pPr algn="l" fontAlgn="t">
              <a:lnSpc>
                <a:spcPct val="100000"/>
              </a:lnSpc>
              <a:spcBef>
                <a:spcPts val="0"/>
              </a:spcBef>
              <a:defRPr sz="1400" b="1" i="0">
                <a:latin typeface="Oracle Sans" panose="020B0503020204020204" pitchFamily="34" charset="0"/>
                <a:cs typeface="Oracle Sans" panose="020B0503020204020204" pitchFamily="34" charset="0"/>
              </a:defRPr>
            </a:lvl1pPr>
          </a:lstStyle>
          <a:p>
            <a:pPr lvl="0"/>
            <a:r>
              <a:rPr lang="en-US" dirty="0"/>
              <a:t>Lorem ipsum</a:t>
            </a:r>
          </a:p>
        </p:txBody>
      </p:sp>
      <p:sp>
        <p:nvSpPr>
          <p:cNvPr id="33" name="Text Placeholder 26">
            <a:extLst>
              <a:ext uri="{FF2B5EF4-FFF2-40B4-BE49-F238E27FC236}">
                <a16:creationId xmlns:a16="http://schemas.microsoft.com/office/drawing/2014/main" id="{87089DAA-9281-6045-B621-B0A829511738}"/>
              </a:ext>
            </a:extLst>
          </p:cNvPr>
          <p:cNvSpPr>
            <a:spLocks noGrp="1"/>
          </p:cNvSpPr>
          <p:nvPr>
            <p:ph type="body" sz="quarter" idx="12" hasCustomPrompt="1"/>
          </p:nvPr>
        </p:nvSpPr>
        <p:spPr>
          <a:xfrm>
            <a:off x="768096" y="5564669"/>
            <a:ext cx="9983786" cy="528567"/>
          </a:xfrm>
        </p:spPr>
        <p:txBody>
          <a:bodyPr lIns="0">
            <a:noAutofit/>
          </a:bodyPr>
          <a:lstStyle>
            <a:lvl1pPr algn="l" fontAlgn="t">
              <a:lnSpc>
                <a:spcPct val="100000"/>
              </a:lnSpc>
              <a:spcBef>
                <a:spcPts val="0"/>
              </a:spcBef>
              <a:defRPr sz="1300"/>
            </a:lvl1pPr>
          </a:lstStyle>
          <a:p>
            <a:pPr lvl="0"/>
            <a:r>
              <a:rPr lang="en-US" dirty="0"/>
              <a:t>Click to edit Master text styles</a:t>
            </a:r>
          </a:p>
        </p:txBody>
      </p:sp>
      <p:sp>
        <p:nvSpPr>
          <p:cNvPr id="34" name="Picture Placeholder 19">
            <a:extLst>
              <a:ext uri="{FF2B5EF4-FFF2-40B4-BE49-F238E27FC236}">
                <a16:creationId xmlns:a16="http://schemas.microsoft.com/office/drawing/2014/main" id="{806BB0D3-072D-8D47-8C70-E1851CE928BD}"/>
              </a:ext>
            </a:extLst>
          </p:cNvPr>
          <p:cNvSpPr>
            <a:spLocks noGrp="1"/>
          </p:cNvSpPr>
          <p:nvPr>
            <p:ph type="pic" sz="quarter" idx="10"/>
          </p:nvPr>
        </p:nvSpPr>
        <p:spPr>
          <a:xfrm>
            <a:off x="768096" y="955256"/>
            <a:ext cx="2589212" cy="1106907"/>
          </a:xfrm>
        </p:spPr>
        <p:txBody>
          <a:bodyPr/>
          <a:lstStyle/>
          <a:p>
            <a:r>
              <a:rPr lang="en-US"/>
              <a:t>Click icon to add picture</a:t>
            </a:r>
            <a:endParaRPr lang="en-US" dirty="0"/>
          </a:p>
        </p:txBody>
      </p:sp>
      <p:sp>
        <p:nvSpPr>
          <p:cNvPr id="35" name="Rectangle 34">
            <a:extLst>
              <a:ext uri="{FF2B5EF4-FFF2-40B4-BE49-F238E27FC236}">
                <a16:creationId xmlns:a16="http://schemas.microsoft.com/office/drawing/2014/main" id="{C565B80A-580D-054A-A47B-A7433DB02574}"/>
              </a:ext>
            </a:extLst>
          </p:cNvPr>
          <p:cNvSpPr/>
          <p:nvPr userDrawn="1"/>
        </p:nvSpPr>
        <p:spPr>
          <a:xfrm>
            <a:off x="768097" y="4829530"/>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E32846F1-7A16-524E-98CA-4D4F833E63E6}"/>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7CC62E7F-282B-48B1-B108-B32B3016C36E}"/>
              </a:ext>
            </a:extLst>
          </p:cNvPr>
          <p:cNvSpPr>
            <a:spLocks noGrp="1"/>
          </p:cNvSpPr>
          <p:nvPr>
            <p:ph type="ftr" sz="quarter" idx="15"/>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904A5CEE-4E2B-4A73-B504-17B364D970CF}"/>
              </a:ext>
            </a:extLst>
          </p:cNvPr>
          <p:cNvSpPr>
            <a:spLocks noGrp="1"/>
          </p:cNvSpPr>
          <p:nvPr>
            <p:ph type="sldNum" sz="quarter" idx="16"/>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179905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Light - Data Texture 07 Blank">
    <p:bg>
      <p:bgPr>
        <a:solidFill>
          <a:schemeClr val="bg2"/>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182B5BDA-DBD1-EF44-918C-34611A4B96F9}"/>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OTag">
            <a:extLst>
              <a:ext uri="{FF2B5EF4-FFF2-40B4-BE49-F238E27FC236}">
                <a16:creationId xmlns:a16="http://schemas.microsoft.com/office/drawing/2014/main" id="{C6ADE0F8-03AA-E84C-A08A-799EE14D7C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7" name="Footer">
            <a:extLst>
              <a:ext uri="{FF2B5EF4-FFF2-40B4-BE49-F238E27FC236}">
                <a16:creationId xmlns:a16="http://schemas.microsoft.com/office/drawing/2014/main" id="{40D521AF-2AAC-6C44-B9D5-3CF80BF0A492}"/>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6" name="Slide Number">
            <a:extLst>
              <a:ext uri="{FF2B5EF4-FFF2-40B4-BE49-F238E27FC236}">
                <a16:creationId xmlns:a16="http://schemas.microsoft.com/office/drawing/2014/main" id="{E1B88021-C779-204C-A0C9-6EB6A65EAFED}"/>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390035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Dark - Data Texture 07 Blank">
    <p:bg>
      <p:bgPr>
        <a:solidFill>
          <a:schemeClr val="tx1"/>
        </a:solidFill>
        <a:effectLst/>
      </p:bgPr>
    </p:bg>
    <p:spTree>
      <p:nvGrpSpPr>
        <p:cNvPr id="1" name=""/>
        <p:cNvGrpSpPr/>
        <p:nvPr/>
      </p:nvGrpSpPr>
      <p:grpSpPr>
        <a:xfrm>
          <a:off x="0" y="0"/>
          <a:ext cx="0" cy="0"/>
          <a:chOff x="0" y="0"/>
          <a:chExt cx="0" cy="0"/>
        </a:xfrm>
      </p:grpSpPr>
      <p:pic>
        <p:nvPicPr>
          <p:cNvPr id="7" name="Data Texture Image">
            <a:extLst>
              <a:ext uri="{FF2B5EF4-FFF2-40B4-BE49-F238E27FC236}">
                <a16:creationId xmlns:a16="http://schemas.microsoft.com/office/drawing/2014/main" id="{0F6DACB9-11C2-5343-BD0A-AF66EAE5619B}"/>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OTag">
            <a:extLst>
              <a:ext uri="{FF2B5EF4-FFF2-40B4-BE49-F238E27FC236}">
                <a16:creationId xmlns:a16="http://schemas.microsoft.com/office/drawing/2014/main" id="{C6ADE0F8-03AA-E84C-A08A-799EE14D7C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8" name="Footer">
            <a:extLst>
              <a:ext uri="{FF2B5EF4-FFF2-40B4-BE49-F238E27FC236}">
                <a16:creationId xmlns:a16="http://schemas.microsoft.com/office/drawing/2014/main" id="{968EABC0-89E2-2E44-96C8-FD6825375190}"/>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6" name="Slide Number">
            <a:extLst>
              <a:ext uri="{FF2B5EF4-FFF2-40B4-BE49-F238E27FC236}">
                <a16:creationId xmlns:a16="http://schemas.microsoft.com/office/drawing/2014/main" id="{E1B88021-C779-204C-A0C9-6EB6A65EAFED}"/>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1613280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Light - Data Texture 16 Blank">
    <p:bg>
      <p:bgPr>
        <a:solidFill>
          <a:schemeClr val="bg2"/>
        </a:solidFill>
        <a:effectLst/>
      </p:bgPr>
    </p:bg>
    <p:spTree>
      <p:nvGrpSpPr>
        <p:cNvPr id="1" name=""/>
        <p:cNvGrpSpPr/>
        <p:nvPr/>
      </p:nvGrpSpPr>
      <p:grpSpPr>
        <a:xfrm>
          <a:off x="0" y="0"/>
          <a:ext cx="0" cy="0"/>
          <a:chOff x="0" y="0"/>
          <a:chExt cx="0" cy="0"/>
        </a:xfrm>
      </p:grpSpPr>
      <p:pic>
        <p:nvPicPr>
          <p:cNvPr id="9" name="Data Texture Image">
            <a:extLst>
              <a:ext uri="{FF2B5EF4-FFF2-40B4-BE49-F238E27FC236}">
                <a16:creationId xmlns:a16="http://schemas.microsoft.com/office/drawing/2014/main" id="{A941D2C2-75E1-8246-9BA2-05D607C53557}"/>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OTag">
            <a:extLst>
              <a:ext uri="{FF2B5EF4-FFF2-40B4-BE49-F238E27FC236}">
                <a16:creationId xmlns:a16="http://schemas.microsoft.com/office/drawing/2014/main" id="{82323826-2F7C-DC44-94F9-0225962BEA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7" name="Footer">
            <a:extLst>
              <a:ext uri="{FF2B5EF4-FFF2-40B4-BE49-F238E27FC236}">
                <a16:creationId xmlns:a16="http://schemas.microsoft.com/office/drawing/2014/main" id="{9E80D09C-E526-F74F-B924-9E7FA59B1D90}"/>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6" name="Slide Number">
            <a:extLst>
              <a:ext uri="{FF2B5EF4-FFF2-40B4-BE49-F238E27FC236}">
                <a16:creationId xmlns:a16="http://schemas.microsoft.com/office/drawing/2014/main" id="{26D7B7B3-7683-244B-AF75-22E01FF6A6A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1586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ark - Data Texture 16 Blank">
    <p:bg>
      <p:bgPr>
        <a:solidFill>
          <a:schemeClr val="tx1"/>
        </a:solidFill>
        <a:effectLst/>
      </p:bgPr>
    </p:bg>
    <p:spTree>
      <p:nvGrpSpPr>
        <p:cNvPr id="1" name=""/>
        <p:cNvGrpSpPr/>
        <p:nvPr/>
      </p:nvGrpSpPr>
      <p:grpSpPr>
        <a:xfrm>
          <a:off x="0" y="0"/>
          <a:ext cx="0" cy="0"/>
          <a:chOff x="0" y="0"/>
          <a:chExt cx="0" cy="0"/>
        </a:xfrm>
      </p:grpSpPr>
      <p:pic>
        <p:nvPicPr>
          <p:cNvPr id="9" name="Data Texture Image">
            <a:extLst>
              <a:ext uri="{FF2B5EF4-FFF2-40B4-BE49-F238E27FC236}">
                <a16:creationId xmlns:a16="http://schemas.microsoft.com/office/drawing/2014/main" id="{A941D2C2-75E1-8246-9BA2-05D607C53557}"/>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OTag">
            <a:extLst>
              <a:ext uri="{FF2B5EF4-FFF2-40B4-BE49-F238E27FC236}">
                <a16:creationId xmlns:a16="http://schemas.microsoft.com/office/drawing/2014/main" id="{82323826-2F7C-DC44-94F9-0225962BEA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7" name="Footer">
            <a:extLst>
              <a:ext uri="{FF2B5EF4-FFF2-40B4-BE49-F238E27FC236}">
                <a16:creationId xmlns:a16="http://schemas.microsoft.com/office/drawing/2014/main" id="{21EB2BB9-2D7E-784F-B45B-61C5A3EA448E}"/>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6" name="Slide Number">
            <a:extLst>
              <a:ext uri="{FF2B5EF4-FFF2-40B4-BE49-F238E27FC236}">
                <a16:creationId xmlns:a16="http://schemas.microsoft.com/office/drawing/2014/main" id="{26D7B7B3-7683-244B-AF75-22E01FF6A6A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279122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Light - Data Texture 19 Blank">
    <p:bg>
      <p:bgPr>
        <a:solidFill>
          <a:schemeClr val="bg2"/>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C860FE5B-36CD-6846-BD82-3DA0AA2807D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OTag">
            <a:extLst>
              <a:ext uri="{FF2B5EF4-FFF2-40B4-BE49-F238E27FC236}">
                <a16:creationId xmlns:a16="http://schemas.microsoft.com/office/drawing/2014/main" id="{F4939B61-9B7E-A240-8CE9-7E014F78E0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7" name="Footer">
            <a:extLst>
              <a:ext uri="{FF2B5EF4-FFF2-40B4-BE49-F238E27FC236}">
                <a16:creationId xmlns:a16="http://schemas.microsoft.com/office/drawing/2014/main" id="{69737CBA-DBE7-D946-ACA4-C0C23ABE22B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6" name="Slide Number">
            <a:extLst>
              <a:ext uri="{FF2B5EF4-FFF2-40B4-BE49-F238E27FC236}">
                <a16:creationId xmlns:a16="http://schemas.microsoft.com/office/drawing/2014/main" id="{B0CB1F74-598A-E441-8A53-D04345B0E98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7454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ark - Data Texture 19 Blank">
    <p:bg>
      <p:bgPr>
        <a:solidFill>
          <a:schemeClr val="tx1"/>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C860FE5B-36CD-6846-BD82-3DA0AA2807D0}"/>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OTag">
            <a:extLst>
              <a:ext uri="{FF2B5EF4-FFF2-40B4-BE49-F238E27FC236}">
                <a16:creationId xmlns:a16="http://schemas.microsoft.com/office/drawing/2014/main" id="{F4939B61-9B7E-A240-8CE9-7E014F78E0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7" name="Footer">
            <a:extLst>
              <a:ext uri="{FF2B5EF4-FFF2-40B4-BE49-F238E27FC236}">
                <a16:creationId xmlns:a16="http://schemas.microsoft.com/office/drawing/2014/main" id="{B4696A52-148B-7C47-ACD3-506981DFD1B4}"/>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6" name="Slide Number">
            <a:extLst>
              <a:ext uri="{FF2B5EF4-FFF2-40B4-BE49-F238E27FC236}">
                <a16:creationId xmlns:a16="http://schemas.microsoft.com/office/drawing/2014/main" id="{B0CB1F74-598A-E441-8A53-D04345B0E98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198233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ight - Thank You">
    <p:bg>
      <p:bgPr>
        <a:solidFill>
          <a:schemeClr val="bg2"/>
        </a:solidFill>
        <a:effectLst/>
      </p:bgPr>
    </p:bg>
    <p:spTree>
      <p:nvGrpSpPr>
        <p:cNvPr id="1" name=""/>
        <p:cNvGrpSpPr/>
        <p:nvPr/>
      </p:nvGrpSpPr>
      <p:grpSpPr>
        <a:xfrm>
          <a:off x="0" y="0"/>
          <a:ext cx="0" cy="0"/>
          <a:chOff x="0" y="0"/>
          <a:chExt cx="0" cy="0"/>
        </a:xfrm>
      </p:grpSpPr>
      <p:pic>
        <p:nvPicPr>
          <p:cNvPr id="14" name="Abstract Illustration">
            <a:extLst>
              <a:ext uri="{FF2B5EF4-FFF2-40B4-BE49-F238E27FC236}">
                <a16:creationId xmlns:a16="http://schemas.microsoft.com/office/drawing/2014/main" id="{49F92AE8-C0F0-CF4B-B569-964245B004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96000" y="4898"/>
            <a:ext cx="6096000" cy="6858000"/>
          </a:xfrm>
          <a:prstGeom prst="rect">
            <a:avLst/>
          </a:prstGeom>
        </p:spPr>
      </p:pic>
      <p:pic>
        <p:nvPicPr>
          <p:cNvPr id="26" name="OTag">
            <a:extLst>
              <a:ext uri="{FF2B5EF4-FFF2-40B4-BE49-F238E27FC236}">
                <a16:creationId xmlns:a16="http://schemas.microsoft.com/office/drawing/2014/main" id="{42D6F87D-23AA-1D42-BDBA-F6833AC9A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5" name="Footer">
            <a:extLst>
              <a:ext uri="{FF2B5EF4-FFF2-40B4-BE49-F238E27FC236}">
                <a16:creationId xmlns:a16="http://schemas.microsoft.com/office/drawing/2014/main" id="{AC796A58-6878-0644-885E-17721EE64E2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0" name="Text Field">
            <a:extLst>
              <a:ext uri="{FF2B5EF4-FFF2-40B4-BE49-F238E27FC236}">
                <a16:creationId xmlns:a16="http://schemas.microsoft.com/office/drawing/2014/main" id="{283762D0-0D31-A347-AD9E-095398CD17C5}"/>
              </a:ext>
            </a:extLst>
          </p:cNvPr>
          <p:cNvSpPr>
            <a:spLocks noGrp="1"/>
          </p:cNvSpPr>
          <p:nvPr>
            <p:ph type="body" sz="quarter" idx="36"/>
          </p:nvPr>
        </p:nvSpPr>
        <p:spPr>
          <a:xfrm>
            <a:off x="762000" y="5152453"/>
            <a:ext cx="5029200" cy="895181"/>
          </a:xfrm>
        </p:spPr>
        <p:txBody>
          <a:bodyPr>
            <a:noAutofit/>
          </a:bodyPr>
          <a:lstStyle>
            <a:lvl1pPr>
              <a:defRPr/>
            </a:lvl1pPr>
          </a:lstStyle>
          <a:p>
            <a:pPr lvl="0"/>
            <a:r>
              <a:rPr lang="fr-FR"/>
              <a:t>Modifier les styles du texte du masque
Deuxième niveau
Troisième niveau
Quatrième niveau
Cinquième niveau</a:t>
            </a:r>
            <a:endParaRPr lang="en-US" dirty="0"/>
          </a:p>
        </p:txBody>
      </p:sp>
      <p:sp>
        <p:nvSpPr>
          <p:cNvPr id="11" name="Text Field">
            <a:extLst>
              <a:ext uri="{FF2B5EF4-FFF2-40B4-BE49-F238E27FC236}">
                <a16:creationId xmlns:a16="http://schemas.microsoft.com/office/drawing/2014/main" id="{F273E805-B8FF-F84B-99E6-4636F8BD3EBF}"/>
              </a:ext>
            </a:extLst>
          </p:cNvPr>
          <p:cNvSpPr>
            <a:spLocks noGrp="1"/>
          </p:cNvSpPr>
          <p:nvPr>
            <p:ph type="body" sz="quarter" idx="37"/>
          </p:nvPr>
        </p:nvSpPr>
        <p:spPr>
          <a:xfrm>
            <a:off x="762000" y="4814860"/>
            <a:ext cx="5029200" cy="266291"/>
          </a:xfrm>
        </p:spPr>
        <p:txBody>
          <a:bodyPr>
            <a:noAutofit/>
          </a:bodyPr>
          <a:lstStyle>
            <a:lvl1pPr>
              <a:defRPr b="1"/>
            </a:lvl1pPr>
          </a:lstStyle>
          <a:p>
            <a:pPr lvl="0"/>
            <a:r>
              <a:rPr lang="fr-FR"/>
              <a:t>Modifier les styles du texte du masque
Deuxième niveau
Troisième niveau
Quatrième niveau
Cinquième niveau</a:t>
            </a:r>
            <a:endParaRPr lang="en-US" dirty="0"/>
          </a:p>
        </p:txBody>
      </p:sp>
      <p:cxnSp>
        <p:nvCxnSpPr>
          <p:cNvPr id="13" name="Accent Mark">
            <a:extLst>
              <a:ext uri="{FF2B5EF4-FFF2-40B4-BE49-F238E27FC236}">
                <a16:creationId xmlns:a16="http://schemas.microsoft.com/office/drawing/2014/main" id="{8E2FAFB4-C5ED-BC4A-844D-BB78D3D28B90}"/>
              </a:ext>
            </a:extLst>
          </p:cNvPr>
          <p:cNvCxnSpPr>
            <a:cxnSpLocks/>
          </p:cNvCxnSpPr>
          <p:nvPr userDrawn="1"/>
        </p:nvCxnSpPr>
        <p:spPr>
          <a:xfrm flipH="1">
            <a:off x="768098"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hank You">
            <a:extLst>
              <a:ext uri="{FF2B5EF4-FFF2-40B4-BE49-F238E27FC236}">
                <a16:creationId xmlns:a16="http://schemas.microsoft.com/office/drawing/2014/main" id="{1A667D4A-FE6C-2E44-8B9A-7F595154584C}"/>
              </a:ext>
            </a:extLst>
          </p:cNvPr>
          <p:cNvSpPr>
            <a:spLocks noGrp="1"/>
          </p:cNvSpPr>
          <p:nvPr>
            <p:ph type="body" sz="quarter" idx="15" hasCustomPrompt="1"/>
          </p:nvPr>
        </p:nvSpPr>
        <p:spPr>
          <a:xfrm>
            <a:off x="762001" y="3814489"/>
            <a:ext cx="5029200" cy="492443"/>
          </a:xfrm>
          <a:prstGeom prst="rect">
            <a:avLst/>
          </a:prstGeom>
        </p:spPr>
        <p:txBody>
          <a:bodyPr lIns="0" anchor="b" anchorCtr="0">
            <a:noAutofit/>
          </a:bodyPr>
          <a:lstStyle>
            <a:lvl1pPr marL="0" indent="0" algn="l" fontAlgn="t">
              <a:lnSpc>
                <a:spcPct val="100000"/>
              </a:lnSpc>
              <a:spcBef>
                <a:spcPts val="0"/>
              </a:spcBef>
              <a:buNone/>
              <a:defRPr sz="3200" b="0" i="0">
                <a:latin typeface="+mj-lt"/>
                <a:cs typeface="Oracle Sans" panose="020B0503020204020204" pitchFamily="34" charset="0"/>
              </a:defRPr>
            </a:lvl1pPr>
          </a:lstStyle>
          <a:p>
            <a:pPr lvl="0"/>
            <a:r>
              <a:rPr lang="en-US" dirty="0"/>
              <a:t>Thank you</a:t>
            </a:r>
          </a:p>
        </p:txBody>
      </p:sp>
    </p:spTree>
    <p:extLst>
      <p:ext uri="{BB962C8B-B14F-4D97-AF65-F5344CB8AC3E}">
        <p14:creationId xmlns:p14="http://schemas.microsoft.com/office/powerpoint/2010/main" val="128197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 - Thank You">
    <p:bg>
      <p:bgPr>
        <a:solidFill>
          <a:schemeClr val="tx1"/>
        </a:solidFill>
        <a:effectLst/>
      </p:bgPr>
    </p:bg>
    <p:spTree>
      <p:nvGrpSpPr>
        <p:cNvPr id="1" name=""/>
        <p:cNvGrpSpPr/>
        <p:nvPr/>
      </p:nvGrpSpPr>
      <p:grpSpPr>
        <a:xfrm>
          <a:off x="0" y="0"/>
          <a:ext cx="0" cy="0"/>
          <a:chOff x="0" y="0"/>
          <a:chExt cx="0" cy="0"/>
        </a:xfrm>
      </p:grpSpPr>
      <p:pic>
        <p:nvPicPr>
          <p:cNvPr id="3" name="Abstract Illustration">
            <a:extLst>
              <a:ext uri="{FF2B5EF4-FFF2-40B4-BE49-F238E27FC236}">
                <a16:creationId xmlns:a16="http://schemas.microsoft.com/office/drawing/2014/main" id="{3201D9B7-EB85-9E42-AFF5-8FDDBB072DB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95999" y="0"/>
            <a:ext cx="6096000" cy="6858000"/>
          </a:xfrm>
          <a:prstGeom prst="rect">
            <a:avLst/>
          </a:prstGeom>
        </p:spPr>
      </p:pic>
      <p:pic>
        <p:nvPicPr>
          <p:cNvPr id="26" name="OTag">
            <a:extLst>
              <a:ext uri="{FF2B5EF4-FFF2-40B4-BE49-F238E27FC236}">
                <a16:creationId xmlns:a16="http://schemas.microsoft.com/office/drawing/2014/main" id="{42D6F87D-23AA-1D42-BDBA-F6833AC9A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4" name="Footer">
            <a:extLst>
              <a:ext uri="{FF2B5EF4-FFF2-40B4-BE49-F238E27FC236}">
                <a16:creationId xmlns:a16="http://schemas.microsoft.com/office/drawing/2014/main" id="{AAECD12C-0C8A-9842-99C8-709BEF007273}"/>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0" name="Text Field">
            <a:extLst>
              <a:ext uri="{FF2B5EF4-FFF2-40B4-BE49-F238E27FC236}">
                <a16:creationId xmlns:a16="http://schemas.microsoft.com/office/drawing/2014/main" id="{C30DAEE6-7960-B84D-9E43-8297742115C4}"/>
              </a:ext>
            </a:extLst>
          </p:cNvPr>
          <p:cNvSpPr>
            <a:spLocks noGrp="1"/>
          </p:cNvSpPr>
          <p:nvPr>
            <p:ph type="body" sz="quarter" idx="36"/>
          </p:nvPr>
        </p:nvSpPr>
        <p:spPr>
          <a:xfrm>
            <a:off x="762000" y="5152453"/>
            <a:ext cx="5029200" cy="895181"/>
          </a:xfrm>
        </p:spPr>
        <p:txBody>
          <a:bodyPr>
            <a:noAutofit/>
          </a:bodyPr>
          <a:lstStyle>
            <a:lvl1pPr>
              <a:defRPr>
                <a:solidFill>
                  <a:schemeClr val="bg1"/>
                </a:solidFill>
              </a:defRPr>
            </a:lvl1pPr>
          </a:lstStyle>
          <a:p>
            <a:pPr lvl="0"/>
            <a:r>
              <a:rPr lang="fr-FR"/>
              <a:t>Modifier les styles du texte du masque
Deuxième niveau
Troisième niveau
Quatrième niveau
Cinquième niveau</a:t>
            </a:r>
            <a:endParaRPr lang="en-US" dirty="0"/>
          </a:p>
        </p:txBody>
      </p:sp>
      <p:sp>
        <p:nvSpPr>
          <p:cNvPr id="11" name="Text Field">
            <a:extLst>
              <a:ext uri="{FF2B5EF4-FFF2-40B4-BE49-F238E27FC236}">
                <a16:creationId xmlns:a16="http://schemas.microsoft.com/office/drawing/2014/main" id="{B550C986-DC1D-064A-8410-E4A8A3C3A466}"/>
              </a:ext>
            </a:extLst>
          </p:cNvPr>
          <p:cNvSpPr>
            <a:spLocks noGrp="1"/>
          </p:cNvSpPr>
          <p:nvPr>
            <p:ph type="body" sz="quarter" idx="37"/>
          </p:nvPr>
        </p:nvSpPr>
        <p:spPr>
          <a:xfrm>
            <a:off x="762000" y="4814860"/>
            <a:ext cx="5029200" cy="266291"/>
          </a:xfrm>
        </p:spPr>
        <p:txBody>
          <a:bodyPr>
            <a:noAutofit/>
          </a:bodyPr>
          <a:lstStyle>
            <a:lvl1pPr>
              <a:defRPr b="1">
                <a:solidFill>
                  <a:schemeClr val="bg1"/>
                </a:solidFill>
              </a:defRPr>
            </a:lvl1pPr>
          </a:lstStyle>
          <a:p>
            <a:pPr lvl="0"/>
            <a:r>
              <a:rPr lang="fr-FR"/>
              <a:t>Modifier les styles du texte du masque
Deuxième niveau
Troisième niveau
Quatrième niveau
Cinquième niveau</a:t>
            </a:r>
            <a:endParaRPr lang="en-US" dirty="0"/>
          </a:p>
        </p:txBody>
      </p:sp>
      <p:cxnSp>
        <p:nvCxnSpPr>
          <p:cNvPr id="13" name="Accent Mark">
            <a:extLst>
              <a:ext uri="{FF2B5EF4-FFF2-40B4-BE49-F238E27FC236}">
                <a16:creationId xmlns:a16="http://schemas.microsoft.com/office/drawing/2014/main" id="{8E2FAFB4-C5ED-BC4A-844D-BB78D3D28B90}"/>
              </a:ext>
            </a:extLst>
          </p:cNvPr>
          <p:cNvCxnSpPr>
            <a:cxnSpLocks/>
          </p:cNvCxnSpPr>
          <p:nvPr userDrawn="1"/>
        </p:nvCxnSpPr>
        <p:spPr>
          <a:xfrm flipH="1">
            <a:off x="768098"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hank You">
            <a:extLst>
              <a:ext uri="{FF2B5EF4-FFF2-40B4-BE49-F238E27FC236}">
                <a16:creationId xmlns:a16="http://schemas.microsoft.com/office/drawing/2014/main" id="{1A667D4A-FE6C-2E44-8B9A-7F595154584C}"/>
              </a:ext>
            </a:extLst>
          </p:cNvPr>
          <p:cNvSpPr>
            <a:spLocks noGrp="1"/>
          </p:cNvSpPr>
          <p:nvPr>
            <p:ph type="body" sz="quarter" idx="15" hasCustomPrompt="1"/>
          </p:nvPr>
        </p:nvSpPr>
        <p:spPr>
          <a:xfrm>
            <a:off x="762001" y="3814489"/>
            <a:ext cx="5029200" cy="492443"/>
          </a:xfrm>
          <a:prstGeom prst="rect">
            <a:avLst/>
          </a:prstGeom>
        </p:spPr>
        <p:txBody>
          <a:bodyPr lIns="0" anchor="b" anchorCtr="0">
            <a:no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Thank you</a:t>
            </a:r>
          </a:p>
        </p:txBody>
      </p:sp>
    </p:spTree>
    <p:extLst>
      <p:ext uri="{BB962C8B-B14F-4D97-AF65-F5344CB8AC3E}">
        <p14:creationId xmlns:p14="http://schemas.microsoft.com/office/powerpoint/2010/main" val="3742483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Light - Closing Slide">
    <p:bg>
      <p:bgPr>
        <a:solidFill>
          <a:schemeClr val="bg2"/>
        </a:solidFill>
        <a:effectLst/>
      </p:bgPr>
    </p:bg>
    <p:spTree>
      <p:nvGrpSpPr>
        <p:cNvPr id="1" name=""/>
        <p:cNvGrpSpPr/>
        <p:nvPr/>
      </p:nvGrpSpPr>
      <p:grpSpPr>
        <a:xfrm>
          <a:off x="0" y="0"/>
          <a:ext cx="0" cy="0"/>
          <a:chOff x="0" y="0"/>
          <a:chExt cx="0" cy="0"/>
        </a:xfrm>
      </p:grpSpPr>
      <p:pic>
        <p:nvPicPr>
          <p:cNvPr id="3" name="Oracle Logo">
            <a:extLst>
              <a:ext uri="{FF2B5EF4-FFF2-40B4-BE49-F238E27FC236}">
                <a16:creationId xmlns:a16="http://schemas.microsoft.com/office/drawing/2014/main" id="{675A5E3C-9B7E-1248-9024-5EE790FC68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7854" y="2915192"/>
            <a:ext cx="4896293" cy="1027617"/>
          </a:xfrm>
          <a:prstGeom prst="rect">
            <a:avLst/>
          </a:prstGeom>
        </p:spPr>
      </p:pic>
      <p:pic>
        <p:nvPicPr>
          <p:cNvPr id="5" name="Abstract Pattern Strip">
            <a:extLst>
              <a:ext uri="{FF2B5EF4-FFF2-40B4-BE49-F238E27FC236}">
                <a16:creationId xmlns:a16="http://schemas.microsoft.com/office/drawing/2014/main" id="{DA24CEA9-EF8C-E942-A55B-0044027368B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12297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Dark - Closing Slide">
    <p:bg>
      <p:bgPr>
        <a:solidFill>
          <a:schemeClr val="tx1"/>
        </a:solidFill>
        <a:effectLst/>
      </p:bgPr>
    </p:bg>
    <p:spTree>
      <p:nvGrpSpPr>
        <p:cNvPr id="1" name=""/>
        <p:cNvGrpSpPr/>
        <p:nvPr/>
      </p:nvGrpSpPr>
      <p:grpSpPr>
        <a:xfrm>
          <a:off x="0" y="0"/>
          <a:ext cx="0" cy="0"/>
          <a:chOff x="0" y="0"/>
          <a:chExt cx="0" cy="0"/>
        </a:xfrm>
      </p:grpSpPr>
      <p:pic>
        <p:nvPicPr>
          <p:cNvPr id="3" name="Oracle Logo">
            <a:extLst>
              <a:ext uri="{FF2B5EF4-FFF2-40B4-BE49-F238E27FC236}">
                <a16:creationId xmlns:a16="http://schemas.microsoft.com/office/drawing/2014/main" id="{675A5E3C-9B7E-1248-9024-5EE790FC68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7854" y="2915192"/>
            <a:ext cx="4896292" cy="1027617"/>
          </a:xfrm>
          <a:prstGeom prst="rect">
            <a:avLst/>
          </a:prstGeom>
        </p:spPr>
      </p:pic>
      <p:pic>
        <p:nvPicPr>
          <p:cNvPr id="5" name="Abstract Pattern Strip">
            <a:extLst>
              <a:ext uri="{FF2B5EF4-FFF2-40B4-BE49-F238E27FC236}">
                <a16:creationId xmlns:a16="http://schemas.microsoft.com/office/drawing/2014/main" id="{DA24CEA9-EF8C-E942-A55B-0044027368B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975562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ark Quote with picture">
    <p:spTree>
      <p:nvGrpSpPr>
        <p:cNvPr id="1" name=""/>
        <p:cNvGrpSpPr/>
        <p:nvPr/>
      </p:nvGrpSpPr>
      <p:grpSpPr>
        <a:xfrm>
          <a:off x="0" y="0"/>
          <a:ext cx="0" cy="0"/>
          <a:chOff x="0" y="0"/>
          <a:chExt cx="0" cy="0"/>
        </a:xfrm>
      </p:grpSpPr>
      <p:pic>
        <p:nvPicPr>
          <p:cNvPr id="9" name="Picture 8" descr="A person looking at the camera&#10;&#10;Description automatically generated">
            <a:extLst>
              <a:ext uri="{FF2B5EF4-FFF2-40B4-BE49-F238E27FC236}">
                <a16:creationId xmlns:a16="http://schemas.microsoft.com/office/drawing/2014/main" id="{4E879062-D42A-C24B-9506-CFFED71D4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54000"/>
            <a:ext cx="5133848" cy="6626102"/>
          </a:xfrm>
          <a:prstGeom prst="rect">
            <a:avLst/>
          </a:prstGeom>
        </p:spPr>
      </p:pic>
      <p:sp>
        <p:nvSpPr>
          <p:cNvPr id="6" name="Picture Placeholder 5">
            <a:extLst>
              <a:ext uri="{FF2B5EF4-FFF2-40B4-BE49-F238E27FC236}">
                <a16:creationId xmlns:a16="http://schemas.microsoft.com/office/drawing/2014/main" id="{DBBD2CF4-1E90-A941-8678-001223FD4124}"/>
              </a:ext>
            </a:extLst>
          </p:cNvPr>
          <p:cNvSpPr>
            <a:spLocks noGrp="1"/>
          </p:cNvSpPr>
          <p:nvPr>
            <p:ph type="pic" sz="quarter" idx="10"/>
          </p:nvPr>
        </p:nvSpPr>
        <p:spPr>
          <a:xfrm>
            <a:off x="0" y="254000"/>
            <a:ext cx="5133848" cy="6626102"/>
          </a:xfrm>
        </p:spPr>
        <p:txBody>
          <a:bodyPr/>
          <a:lstStyle/>
          <a:p>
            <a:r>
              <a:rPr lang="en-US"/>
              <a:t>Click icon to add picture</a:t>
            </a:r>
            <a:endParaRPr lang="en-US" dirty="0"/>
          </a:p>
        </p:txBody>
      </p:sp>
      <p:pic>
        <p:nvPicPr>
          <p:cNvPr id="16" name="Picture 15">
            <a:extLst>
              <a:ext uri="{FF2B5EF4-FFF2-40B4-BE49-F238E27FC236}">
                <a16:creationId xmlns:a16="http://schemas.microsoft.com/office/drawing/2014/main" id="{655F6A82-2EA7-8C4D-A6E5-04849642E6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3" name="Text Placeholder 26">
            <a:extLst>
              <a:ext uri="{FF2B5EF4-FFF2-40B4-BE49-F238E27FC236}">
                <a16:creationId xmlns:a16="http://schemas.microsoft.com/office/drawing/2014/main" id="{660ACC2F-3202-B843-8CCE-6D68B1FAAF09}"/>
              </a:ext>
            </a:extLst>
          </p:cNvPr>
          <p:cNvSpPr>
            <a:spLocks noGrp="1"/>
          </p:cNvSpPr>
          <p:nvPr>
            <p:ph type="body" sz="quarter" idx="11" hasCustomPrompt="1"/>
          </p:nvPr>
        </p:nvSpPr>
        <p:spPr>
          <a:xfrm>
            <a:off x="5430545" y="4661231"/>
            <a:ext cx="6315978" cy="218094"/>
          </a:xfrm>
        </p:spPr>
        <p:txBody>
          <a:bodyPr lIns="0">
            <a:noAutofit/>
          </a:bodyPr>
          <a:lstStyle>
            <a:lvl1pPr algn="l" fontAlgn="t">
              <a:lnSpc>
                <a:spcPct val="100000"/>
              </a:lnSpc>
              <a:spcBef>
                <a:spcPts val="0"/>
              </a:spcBef>
              <a:defRPr sz="1400" b="1" i="0">
                <a:latin typeface="Oracle Sans" panose="020B0503020204020204" pitchFamily="34" charset="0"/>
                <a:cs typeface="Oracle Sans" panose="020B0503020204020204" pitchFamily="34" charset="0"/>
              </a:defRPr>
            </a:lvl1pPr>
          </a:lstStyle>
          <a:p>
            <a:pPr lvl="0"/>
            <a:r>
              <a:rPr lang="en-US" dirty="0"/>
              <a:t>Lorem ipsum</a:t>
            </a:r>
          </a:p>
        </p:txBody>
      </p:sp>
      <p:sp>
        <p:nvSpPr>
          <p:cNvPr id="24" name="Text Placeholder 26">
            <a:extLst>
              <a:ext uri="{FF2B5EF4-FFF2-40B4-BE49-F238E27FC236}">
                <a16:creationId xmlns:a16="http://schemas.microsoft.com/office/drawing/2014/main" id="{63B99ECC-6BAB-0F46-88DB-26AE80C3434F}"/>
              </a:ext>
            </a:extLst>
          </p:cNvPr>
          <p:cNvSpPr>
            <a:spLocks noGrp="1"/>
          </p:cNvSpPr>
          <p:nvPr>
            <p:ph type="body" sz="quarter" idx="12" hasCustomPrompt="1"/>
          </p:nvPr>
        </p:nvSpPr>
        <p:spPr>
          <a:xfrm>
            <a:off x="5430545" y="4952092"/>
            <a:ext cx="6315978" cy="528567"/>
          </a:xfrm>
        </p:spPr>
        <p:txBody>
          <a:bodyPr lIns="0">
            <a:noAutofit/>
          </a:bodyPr>
          <a:lstStyle>
            <a:lvl1pPr algn="l" fontAlgn="t">
              <a:lnSpc>
                <a:spcPct val="100000"/>
              </a:lnSpc>
              <a:spcBef>
                <a:spcPts val="0"/>
              </a:spcBef>
              <a:defRPr sz="1300"/>
            </a:lvl1pPr>
          </a:lstStyle>
          <a:p>
            <a:pPr lvl="0"/>
            <a:r>
              <a:rPr lang="en-US" dirty="0"/>
              <a:t>Click to edit Master text styles</a:t>
            </a:r>
          </a:p>
        </p:txBody>
      </p:sp>
      <p:sp>
        <p:nvSpPr>
          <p:cNvPr id="25" name="Text Placeholder 26">
            <a:extLst>
              <a:ext uri="{FF2B5EF4-FFF2-40B4-BE49-F238E27FC236}">
                <a16:creationId xmlns:a16="http://schemas.microsoft.com/office/drawing/2014/main" id="{38A1ED2B-730F-DB4F-8E69-07241B0A4987}"/>
              </a:ext>
            </a:extLst>
          </p:cNvPr>
          <p:cNvSpPr>
            <a:spLocks noGrp="1"/>
          </p:cNvSpPr>
          <p:nvPr>
            <p:ph type="body" sz="quarter" idx="13" hasCustomPrompt="1"/>
          </p:nvPr>
        </p:nvSpPr>
        <p:spPr>
          <a:xfrm>
            <a:off x="5430545" y="1850640"/>
            <a:ext cx="6315978" cy="2251537"/>
          </a:xfrm>
        </p:spPr>
        <p:txBody>
          <a:bodyPr lIns="0">
            <a:noAutofit/>
          </a:bodyPr>
          <a:lstStyle>
            <a:lvl1pPr algn="l" fontAlgn="t">
              <a:lnSpc>
                <a:spcPct val="100000"/>
              </a:lnSpc>
              <a:spcBef>
                <a:spcPts val="0"/>
              </a:spcBef>
              <a:defRPr sz="3200" b="1" i="0">
                <a:latin typeface="Oracle Sans" panose="020B0503020204020204" pitchFamily="34" charset="0"/>
                <a:cs typeface="Oracle Sans" panose="020B0503020204020204" pitchFamily="34" charset="0"/>
              </a:defRPr>
            </a:lvl1pPr>
          </a:lstStyle>
          <a:p>
            <a:pPr lvl="0"/>
            <a:r>
              <a:rPr lang="en-US" dirty="0"/>
              <a:t>“Click to type customer or partner quote surrounded by quotation marks.”</a:t>
            </a:r>
          </a:p>
        </p:txBody>
      </p:sp>
      <p:sp>
        <p:nvSpPr>
          <p:cNvPr id="26" name="Rectangle 25">
            <a:extLst>
              <a:ext uri="{FF2B5EF4-FFF2-40B4-BE49-F238E27FC236}">
                <a16:creationId xmlns:a16="http://schemas.microsoft.com/office/drawing/2014/main" id="{244BA13B-C4E1-6147-9655-829168E5E266}"/>
              </a:ext>
            </a:extLst>
          </p:cNvPr>
          <p:cNvSpPr/>
          <p:nvPr userDrawn="1"/>
        </p:nvSpPr>
        <p:spPr>
          <a:xfrm>
            <a:off x="5430546" y="4342634"/>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5E12F1A-E94A-0A4E-A3DE-82C421C99EAB}"/>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B43CB455-1A65-4638-A09E-2C0F6C4FCCD1}"/>
              </a:ext>
            </a:extLst>
          </p:cNvPr>
          <p:cNvSpPr>
            <a:spLocks noGrp="1"/>
          </p:cNvSpPr>
          <p:nvPr>
            <p:ph type="ftr" sz="quarter" idx="14"/>
          </p:nvPr>
        </p:nvSpPr>
        <p:spPr/>
        <p:txBody>
          <a:bodyPr/>
          <a:lstStyle>
            <a:lvl1pPr>
              <a:defRPr>
                <a:solidFill>
                  <a:srgbClr val="8B8078"/>
                </a:solidFill>
              </a:defRPr>
            </a:lvl1p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9DAE9173-05B9-4760-A0D4-0486B3A93CA4}"/>
              </a:ext>
            </a:extLst>
          </p:cNvPr>
          <p:cNvSpPr>
            <a:spLocks noGrp="1"/>
          </p:cNvSpPr>
          <p:nvPr>
            <p:ph type="sldNum" sz="quarter" idx="15"/>
          </p:nvPr>
        </p:nvSpPr>
        <p:spPr/>
        <p:txBody>
          <a:bodyPr/>
          <a:lstStyle>
            <a:lvl1pPr>
              <a:defRPr>
                <a:solidFill>
                  <a:srgbClr val="8B8078"/>
                </a:solidFill>
              </a:defRPr>
            </a:lvl1p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66224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Mission Statement">
    <p:bg>
      <p:bgPr>
        <a:solidFill>
          <a:schemeClr val="bg2"/>
        </a:solidFill>
        <a:effectLst/>
      </p:bgPr>
    </p:bg>
    <p:spTree>
      <p:nvGrpSpPr>
        <p:cNvPr id="1" name=""/>
        <p:cNvGrpSpPr/>
        <p:nvPr/>
      </p:nvGrpSpPr>
      <p:grpSpPr>
        <a:xfrm>
          <a:off x="0" y="0"/>
          <a:ext cx="0" cy="0"/>
          <a:chOff x="0" y="0"/>
          <a:chExt cx="0" cy="0"/>
        </a:xfrm>
      </p:grpSpPr>
      <p:pic>
        <p:nvPicPr>
          <p:cNvPr id="4" name="Illustration">
            <a:extLst>
              <a:ext uri="{FF2B5EF4-FFF2-40B4-BE49-F238E27FC236}">
                <a16:creationId xmlns:a16="http://schemas.microsoft.com/office/drawing/2014/main" id="{7F6A0B0D-9890-B044-B4D0-946D1FDB962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54000"/>
            <a:ext cx="12192000" cy="6604000"/>
          </a:xfrm>
          <a:prstGeom prst="rect">
            <a:avLst/>
          </a:prstGeom>
        </p:spPr>
      </p:pic>
      <p:pic>
        <p:nvPicPr>
          <p:cNvPr id="7" name="Abstract Pattern Strip">
            <a:extLst>
              <a:ext uri="{FF2B5EF4-FFF2-40B4-BE49-F238E27FC236}">
                <a16:creationId xmlns:a16="http://schemas.microsoft.com/office/drawing/2014/main" id="{32EC640D-2BE6-E443-B041-C48A5A91F17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2" name="Rectangle 1">
            <a:extLst>
              <a:ext uri="{FF2B5EF4-FFF2-40B4-BE49-F238E27FC236}">
                <a16:creationId xmlns:a16="http://schemas.microsoft.com/office/drawing/2014/main" id="{4843EDC2-7F43-0041-AEBE-5B17CC2CECBE}"/>
              </a:ext>
            </a:extLst>
          </p:cNvPr>
          <p:cNvSpPr/>
          <p:nvPr userDrawn="1"/>
        </p:nvSpPr>
        <p:spPr>
          <a:xfrm>
            <a:off x="675018" y="2690336"/>
            <a:ext cx="7857894" cy="1477328"/>
          </a:xfrm>
          <a:prstGeom prst="rect">
            <a:avLst/>
          </a:prstGeom>
        </p:spPr>
        <p:txBody>
          <a:bodyPr wrap="square">
            <a:spAutoFit/>
          </a:bodyPr>
          <a:lstStyle/>
          <a:p>
            <a:r>
              <a:rPr lang="en-US" sz="3000" dirty="0">
                <a:solidFill>
                  <a:srgbClr val="FCFBFA"/>
                </a:solidFill>
                <a:latin typeface="Georgia"/>
              </a:rPr>
              <a:t>Our mission is to help people</a:t>
            </a:r>
          </a:p>
          <a:p>
            <a:r>
              <a:rPr lang="en-US" sz="3000" dirty="0">
                <a:solidFill>
                  <a:srgbClr val="FCFBFA"/>
                </a:solidFill>
                <a:latin typeface="Georgia"/>
              </a:rPr>
              <a:t>see data in new ways, discover insights,</a:t>
            </a:r>
          </a:p>
          <a:p>
            <a:r>
              <a:rPr lang="en-US" sz="3000" dirty="0">
                <a:solidFill>
                  <a:srgbClr val="FCFBFA"/>
                </a:solidFill>
                <a:latin typeface="Georgia"/>
              </a:rPr>
              <a:t>unlock endless possibilities.</a:t>
            </a:r>
          </a:p>
        </p:txBody>
      </p:sp>
    </p:spTree>
    <p:extLst>
      <p:ext uri="{BB962C8B-B14F-4D97-AF65-F5344CB8AC3E}">
        <p14:creationId xmlns:p14="http://schemas.microsoft.com/office/powerpoint/2010/main" val="3867697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531289" y="1981200"/>
            <a:ext cx="1112942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CAB8501-70E9-CC4D-8542-9ED4CC505A7E}" type="datetime1">
              <a:rPr lang="fr-FR">
                <a:solidFill>
                  <a:srgbClr val="4E3629"/>
                </a:solidFill>
              </a:rPr>
              <a:pPr/>
              <a:t>20/06/2022</a:t>
            </a:fld>
            <a:endParaRPr>
              <a:solidFill>
                <a:srgbClr val="4E3629"/>
              </a:solidFill>
            </a:endParaRPr>
          </a:p>
        </p:txBody>
      </p:sp>
      <p:sp>
        <p:nvSpPr>
          <p:cNvPr id="5" name="Footer Placeholder 4"/>
          <p:cNvSpPr>
            <a:spLocks noGrp="1"/>
          </p:cNvSpPr>
          <p:nvPr>
            <p:ph type="ftr" sz="quarter" idx="11"/>
          </p:nvPr>
        </p:nvSpPr>
        <p:spPr/>
        <p:txBody>
          <a:bodyPr/>
          <a:lstStyle/>
          <a:p>
            <a:r>
              <a:rPr lang="en-US"/>
              <a:t>Confidential – Oracle Internal/Restricted/Highly Restricted</a:t>
            </a:r>
            <a:endParaRPr/>
          </a:p>
        </p:txBody>
      </p:sp>
      <p:sp>
        <p:nvSpPr>
          <p:cNvPr id="6" name="Slide Number Placeholder 5"/>
          <p:cNvSpPr>
            <a:spLocks noGrp="1"/>
          </p:cNvSpPr>
          <p:nvPr>
            <p:ph type="sldNum" sz="quarter" idx="12"/>
          </p:nvPr>
        </p:nvSpPr>
        <p:spPr/>
        <p:txBody>
          <a:bodyPr/>
          <a:lstStyle/>
          <a:p>
            <a:fld id="{C51EAA63-D034-42AE-91FA-B13B9518C7BE}" type="slidenum">
              <a:rPr/>
              <a:pPr/>
              <a:t>‹N°›</a:t>
            </a:fld>
            <a:endParaRPr/>
          </a:p>
        </p:txBody>
      </p:sp>
      <p:sp>
        <p:nvSpPr>
          <p:cNvPr id="7" name="Text Placeholder 12"/>
          <p:cNvSpPr>
            <a:spLocks noGrp="1"/>
          </p:cNvSpPr>
          <p:nvPr>
            <p:ph type="body" sz="quarter" idx="13" hasCustomPrompt="1"/>
          </p:nvPr>
        </p:nvSpPr>
        <p:spPr>
          <a:xfrm>
            <a:off x="531952" y="1373742"/>
            <a:ext cx="11128097"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t>Click to add subtitle</a:t>
            </a:r>
          </a:p>
        </p:txBody>
      </p:sp>
    </p:spTree>
    <p:extLst>
      <p:ext uri="{BB962C8B-B14F-4D97-AF65-F5344CB8AC3E}">
        <p14:creationId xmlns:p14="http://schemas.microsoft.com/office/powerpoint/2010/main" val="221513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secHead" preserve="1">
  <p:cSld name="OOW Section Divider 1">
    <p:spTree>
      <p:nvGrpSpPr>
        <p:cNvPr id="1" name=""/>
        <p:cNvGrpSpPr/>
        <p:nvPr/>
      </p:nvGrpSpPr>
      <p:grpSpPr>
        <a:xfrm>
          <a:off x="0" y="0"/>
          <a:ext cx="0" cy="0"/>
          <a:chOff x="0" y="0"/>
          <a:chExt cx="0" cy="0"/>
        </a:xfrm>
      </p:grpSpPr>
      <p:pic>
        <p:nvPicPr>
          <p:cNvPr id="12" name="Picture 11" descr="A picture containing container, basket&#10;&#10;Description automatically generated">
            <a:extLst>
              <a:ext uri="{FF2B5EF4-FFF2-40B4-BE49-F238E27FC236}">
                <a16:creationId xmlns:a16="http://schemas.microsoft.com/office/drawing/2014/main" id="{C0780927-9945-EF47-8AE5-C4DBCA302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263302" y="224473"/>
            <a:ext cx="4928697" cy="2612033"/>
          </a:xfrm>
          <a:prstGeom prst="rect">
            <a:avLst/>
          </a:prstGeom>
        </p:spPr>
      </p:pic>
      <p:pic>
        <p:nvPicPr>
          <p:cNvPr id="13" name="Picture 12" descr="A picture containing music, black&#10;&#10;Description automatically generated">
            <a:extLst>
              <a:ext uri="{FF2B5EF4-FFF2-40B4-BE49-F238E27FC236}">
                <a16:creationId xmlns:a16="http://schemas.microsoft.com/office/drawing/2014/main" id="{0D44442F-9369-9B4E-B2F5-C37AD54E148E}"/>
              </a:ext>
            </a:extLst>
          </p:cNvPr>
          <p:cNvPicPr>
            <a:picLocks noChangeAspect="1"/>
          </p:cNvPicPr>
          <p:nvPr userDrawn="1"/>
        </p:nvPicPr>
        <p:blipFill>
          <a:blip r:embed="rId3" cstate="screen">
            <a:alphaModFix amt="40000"/>
            <a:extLst>
              <a:ext uri="{28A0092B-C50C-407E-A947-70E740481C1C}">
                <a14:useLocalDpi xmlns:a14="http://schemas.microsoft.com/office/drawing/2010/main"/>
              </a:ext>
            </a:extLst>
          </a:blip>
          <a:stretch>
            <a:fillRect/>
          </a:stretch>
        </p:blipFill>
        <p:spPr>
          <a:xfrm>
            <a:off x="-620045" y="5667593"/>
            <a:ext cx="4427104" cy="1649788"/>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6705724"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6" y="2288559"/>
            <a:ext cx="6705724" cy="3360372"/>
          </a:xfrm>
        </p:spPr>
        <p:txBody>
          <a:bodyPr lIns="0" rIns="0">
            <a:normAutofit/>
          </a:bodyPr>
          <a:lstStyle>
            <a:lvl1pPr marL="0" indent="0">
              <a:lnSpc>
                <a:spcPct val="100000"/>
              </a:lnSpc>
              <a:spcBef>
                <a:spcPts val="0"/>
              </a:spcBef>
              <a:buNone/>
              <a:defRPr lang="en-US" sz="3000" b="0" i="0" kern="1200" dirty="0" err="1" smtClean="0">
                <a:solidFill>
                  <a:schemeClr val="tx2"/>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 </a:t>
            </a:r>
            <a:r>
              <a:rPr lang="en-US" dirty="0" err="1"/>
              <a:t>Donec</a:t>
            </a:r>
            <a:r>
              <a:rPr lang="en-US" dirty="0"/>
              <a:t> </a:t>
            </a:r>
            <a:r>
              <a:rPr lang="en-US" dirty="0" err="1"/>
              <a:t>auctor</a:t>
            </a:r>
            <a:r>
              <a:rPr lang="en-US" dirty="0"/>
              <a:t> </a:t>
            </a:r>
            <a:r>
              <a:rPr lang="en-US" dirty="0" err="1"/>
              <a:t>metus</a:t>
            </a:r>
            <a:r>
              <a:rPr lang="en-US" dirty="0"/>
              <a:t> sed </a:t>
            </a:r>
            <a:r>
              <a:rPr lang="en-US" dirty="0" err="1"/>
              <a:t>velit</a:t>
            </a:r>
            <a:r>
              <a:rPr lang="en-US" dirty="0"/>
              <a:t> </a:t>
            </a:r>
            <a:r>
              <a:rPr lang="en-US" dirty="0" err="1"/>
              <a:t>imperdiet</a:t>
            </a:r>
            <a:r>
              <a:rPr lang="en-US" dirty="0"/>
              <a:t> </a:t>
            </a:r>
            <a:r>
              <a:rPr lang="en-US" dirty="0" err="1"/>
              <a:t>consectetur</a:t>
            </a:r>
            <a:r>
              <a:rPr lang="en-US" dirty="0"/>
              <a:t>. </a:t>
            </a:r>
            <a:r>
              <a:rPr lang="en-US" dirty="0" err="1"/>
              <a:t>Aenean</a:t>
            </a:r>
            <a:r>
              <a:rPr lang="en-US" dirty="0"/>
              <a:t> et </a:t>
            </a:r>
            <a:r>
              <a:rPr lang="en-US" dirty="0" err="1"/>
              <a:t>turpis</a:t>
            </a:r>
            <a:r>
              <a:rPr lang="en-US" dirty="0"/>
              <a:t> </a:t>
            </a:r>
            <a:r>
              <a:rPr lang="en-US" dirty="0" err="1"/>
              <a:t>sapien</a:t>
            </a:r>
            <a:r>
              <a:rPr lang="en-US" dirty="0"/>
              <a:t>.</a:t>
            </a:r>
          </a:p>
        </p:txBody>
      </p:sp>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a:extLst>
              <a:ext uri="{FF2B5EF4-FFF2-40B4-BE49-F238E27FC236}">
                <a16:creationId xmlns:a16="http://schemas.microsoft.com/office/drawing/2014/main" id="{46CBF502-8D37-F747-A37F-40B536FAD58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437197" y="6356350"/>
            <a:ext cx="501650" cy="501650"/>
          </a:xfrm>
          <a:prstGeom prst="rect">
            <a:avLst/>
          </a:prstGeom>
        </p:spPr>
      </p:pic>
      <p:sp>
        <p:nvSpPr>
          <p:cNvPr id="15" name="Footer Placeholder 3">
            <a:extLst>
              <a:ext uri="{FF2B5EF4-FFF2-40B4-BE49-F238E27FC236}">
                <a16:creationId xmlns:a16="http://schemas.microsoft.com/office/drawing/2014/main" id="{DE0C1277-82B6-0242-8633-0B5C91B9E317}"/>
              </a:ext>
            </a:extLst>
          </p:cNvPr>
          <p:cNvSpPr>
            <a:spLocks noGrp="1"/>
          </p:cNvSpPr>
          <p:nvPr>
            <p:ph type="ftr" sz="quarter" idx="11"/>
          </p:nvPr>
        </p:nvSpPr>
        <p:spPr>
          <a:xfrm>
            <a:off x="4385622" y="6514977"/>
            <a:ext cx="3792589" cy="365125"/>
          </a:xfrm>
        </p:spPr>
        <p:txBody>
          <a:bodyPr/>
          <a:lstStyle/>
          <a:p>
            <a:r>
              <a:rPr lang="en-US" sz="800">
                <a:solidFill>
                  <a:srgbClr val="E0E2E1">
                    <a:lumMod val="75000"/>
                  </a:srgbClr>
                </a:solidFill>
              </a:rPr>
              <a:t>Confidential – Gartner SAS Day 8/28/2019</a:t>
            </a:r>
            <a:endParaRPr lang="en-US" sz="800" dirty="0">
              <a:solidFill>
                <a:srgbClr val="E0E2E1">
                  <a:lumMod val="75000"/>
                </a:srgbClr>
              </a:solidFill>
            </a:endParaRPr>
          </a:p>
        </p:txBody>
      </p:sp>
      <p:sp>
        <p:nvSpPr>
          <p:cNvPr id="16" name="Slide Number Placeholder 3">
            <a:extLst>
              <a:ext uri="{FF2B5EF4-FFF2-40B4-BE49-F238E27FC236}">
                <a16:creationId xmlns:a16="http://schemas.microsoft.com/office/drawing/2014/main" id="{ADECFE24-2F6D-8742-B4D4-F887852B7498}"/>
              </a:ext>
            </a:extLst>
          </p:cNvPr>
          <p:cNvSpPr>
            <a:spLocks noGrp="1"/>
          </p:cNvSpPr>
          <p:nvPr>
            <p:ph type="sldNum" sz="quarter" idx="4"/>
          </p:nvPr>
        </p:nvSpPr>
        <p:spPr>
          <a:xfrm>
            <a:off x="3807059" y="6507623"/>
            <a:ext cx="578563"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a:solidFill>
                  <a:schemeClr val="tx1">
                    <a:tint val="75000"/>
                  </a:schemeClr>
                </a:solidFill>
                <a:latin typeface="Oracle Sans" panose="020B0503020204020204" pitchFamily="34" charset="0"/>
                <a:cs typeface="Oracle Sans" panose="020B0503020204020204" pitchFamily="34" charset="0"/>
              </a:defRPr>
            </a:lvl1pPr>
          </a:lstStyle>
          <a:p>
            <a:fld id="{D440507A-669E-A943-A4A7-E531D638091A}" type="slidenum">
              <a:rPr lang="en-US" smtClean="0">
                <a:solidFill>
                  <a:srgbClr val="4E3629">
                    <a:tint val="75000"/>
                  </a:srgbClr>
                </a:solidFill>
              </a:rPr>
              <a:pPr/>
              <a:t>‹N°›</a:t>
            </a:fld>
            <a:endParaRPr lang="en-US" dirty="0">
              <a:solidFill>
                <a:srgbClr val="4E3629">
                  <a:tint val="75000"/>
                </a:srgbClr>
              </a:solidFill>
            </a:endParaRPr>
          </a:p>
        </p:txBody>
      </p:sp>
    </p:spTree>
    <p:extLst>
      <p:ext uri="{BB962C8B-B14F-4D97-AF65-F5344CB8AC3E}">
        <p14:creationId xmlns:p14="http://schemas.microsoft.com/office/powerpoint/2010/main" val="2997272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029ECE34-4983-894D-BEFD-EA2E2F154829}"/>
              </a:ext>
            </a:extLst>
          </p:cNvPr>
          <p:cNvSpPr>
            <a:spLocks noGrp="1"/>
          </p:cNvSpPr>
          <p:nvPr>
            <p:ph type="ftr" sz="quarter" idx="11"/>
          </p:nvPr>
        </p:nvSpPr>
        <p:spPr>
          <a:xfrm>
            <a:off x="1416763" y="6514977"/>
            <a:ext cx="3792589" cy="365125"/>
          </a:xfrm>
        </p:spPr>
        <p:txBody>
          <a:bodyPr/>
          <a:lstStyle/>
          <a:p>
            <a:r>
              <a:rPr lang="en-US" sz="800">
                <a:solidFill>
                  <a:srgbClr val="E0E2E1">
                    <a:lumMod val="75000"/>
                  </a:srgbClr>
                </a:solidFill>
              </a:rPr>
              <a:t>Confidential – Gartner SAS Day 8/28/2019</a:t>
            </a:r>
            <a:endParaRPr lang="en-US" sz="800" dirty="0">
              <a:solidFill>
                <a:srgbClr val="E0E2E1">
                  <a:lumMod val="75000"/>
                </a:srgbClr>
              </a:solidFill>
            </a:endParaRPr>
          </a:p>
        </p:txBody>
      </p:sp>
      <p:sp>
        <p:nvSpPr>
          <p:cNvPr id="8" name="Slide Number Placeholder 3">
            <a:extLst>
              <a:ext uri="{FF2B5EF4-FFF2-40B4-BE49-F238E27FC236}">
                <a16:creationId xmlns:a16="http://schemas.microsoft.com/office/drawing/2014/main" id="{E353CCC5-BFC5-4D43-A07B-C0D30E5F9D77}"/>
              </a:ext>
            </a:extLst>
          </p:cNvPr>
          <p:cNvSpPr>
            <a:spLocks noGrp="1"/>
          </p:cNvSpPr>
          <p:nvPr>
            <p:ph type="sldNum" sz="quarter" idx="4"/>
          </p:nvPr>
        </p:nvSpPr>
        <p:spPr>
          <a:xfrm>
            <a:off x="838200" y="6507623"/>
            <a:ext cx="578563"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a:solidFill>
                  <a:schemeClr val="tx1">
                    <a:tint val="75000"/>
                  </a:schemeClr>
                </a:solidFill>
                <a:latin typeface="Oracle Sans" panose="020B0503020204020204" pitchFamily="34" charset="0"/>
                <a:cs typeface="Oracle Sans" panose="020B0503020204020204" pitchFamily="34" charset="0"/>
              </a:defRPr>
            </a:lvl1pPr>
          </a:lstStyle>
          <a:p>
            <a:fld id="{D440507A-669E-A943-A4A7-E531D638091A}" type="slidenum">
              <a:rPr lang="en-US" smtClean="0">
                <a:solidFill>
                  <a:srgbClr val="4E3629">
                    <a:tint val="75000"/>
                  </a:srgbClr>
                </a:solidFill>
              </a:rPr>
              <a:pPr/>
              <a:t>‹N°›</a:t>
            </a:fld>
            <a:endParaRPr lang="en-US" dirty="0">
              <a:solidFill>
                <a:srgbClr val="4E3629">
                  <a:tint val="75000"/>
                </a:srgbClr>
              </a:solidFill>
            </a:endParaRPr>
          </a:p>
        </p:txBody>
      </p:sp>
    </p:spTree>
    <p:extLst>
      <p:ext uri="{BB962C8B-B14F-4D97-AF65-F5344CB8AC3E}">
        <p14:creationId xmlns:p14="http://schemas.microsoft.com/office/powerpoint/2010/main" val="4079554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ark Cover ">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AA8E5EA-5030-48C4-99E7-E61D164BD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85429" y="3138723"/>
            <a:ext cx="4421144" cy="580554"/>
          </a:xfrm>
          <a:prstGeom prst="rect">
            <a:avLst/>
          </a:prstGeom>
        </p:spPr>
      </p:pic>
      <p:pic>
        <p:nvPicPr>
          <p:cNvPr id="25" name="Picture 24">
            <a:extLst>
              <a:ext uri="{FF2B5EF4-FFF2-40B4-BE49-F238E27FC236}">
                <a16:creationId xmlns:a16="http://schemas.microsoft.com/office/drawing/2014/main" id="{F198333D-FF3E-E64D-8889-26B8EFCA2684}"/>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50667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ark Quote with picture">
    <p:spTree>
      <p:nvGrpSpPr>
        <p:cNvPr id="1" name=""/>
        <p:cNvGrpSpPr/>
        <p:nvPr/>
      </p:nvGrpSpPr>
      <p:grpSpPr>
        <a:xfrm>
          <a:off x="0" y="0"/>
          <a:ext cx="0" cy="0"/>
          <a:chOff x="0" y="0"/>
          <a:chExt cx="0" cy="0"/>
        </a:xfrm>
      </p:grpSpPr>
      <p:pic>
        <p:nvPicPr>
          <p:cNvPr id="9" name="Picture 8" descr="A person looking at the camera&#10;&#10;Description automatically generated">
            <a:extLst>
              <a:ext uri="{FF2B5EF4-FFF2-40B4-BE49-F238E27FC236}">
                <a16:creationId xmlns:a16="http://schemas.microsoft.com/office/drawing/2014/main" id="{4E879062-D42A-C24B-9506-CFFED71D4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54000"/>
            <a:ext cx="5133848" cy="6626102"/>
          </a:xfrm>
          <a:prstGeom prst="rect">
            <a:avLst/>
          </a:prstGeom>
        </p:spPr>
      </p:pic>
      <p:sp>
        <p:nvSpPr>
          <p:cNvPr id="6" name="Picture Placeholder 5">
            <a:extLst>
              <a:ext uri="{FF2B5EF4-FFF2-40B4-BE49-F238E27FC236}">
                <a16:creationId xmlns:a16="http://schemas.microsoft.com/office/drawing/2014/main" id="{DBBD2CF4-1E90-A941-8678-001223FD4124}"/>
              </a:ext>
            </a:extLst>
          </p:cNvPr>
          <p:cNvSpPr>
            <a:spLocks noGrp="1"/>
          </p:cNvSpPr>
          <p:nvPr>
            <p:ph type="pic" sz="quarter" idx="10"/>
          </p:nvPr>
        </p:nvSpPr>
        <p:spPr>
          <a:xfrm>
            <a:off x="0" y="254000"/>
            <a:ext cx="5133848" cy="6626102"/>
          </a:xfrm>
        </p:spPr>
        <p:txBody>
          <a:bodyPr/>
          <a:lstStyle/>
          <a:p>
            <a:r>
              <a:rPr lang="en-US"/>
              <a:t>Click icon to add picture</a:t>
            </a:r>
            <a:endParaRPr lang="en-US" dirty="0"/>
          </a:p>
        </p:txBody>
      </p:sp>
      <p:pic>
        <p:nvPicPr>
          <p:cNvPr id="16" name="Picture 15">
            <a:extLst>
              <a:ext uri="{FF2B5EF4-FFF2-40B4-BE49-F238E27FC236}">
                <a16:creationId xmlns:a16="http://schemas.microsoft.com/office/drawing/2014/main" id="{655F6A82-2EA7-8C4D-A6E5-04849642E6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3" name="Text Placeholder 26">
            <a:extLst>
              <a:ext uri="{FF2B5EF4-FFF2-40B4-BE49-F238E27FC236}">
                <a16:creationId xmlns:a16="http://schemas.microsoft.com/office/drawing/2014/main" id="{660ACC2F-3202-B843-8CCE-6D68B1FAAF09}"/>
              </a:ext>
            </a:extLst>
          </p:cNvPr>
          <p:cNvSpPr>
            <a:spLocks noGrp="1"/>
          </p:cNvSpPr>
          <p:nvPr>
            <p:ph type="body" sz="quarter" idx="11" hasCustomPrompt="1"/>
          </p:nvPr>
        </p:nvSpPr>
        <p:spPr>
          <a:xfrm>
            <a:off x="5430545" y="4661231"/>
            <a:ext cx="6315978" cy="218094"/>
          </a:xfrm>
        </p:spPr>
        <p:txBody>
          <a:bodyPr lIns="0">
            <a:noAutofit/>
          </a:bodyPr>
          <a:lstStyle>
            <a:lvl1pPr algn="l" fontAlgn="t">
              <a:lnSpc>
                <a:spcPct val="100000"/>
              </a:lnSpc>
              <a:spcBef>
                <a:spcPts val="0"/>
              </a:spcBef>
              <a:defRPr sz="1400" b="1" i="0">
                <a:latin typeface="Oracle Sans" panose="020B0503020204020204" pitchFamily="34" charset="0"/>
                <a:cs typeface="Oracle Sans" panose="020B0503020204020204" pitchFamily="34" charset="0"/>
              </a:defRPr>
            </a:lvl1pPr>
          </a:lstStyle>
          <a:p>
            <a:pPr lvl="0"/>
            <a:r>
              <a:rPr lang="en-US" dirty="0"/>
              <a:t>Lorem ipsum</a:t>
            </a:r>
          </a:p>
        </p:txBody>
      </p:sp>
      <p:sp>
        <p:nvSpPr>
          <p:cNvPr id="24" name="Text Placeholder 26">
            <a:extLst>
              <a:ext uri="{FF2B5EF4-FFF2-40B4-BE49-F238E27FC236}">
                <a16:creationId xmlns:a16="http://schemas.microsoft.com/office/drawing/2014/main" id="{63B99ECC-6BAB-0F46-88DB-26AE80C3434F}"/>
              </a:ext>
            </a:extLst>
          </p:cNvPr>
          <p:cNvSpPr>
            <a:spLocks noGrp="1"/>
          </p:cNvSpPr>
          <p:nvPr>
            <p:ph type="body" sz="quarter" idx="12" hasCustomPrompt="1"/>
          </p:nvPr>
        </p:nvSpPr>
        <p:spPr>
          <a:xfrm>
            <a:off x="5430545" y="4952092"/>
            <a:ext cx="6315978" cy="528567"/>
          </a:xfrm>
        </p:spPr>
        <p:txBody>
          <a:bodyPr lIns="0">
            <a:noAutofit/>
          </a:bodyPr>
          <a:lstStyle>
            <a:lvl1pPr algn="l" fontAlgn="t">
              <a:lnSpc>
                <a:spcPct val="100000"/>
              </a:lnSpc>
              <a:spcBef>
                <a:spcPts val="0"/>
              </a:spcBef>
              <a:defRPr sz="1300"/>
            </a:lvl1pPr>
          </a:lstStyle>
          <a:p>
            <a:pPr lvl="0"/>
            <a:r>
              <a:rPr lang="en-US" dirty="0"/>
              <a:t>Click to edit Master text styles</a:t>
            </a:r>
          </a:p>
        </p:txBody>
      </p:sp>
      <p:sp>
        <p:nvSpPr>
          <p:cNvPr id="25" name="Text Placeholder 26">
            <a:extLst>
              <a:ext uri="{FF2B5EF4-FFF2-40B4-BE49-F238E27FC236}">
                <a16:creationId xmlns:a16="http://schemas.microsoft.com/office/drawing/2014/main" id="{38A1ED2B-730F-DB4F-8E69-07241B0A4987}"/>
              </a:ext>
            </a:extLst>
          </p:cNvPr>
          <p:cNvSpPr>
            <a:spLocks noGrp="1"/>
          </p:cNvSpPr>
          <p:nvPr>
            <p:ph type="body" sz="quarter" idx="13" hasCustomPrompt="1"/>
          </p:nvPr>
        </p:nvSpPr>
        <p:spPr>
          <a:xfrm>
            <a:off x="5430545" y="1850640"/>
            <a:ext cx="6315978" cy="2251537"/>
          </a:xfrm>
        </p:spPr>
        <p:txBody>
          <a:bodyPr lIns="0">
            <a:noAutofit/>
          </a:bodyPr>
          <a:lstStyle>
            <a:lvl1pPr algn="l" fontAlgn="t">
              <a:lnSpc>
                <a:spcPct val="100000"/>
              </a:lnSpc>
              <a:spcBef>
                <a:spcPts val="0"/>
              </a:spcBef>
              <a:defRPr sz="3200" b="1" i="0">
                <a:latin typeface="Oracle Sans" panose="020B0503020204020204" pitchFamily="34" charset="0"/>
                <a:cs typeface="Oracle Sans" panose="020B0503020204020204" pitchFamily="34" charset="0"/>
              </a:defRPr>
            </a:lvl1pPr>
          </a:lstStyle>
          <a:p>
            <a:pPr lvl="0"/>
            <a:r>
              <a:rPr lang="en-US" dirty="0"/>
              <a:t>“Click to type customer or partner quote surrounded by quotation marks.”</a:t>
            </a:r>
          </a:p>
        </p:txBody>
      </p:sp>
      <p:sp>
        <p:nvSpPr>
          <p:cNvPr id="26" name="Rectangle 25">
            <a:extLst>
              <a:ext uri="{FF2B5EF4-FFF2-40B4-BE49-F238E27FC236}">
                <a16:creationId xmlns:a16="http://schemas.microsoft.com/office/drawing/2014/main" id="{244BA13B-C4E1-6147-9655-829168E5E266}"/>
              </a:ext>
            </a:extLst>
          </p:cNvPr>
          <p:cNvSpPr/>
          <p:nvPr userDrawn="1"/>
        </p:nvSpPr>
        <p:spPr>
          <a:xfrm>
            <a:off x="5430546" y="4342634"/>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a:extLst>
              <a:ext uri="{FF2B5EF4-FFF2-40B4-BE49-F238E27FC236}">
                <a16:creationId xmlns:a16="http://schemas.microsoft.com/office/drawing/2014/main" id="{65E12F1A-E94A-0A4E-A3DE-82C421C99EAB}"/>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B43CB455-1A65-4638-A09E-2C0F6C4FCCD1}"/>
              </a:ext>
            </a:extLst>
          </p:cNvPr>
          <p:cNvSpPr>
            <a:spLocks noGrp="1"/>
          </p:cNvSpPr>
          <p:nvPr>
            <p:ph type="ftr" sz="quarter" idx="14"/>
          </p:nvPr>
        </p:nvSpPr>
        <p:spPr/>
        <p:txBody>
          <a:bodyPr/>
          <a:lstStyle>
            <a:lvl1pPr>
              <a:defRPr>
                <a:solidFill>
                  <a:srgbClr val="8B8078"/>
                </a:solidFill>
              </a:defRPr>
            </a:lvl1p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9DAE9173-05B9-4760-A0D4-0486B3A93CA4}"/>
              </a:ext>
            </a:extLst>
          </p:cNvPr>
          <p:cNvSpPr>
            <a:spLocks noGrp="1"/>
          </p:cNvSpPr>
          <p:nvPr>
            <p:ph type="sldNum" sz="quarter" idx="15"/>
          </p:nvPr>
        </p:nvSpPr>
        <p:spPr/>
        <p:txBody>
          <a:bodyPr/>
          <a:lstStyle>
            <a:lvl1pPr>
              <a:defRPr>
                <a:solidFill>
                  <a:srgbClr val="8B8078"/>
                </a:solidFill>
              </a:defRPr>
            </a:lvl1p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48906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ark Title-only">
    <p:spTree>
      <p:nvGrpSpPr>
        <p:cNvPr id="1" name=""/>
        <p:cNvGrpSpPr/>
        <p:nvPr/>
      </p:nvGrpSpPr>
      <p:grpSpPr>
        <a:xfrm>
          <a:off x="0" y="0"/>
          <a:ext cx="0" cy="0"/>
          <a:chOff x="0" y="0"/>
          <a:chExt cx="0" cy="0"/>
        </a:xfrm>
      </p:grpSpPr>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9887834"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Only Layout </a:t>
            </a:r>
          </a:p>
        </p:txBody>
      </p:sp>
      <p:pic>
        <p:nvPicPr>
          <p:cNvPr id="11" name="Picture 10">
            <a:extLst>
              <a:ext uri="{FF2B5EF4-FFF2-40B4-BE49-F238E27FC236}">
                <a16:creationId xmlns:a16="http://schemas.microsoft.com/office/drawing/2014/main" id="{B0C223D3-3779-694D-9236-3435D6E11ECE}"/>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3" name="Footer Placeholder 2">
            <a:extLst>
              <a:ext uri="{FF2B5EF4-FFF2-40B4-BE49-F238E27FC236}">
                <a16:creationId xmlns:a16="http://schemas.microsoft.com/office/drawing/2014/main" id="{AD0E89AB-6D7B-49FA-ADF8-AEB0F9FA1872}"/>
              </a:ext>
            </a:extLst>
          </p:cNvPr>
          <p:cNvSpPr>
            <a:spLocks noGrp="1"/>
          </p:cNvSpPr>
          <p:nvPr>
            <p:ph type="ftr" sz="quarter" idx="10"/>
          </p:nvPr>
        </p:nvSpPr>
        <p:spPr/>
        <p:txBody>
          <a:bodyPr/>
          <a:lstStyle/>
          <a:p>
            <a:r>
              <a:rPr lang="en-US">
                <a:solidFill>
                  <a:prstClr val="white"/>
                </a:solidFill>
              </a:rPr>
              <a:t>Confidential – © 2019 Oracle Internal/Restricted/Highly Restricted</a:t>
            </a:r>
            <a:endParaRPr lang="en-US" dirty="0">
              <a:solidFill>
                <a:prstClr val="white"/>
              </a:solidFill>
            </a:endParaRPr>
          </a:p>
        </p:txBody>
      </p:sp>
      <p:sp>
        <p:nvSpPr>
          <p:cNvPr id="4" name="Slide Number Placeholder 3">
            <a:extLst>
              <a:ext uri="{FF2B5EF4-FFF2-40B4-BE49-F238E27FC236}">
                <a16:creationId xmlns:a16="http://schemas.microsoft.com/office/drawing/2014/main" id="{EE2E12AE-F7AF-4B88-AFCF-500337337FB2}"/>
              </a:ext>
            </a:extLst>
          </p:cNvPr>
          <p:cNvSpPr>
            <a:spLocks noGrp="1"/>
          </p:cNvSpPr>
          <p:nvPr>
            <p:ph type="sldNum" sz="quarter" idx="11"/>
          </p:nvPr>
        </p:nvSpPr>
        <p:spPr/>
        <p:txBody>
          <a:bodyPr/>
          <a:lstStyle/>
          <a:p>
            <a:fld id="{7C371504-33D9-B044-8C50-620C44A06CB1}"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168368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ark Quote with picture border">
    <p:spTree>
      <p:nvGrpSpPr>
        <p:cNvPr id="1" name=""/>
        <p:cNvGrpSpPr/>
        <p:nvPr/>
      </p:nvGrpSpPr>
      <p:grpSpPr>
        <a:xfrm>
          <a:off x="0" y="0"/>
          <a:ext cx="0" cy="0"/>
          <a:chOff x="0" y="0"/>
          <a:chExt cx="0" cy="0"/>
        </a:xfrm>
      </p:grpSpPr>
      <p:pic>
        <p:nvPicPr>
          <p:cNvPr id="15" name="Picture 14" descr="A picture containing table, elephant, clothing&#10;&#10;Description automatically generated">
            <a:extLst>
              <a:ext uri="{FF2B5EF4-FFF2-40B4-BE49-F238E27FC236}">
                <a16:creationId xmlns:a16="http://schemas.microsoft.com/office/drawing/2014/main" id="{94572D87-83C8-4D60-8607-77A65AD0003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1" y="0"/>
            <a:ext cx="12192000" cy="6858000"/>
          </a:xfrm>
          <a:custGeom>
            <a:avLst/>
            <a:gdLst>
              <a:gd name="connsiteX0" fmla="*/ 722372 w 12192000"/>
              <a:gd name="connsiteY0" fmla="*/ 587874 h 6858000"/>
              <a:gd name="connsiteX1" fmla="*/ 722372 w 12192000"/>
              <a:gd name="connsiteY1" fmla="*/ 6270127 h 6858000"/>
              <a:gd name="connsiteX2" fmla="*/ 11469630 w 12192000"/>
              <a:gd name="connsiteY2" fmla="*/ 6270127 h 6858000"/>
              <a:gd name="connsiteX3" fmla="*/ 1146963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22372" y="587874"/>
                </a:moveTo>
                <a:lnTo>
                  <a:pt x="722372" y="6270127"/>
                </a:lnTo>
                <a:lnTo>
                  <a:pt x="11469630" y="6270127"/>
                </a:lnTo>
                <a:lnTo>
                  <a:pt x="11469630" y="587874"/>
                </a:lnTo>
                <a:close/>
                <a:moveTo>
                  <a:pt x="0" y="0"/>
                </a:moveTo>
                <a:lnTo>
                  <a:pt x="12192000" y="0"/>
                </a:lnTo>
                <a:lnTo>
                  <a:pt x="12192000" y="6858000"/>
                </a:lnTo>
                <a:lnTo>
                  <a:pt x="0" y="6858000"/>
                </a:lnTo>
                <a:close/>
              </a:path>
            </a:pathLst>
          </a:custGeom>
        </p:spPr>
      </p:pic>
      <p:sp>
        <p:nvSpPr>
          <p:cNvPr id="20" name="Rectangle 19">
            <a:extLst>
              <a:ext uri="{FF2B5EF4-FFF2-40B4-BE49-F238E27FC236}">
                <a16:creationId xmlns:a16="http://schemas.microsoft.com/office/drawing/2014/main" id="{DD9CD23F-B20E-499B-9C1E-B99F1B32803A}"/>
              </a:ext>
            </a:extLst>
          </p:cNvPr>
          <p:cNvSpPr/>
          <p:nvPr userDrawn="1"/>
        </p:nvSpPr>
        <p:spPr>
          <a:xfrm>
            <a:off x="11356270" y="54944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6">
            <a:extLst>
              <a:ext uri="{FF2B5EF4-FFF2-40B4-BE49-F238E27FC236}">
                <a16:creationId xmlns:a16="http://schemas.microsoft.com/office/drawing/2014/main" id="{F65EEC53-4965-C84F-B964-03CF9283D56E}"/>
              </a:ext>
            </a:extLst>
          </p:cNvPr>
          <p:cNvSpPr>
            <a:spLocks noGrp="1"/>
          </p:cNvSpPr>
          <p:nvPr>
            <p:ph type="body" sz="quarter" idx="13" hasCustomPrompt="1"/>
          </p:nvPr>
        </p:nvSpPr>
        <p:spPr>
          <a:xfrm>
            <a:off x="1530214" y="1101969"/>
            <a:ext cx="9165494" cy="2975336"/>
          </a:xfrm>
        </p:spPr>
        <p:txBody>
          <a:bodyPr lIns="0" anchor="b">
            <a:noAutofit/>
          </a:bodyPr>
          <a:lstStyle>
            <a:lvl1pPr algn="l" fontAlgn="t">
              <a:lnSpc>
                <a:spcPct val="100000"/>
              </a:lnSpc>
              <a:spcBef>
                <a:spcPts val="0"/>
              </a:spcBef>
              <a:defRPr sz="3200" b="1" i="0">
                <a:latin typeface="Oracle Sans" panose="020B0503020204020204" pitchFamily="34" charset="0"/>
                <a:cs typeface="Oracle Sans" panose="020B0503020204020204" pitchFamily="34" charset="0"/>
              </a:defRPr>
            </a:lvl1pPr>
          </a:lstStyle>
          <a:p>
            <a:pPr lvl="0"/>
            <a:r>
              <a:rPr lang="en-US" dirty="0"/>
              <a:t>“Click to type customer or partner quote surrounded by quotation marks.”</a:t>
            </a:r>
          </a:p>
        </p:txBody>
      </p:sp>
      <p:sp>
        <p:nvSpPr>
          <p:cNvPr id="31" name="Text Placeholder 26">
            <a:extLst>
              <a:ext uri="{FF2B5EF4-FFF2-40B4-BE49-F238E27FC236}">
                <a16:creationId xmlns:a16="http://schemas.microsoft.com/office/drawing/2014/main" id="{1AD57123-EDE4-954E-9A92-A3083B1C27DB}"/>
              </a:ext>
            </a:extLst>
          </p:cNvPr>
          <p:cNvSpPr>
            <a:spLocks noGrp="1"/>
          </p:cNvSpPr>
          <p:nvPr>
            <p:ph type="body" sz="quarter" idx="14" hasCustomPrompt="1"/>
          </p:nvPr>
        </p:nvSpPr>
        <p:spPr>
          <a:xfrm>
            <a:off x="1530214" y="4637490"/>
            <a:ext cx="9165494" cy="249346"/>
          </a:xfrm>
        </p:spPr>
        <p:txBody>
          <a:bodyPr lIns="0">
            <a:noAutofit/>
          </a:bodyPr>
          <a:lstStyle>
            <a:lvl1pPr algn="l" fontAlgn="t">
              <a:lnSpc>
                <a:spcPct val="100000"/>
              </a:lnSpc>
              <a:spcBef>
                <a:spcPts val="0"/>
              </a:spcBef>
              <a:defRPr sz="1400" b="1" i="0">
                <a:latin typeface="Oracle Sans" panose="020B0503020204020204" pitchFamily="34" charset="0"/>
                <a:cs typeface="Oracle Sans" panose="020B0503020204020204" pitchFamily="34" charset="0"/>
              </a:defRPr>
            </a:lvl1pPr>
          </a:lstStyle>
          <a:p>
            <a:pPr lvl="0"/>
            <a:r>
              <a:rPr lang="en-US" dirty="0"/>
              <a:t>Lorem ipsum</a:t>
            </a:r>
          </a:p>
        </p:txBody>
      </p:sp>
      <p:sp>
        <p:nvSpPr>
          <p:cNvPr id="32" name="Text Placeholder 26">
            <a:extLst>
              <a:ext uri="{FF2B5EF4-FFF2-40B4-BE49-F238E27FC236}">
                <a16:creationId xmlns:a16="http://schemas.microsoft.com/office/drawing/2014/main" id="{9C7075CA-1EBB-F043-A768-C5814E1A5845}"/>
              </a:ext>
            </a:extLst>
          </p:cNvPr>
          <p:cNvSpPr>
            <a:spLocks noGrp="1"/>
          </p:cNvSpPr>
          <p:nvPr>
            <p:ph type="body" sz="quarter" idx="12" hasCustomPrompt="1"/>
          </p:nvPr>
        </p:nvSpPr>
        <p:spPr>
          <a:xfrm>
            <a:off x="1530214" y="4962513"/>
            <a:ext cx="9165494" cy="528567"/>
          </a:xfrm>
        </p:spPr>
        <p:txBody>
          <a:bodyPr lIns="0">
            <a:noAutofit/>
          </a:bodyPr>
          <a:lstStyle>
            <a:lvl1pPr algn="l" fontAlgn="t">
              <a:lnSpc>
                <a:spcPct val="100000"/>
              </a:lnSpc>
              <a:spcBef>
                <a:spcPts val="0"/>
              </a:spcBef>
              <a:defRPr sz="1300"/>
            </a:lvl1pPr>
          </a:lstStyle>
          <a:p>
            <a:pPr lvl="0"/>
            <a:r>
              <a:rPr lang="en-US" dirty="0"/>
              <a:t>Click to edit Master text styles</a:t>
            </a:r>
          </a:p>
        </p:txBody>
      </p:sp>
      <p:sp>
        <p:nvSpPr>
          <p:cNvPr id="33" name="Rectangle 32">
            <a:extLst>
              <a:ext uri="{FF2B5EF4-FFF2-40B4-BE49-F238E27FC236}">
                <a16:creationId xmlns:a16="http://schemas.microsoft.com/office/drawing/2014/main" id="{BBC74FEB-50F3-4449-8D38-99E6A564975E}"/>
              </a:ext>
            </a:extLst>
          </p:cNvPr>
          <p:cNvSpPr/>
          <p:nvPr userDrawn="1"/>
        </p:nvSpPr>
        <p:spPr>
          <a:xfrm>
            <a:off x="1530215" y="4303694"/>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1">
            <a:extLst>
              <a:ext uri="{FF2B5EF4-FFF2-40B4-BE49-F238E27FC236}">
                <a16:creationId xmlns:a16="http://schemas.microsoft.com/office/drawing/2014/main" id="{066F36DD-F60C-6546-9240-CD06125DC852}"/>
              </a:ext>
            </a:extLst>
          </p:cNvPr>
          <p:cNvSpPr>
            <a:spLocks noGrp="1"/>
          </p:cNvSpPr>
          <p:nvPr>
            <p:ph type="sldNum" sz="quarter" idx="16"/>
          </p:nvPr>
        </p:nvSpPr>
        <p:spPr>
          <a:xfrm>
            <a:off x="633621" y="6349718"/>
            <a:ext cx="386443" cy="365125"/>
          </a:xfrm>
          <a:prstGeom prst="rect">
            <a:avLst/>
          </a:prstGeom>
        </p:spPr>
        <p:txBody>
          <a:bodyPr/>
          <a:lstStyle>
            <a:lvl1pPr>
              <a:defRPr>
                <a:solidFill>
                  <a:schemeClr val="bg1"/>
                </a:solidFill>
              </a:defRPr>
            </a:lvl1pPr>
          </a:lstStyle>
          <a:p>
            <a:fld id="{7C371504-33D9-B044-8C50-620C44A06CB1}" type="slidenum">
              <a:rPr lang="en-US" smtClean="0"/>
              <a:pPr/>
              <a:t>‹N°›</a:t>
            </a:fld>
            <a:endParaRPr lang="en-US" dirty="0"/>
          </a:p>
        </p:txBody>
      </p:sp>
      <p:sp>
        <p:nvSpPr>
          <p:cNvPr id="13" name="TextBox 12">
            <a:extLst>
              <a:ext uri="{FF2B5EF4-FFF2-40B4-BE49-F238E27FC236}">
                <a16:creationId xmlns:a16="http://schemas.microsoft.com/office/drawing/2014/main" id="{9272AD2F-E71B-794F-9680-FD1C16A0CC41}"/>
              </a:ext>
            </a:extLst>
          </p:cNvPr>
          <p:cNvSpPr txBox="1"/>
          <p:nvPr userDrawn="1"/>
        </p:nvSpPr>
        <p:spPr>
          <a:xfrm>
            <a:off x="944517" y="6415801"/>
            <a:ext cx="5984422" cy="246221"/>
          </a:xfrm>
          <a:prstGeom prst="rect">
            <a:avLst/>
          </a:prstGeom>
          <a:noFill/>
        </p:spPr>
        <p:txBody>
          <a:bodyPr wrap="square" rtlCol="0" anchor="ctr">
            <a:spAutoFit/>
          </a:bodyPr>
          <a:lstStyle/>
          <a:p>
            <a:r>
              <a:rPr lang="en-US" sz="1000" dirty="0">
                <a:solidFill>
                  <a:schemeClr val="bg1"/>
                </a:solidFill>
                <a:latin typeface="Oracle Sans" panose="020B0503020204020204" pitchFamily="34" charset="0"/>
                <a:cs typeface="Oracle Sans" panose="020B0503020204020204" pitchFamily="34" charset="0"/>
              </a:rPr>
              <a:t>Confidential – Oracle Internal/Restricted/Highly Restricted</a:t>
            </a:r>
          </a:p>
        </p:txBody>
      </p:sp>
      <p:pic>
        <p:nvPicPr>
          <p:cNvPr id="14" name="Picture 13">
            <a:extLst>
              <a:ext uri="{FF2B5EF4-FFF2-40B4-BE49-F238E27FC236}">
                <a16:creationId xmlns:a16="http://schemas.microsoft.com/office/drawing/2014/main" id="{5AF76C97-2AF5-984A-BC34-9ABED7D388BA}"/>
              </a:ext>
            </a:extLst>
          </p:cNvPr>
          <p:cNvPicPr>
            <a:picLocks noChangeAspect="1"/>
          </p:cNvPicPr>
          <p:nvPr userDrawn="1"/>
        </p:nvPicPr>
        <p:blipFill>
          <a:blip r:embed="rId3"/>
          <a:stretch>
            <a:fillRect/>
          </a:stretch>
        </p:blipFill>
        <p:spPr>
          <a:xfrm>
            <a:off x="11437197" y="6356350"/>
            <a:ext cx="501650" cy="501650"/>
          </a:xfrm>
          <a:prstGeom prst="rect">
            <a:avLst/>
          </a:prstGeom>
        </p:spPr>
      </p:pic>
    </p:spTree>
    <p:extLst>
      <p:ext uri="{BB962C8B-B14F-4D97-AF65-F5344CB8AC3E}">
        <p14:creationId xmlns:p14="http://schemas.microsoft.com/office/powerpoint/2010/main" val="69020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ark Title-only">
    <p:spTree>
      <p:nvGrpSpPr>
        <p:cNvPr id="1" name=""/>
        <p:cNvGrpSpPr/>
        <p:nvPr/>
      </p:nvGrpSpPr>
      <p:grpSpPr>
        <a:xfrm>
          <a:off x="0" y="0"/>
          <a:ext cx="0" cy="0"/>
          <a:chOff x="0" y="0"/>
          <a:chExt cx="0" cy="0"/>
        </a:xfrm>
      </p:grpSpPr>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9887834"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Only Layout </a:t>
            </a:r>
          </a:p>
        </p:txBody>
      </p:sp>
      <p:pic>
        <p:nvPicPr>
          <p:cNvPr id="11" name="Picture 10">
            <a:extLst>
              <a:ext uri="{FF2B5EF4-FFF2-40B4-BE49-F238E27FC236}">
                <a16:creationId xmlns:a16="http://schemas.microsoft.com/office/drawing/2014/main" id="{B0C223D3-3779-694D-9236-3435D6E11ECE}"/>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3" name="Footer Placeholder 2">
            <a:extLst>
              <a:ext uri="{FF2B5EF4-FFF2-40B4-BE49-F238E27FC236}">
                <a16:creationId xmlns:a16="http://schemas.microsoft.com/office/drawing/2014/main" id="{AD0E89AB-6D7B-49FA-ADF8-AEB0F9FA1872}"/>
              </a:ext>
            </a:extLst>
          </p:cNvPr>
          <p:cNvSpPr>
            <a:spLocks noGrp="1"/>
          </p:cNvSpPr>
          <p:nvPr>
            <p:ph type="ftr" sz="quarter" idx="10"/>
          </p:nvPr>
        </p:nvSpPr>
        <p:spPr/>
        <p:txBody>
          <a:bodyPr/>
          <a:lstStyle/>
          <a:p>
            <a:r>
              <a:rPr lang="en-US"/>
              <a:t>Confidential – © 2019 Oracle Internal/Restricted/Highly Restricted</a:t>
            </a:r>
            <a:endParaRPr lang="en-US" dirty="0"/>
          </a:p>
        </p:txBody>
      </p:sp>
      <p:sp>
        <p:nvSpPr>
          <p:cNvPr id="4" name="Slide Number Placeholder 3">
            <a:extLst>
              <a:ext uri="{FF2B5EF4-FFF2-40B4-BE49-F238E27FC236}">
                <a16:creationId xmlns:a16="http://schemas.microsoft.com/office/drawing/2014/main" id="{EE2E12AE-F7AF-4B88-AFCF-500337337FB2}"/>
              </a:ext>
            </a:extLst>
          </p:cNvPr>
          <p:cNvSpPr>
            <a:spLocks noGrp="1"/>
          </p:cNvSpPr>
          <p:nvPr>
            <p:ph type="sldNum" sz="quarter" idx="11"/>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05663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Dark Title and single column">
    <p:spTree>
      <p:nvGrpSpPr>
        <p:cNvPr id="1" name=""/>
        <p:cNvGrpSpPr/>
        <p:nvPr/>
      </p:nvGrpSpPr>
      <p:grpSpPr>
        <a:xfrm>
          <a:off x="0" y="0"/>
          <a:ext cx="0" cy="0"/>
          <a:chOff x="0" y="0"/>
          <a:chExt cx="0" cy="0"/>
        </a:xfrm>
      </p:grpSpPr>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9887834"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 and Subtitle Layout</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2288559"/>
            <a:ext cx="9887835" cy="3360372"/>
          </a:xfrm>
        </p:spPr>
        <p:txBody>
          <a:bodyPr lIns="0" rIns="0">
            <a:noAutofit/>
          </a:bodyPr>
          <a:lstStyle>
            <a:lvl1pPr marL="0" indent="0">
              <a:lnSpc>
                <a:spcPct val="100000"/>
              </a:lnSpc>
              <a:spcBef>
                <a:spcPts val="0"/>
              </a:spcBef>
              <a:buNone/>
              <a:defRPr sz="1800" b="0" i="0" kern="0" spc="0" baseline="0">
                <a:solidFill>
                  <a:schemeClr val="bg1">
                    <a:lumMod val="85000"/>
                  </a:schemeClr>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 </a:t>
            </a:r>
            <a:r>
              <a:rPr lang="en-US" dirty="0" err="1"/>
              <a:t>Donec</a:t>
            </a:r>
            <a:r>
              <a:rPr lang="en-US" dirty="0"/>
              <a:t> </a:t>
            </a:r>
            <a:r>
              <a:rPr lang="en-US" dirty="0" err="1"/>
              <a:t>auctor</a:t>
            </a:r>
            <a:r>
              <a:rPr lang="en-US" dirty="0"/>
              <a:t> </a:t>
            </a:r>
            <a:r>
              <a:rPr lang="en-US" dirty="0" err="1"/>
              <a:t>metus</a:t>
            </a:r>
            <a:r>
              <a:rPr lang="en-US" dirty="0"/>
              <a:t> sed </a:t>
            </a:r>
            <a:r>
              <a:rPr lang="en-US" dirty="0" err="1"/>
              <a:t>velit</a:t>
            </a:r>
            <a:r>
              <a:rPr lang="en-US" dirty="0"/>
              <a:t> </a:t>
            </a:r>
            <a:r>
              <a:rPr lang="en-US" dirty="0" err="1"/>
              <a:t>imperdiet</a:t>
            </a:r>
            <a:r>
              <a:rPr lang="en-US" dirty="0"/>
              <a:t> </a:t>
            </a:r>
            <a:r>
              <a:rPr lang="en-US" dirty="0" err="1"/>
              <a:t>consectetur</a:t>
            </a:r>
            <a:r>
              <a:rPr lang="en-US" dirty="0"/>
              <a:t>. </a:t>
            </a:r>
            <a:r>
              <a:rPr lang="en-US" dirty="0" err="1"/>
              <a:t>Aenean</a:t>
            </a:r>
            <a:r>
              <a:rPr lang="en-US" dirty="0"/>
              <a:t> et </a:t>
            </a:r>
            <a:r>
              <a:rPr lang="en-US" dirty="0" err="1"/>
              <a:t>turpis</a:t>
            </a:r>
            <a:r>
              <a:rPr lang="en-US" dirty="0"/>
              <a:t> </a:t>
            </a:r>
            <a:r>
              <a:rPr lang="en-US" dirty="0" err="1"/>
              <a:t>sapien</a:t>
            </a:r>
            <a:r>
              <a:rPr lang="en-US" dirty="0"/>
              <a:t>.</a:t>
            </a:r>
          </a:p>
        </p:txBody>
      </p:sp>
      <p:sp>
        <p:nvSpPr>
          <p:cNvPr id="10" name="Rectangle 9">
            <a:extLst>
              <a:ext uri="{FF2B5EF4-FFF2-40B4-BE49-F238E27FC236}">
                <a16:creationId xmlns:a16="http://schemas.microsoft.com/office/drawing/2014/main" id="{324354AA-8715-3B44-8031-FEACECD4374F}"/>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61078BDD-8EA2-624D-943D-2407A6AEE213}"/>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4" name="Footer Placeholder 3">
            <a:extLst>
              <a:ext uri="{FF2B5EF4-FFF2-40B4-BE49-F238E27FC236}">
                <a16:creationId xmlns:a16="http://schemas.microsoft.com/office/drawing/2014/main" id="{420263D7-266C-473E-8BFC-E503931B9349}"/>
              </a:ext>
            </a:extLst>
          </p:cNvPr>
          <p:cNvSpPr>
            <a:spLocks noGrp="1"/>
          </p:cNvSpPr>
          <p:nvPr>
            <p:ph type="ftr" sz="quarter" idx="10"/>
          </p:nvPr>
        </p:nvSpPr>
        <p:spPr/>
        <p:txBody>
          <a:bodyPr/>
          <a:lstStyle/>
          <a:p>
            <a:r>
              <a:rPr lang="en-US"/>
              <a:t>Confidential – © 2019 Oracle Internal/Restricted/Highly Restricted</a:t>
            </a:r>
            <a:endParaRPr lang="en-US" dirty="0"/>
          </a:p>
        </p:txBody>
      </p:sp>
      <p:sp>
        <p:nvSpPr>
          <p:cNvPr id="6" name="Slide Number Placeholder 5">
            <a:extLst>
              <a:ext uri="{FF2B5EF4-FFF2-40B4-BE49-F238E27FC236}">
                <a16:creationId xmlns:a16="http://schemas.microsoft.com/office/drawing/2014/main" id="{6B2E0C3C-13B8-4CC1-ABD8-21EFBE4158B2}"/>
              </a:ext>
            </a:extLst>
          </p:cNvPr>
          <p:cNvSpPr>
            <a:spLocks noGrp="1"/>
          </p:cNvSpPr>
          <p:nvPr>
            <p:ph type="sldNum" sz="quarter" idx="11"/>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286311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rk Title with two column ">
    <p:spTree>
      <p:nvGrpSpPr>
        <p:cNvPr id="1" name=""/>
        <p:cNvGrpSpPr/>
        <p:nvPr/>
      </p:nvGrpSpPr>
      <p:grpSpPr>
        <a:xfrm>
          <a:off x="0" y="0"/>
          <a:ext cx="0" cy="0"/>
          <a:chOff x="0" y="0"/>
          <a:chExt cx="0" cy="0"/>
        </a:xfrm>
      </p:grpSpPr>
      <p:pic>
        <p:nvPicPr>
          <p:cNvPr id="25" name="Picture 24" descr="A close up of an animal&#10;&#10;Description automatically generated">
            <a:extLst>
              <a:ext uri="{FF2B5EF4-FFF2-40B4-BE49-F238E27FC236}">
                <a16:creationId xmlns:a16="http://schemas.microsoft.com/office/drawing/2014/main" id="{260AB3B5-6759-364A-B98F-4622117D774F}"/>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sp>
        <p:nvSpPr>
          <p:cNvPr id="19" name="Title 1">
            <a:extLst>
              <a:ext uri="{FF2B5EF4-FFF2-40B4-BE49-F238E27FC236}">
                <a16:creationId xmlns:a16="http://schemas.microsoft.com/office/drawing/2014/main" id="{B46B041F-833F-AB4C-9680-F86574375A85}"/>
              </a:ext>
            </a:extLst>
          </p:cNvPr>
          <p:cNvSpPr>
            <a:spLocks noGrp="1"/>
          </p:cNvSpPr>
          <p:nvPr>
            <p:ph type="title" hasCustomPrompt="1"/>
          </p:nvPr>
        </p:nvSpPr>
        <p:spPr>
          <a:xfrm>
            <a:off x="768095" y="783026"/>
            <a:ext cx="10210297"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wo Content Layout</a:t>
            </a:r>
          </a:p>
        </p:txBody>
      </p:sp>
      <p:pic>
        <p:nvPicPr>
          <p:cNvPr id="26" name="Picture 25">
            <a:extLst>
              <a:ext uri="{FF2B5EF4-FFF2-40B4-BE49-F238E27FC236}">
                <a16:creationId xmlns:a16="http://schemas.microsoft.com/office/drawing/2014/main" id="{6EF88010-6F25-0949-962C-71A71BBDD28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7" name="Rectangle 26">
            <a:extLst>
              <a:ext uri="{FF2B5EF4-FFF2-40B4-BE49-F238E27FC236}">
                <a16:creationId xmlns:a16="http://schemas.microsoft.com/office/drawing/2014/main" id="{CAE5D2D5-96D0-7047-93E6-327A01072B11}"/>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3">
            <a:extLst>
              <a:ext uri="{FF2B5EF4-FFF2-40B4-BE49-F238E27FC236}">
                <a16:creationId xmlns:a16="http://schemas.microsoft.com/office/drawing/2014/main" id="{AD7BD674-7999-F54A-88FF-3F982D477532}"/>
              </a:ext>
            </a:extLst>
          </p:cNvPr>
          <p:cNvSpPr>
            <a:spLocks noGrp="1"/>
          </p:cNvSpPr>
          <p:nvPr>
            <p:ph type="body" sz="quarter" idx="17"/>
          </p:nvPr>
        </p:nvSpPr>
        <p:spPr>
          <a:xfrm>
            <a:off x="768095" y="2289175"/>
            <a:ext cx="5029200" cy="3108325"/>
          </a:xfrm>
        </p:spPr>
        <p:txBody>
          <a:bodyPr>
            <a:noAutofit/>
          </a:bodyPr>
          <a:lstStyle>
            <a:lvl1pPr marL="282575" indent="-282575">
              <a:lnSpc>
                <a:spcPct val="100000"/>
              </a:lnSpc>
              <a:buFont typeface="Wingdings" pitchFamily="2" charset="2"/>
              <a:buChar char="§"/>
              <a:defRPr sz="1800" b="1"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33">
            <a:extLst>
              <a:ext uri="{FF2B5EF4-FFF2-40B4-BE49-F238E27FC236}">
                <a16:creationId xmlns:a16="http://schemas.microsoft.com/office/drawing/2014/main" id="{0A188CAD-EDD5-0B4B-ACA6-7BB921B67304}"/>
              </a:ext>
            </a:extLst>
          </p:cNvPr>
          <p:cNvSpPr>
            <a:spLocks noGrp="1"/>
          </p:cNvSpPr>
          <p:nvPr>
            <p:ph type="body" sz="quarter" idx="18"/>
          </p:nvPr>
        </p:nvSpPr>
        <p:spPr>
          <a:xfrm>
            <a:off x="5949192" y="2289175"/>
            <a:ext cx="5029200" cy="3108325"/>
          </a:xfrm>
        </p:spPr>
        <p:txBody>
          <a:bodyPr>
            <a:noAutofit/>
          </a:bodyPr>
          <a:lstStyle>
            <a:lvl1pPr marL="282575" indent="-282575">
              <a:lnSpc>
                <a:spcPct val="100000"/>
              </a:lnSpc>
              <a:buFont typeface="Wingdings" pitchFamily="2" charset="2"/>
              <a:buChar char="§"/>
              <a:defRPr sz="1800" b="1"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4DA68151-38C2-F047-9B1D-873CB0266E4B}"/>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7A2A4872-B0A5-43FD-A327-341D445E6563}"/>
              </a:ext>
            </a:extLst>
          </p:cNvPr>
          <p:cNvSpPr>
            <a:spLocks noGrp="1"/>
          </p:cNvSpPr>
          <p:nvPr>
            <p:ph type="ftr" sz="quarter" idx="19"/>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9B7BFA47-C221-4BA6-9841-6BFC2DFDFC49}"/>
              </a:ext>
            </a:extLst>
          </p:cNvPr>
          <p:cNvSpPr>
            <a:spLocks noGrp="1"/>
          </p:cNvSpPr>
          <p:nvPr>
            <p:ph type="sldNum" sz="quarter" idx="20"/>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89230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36">
                                            <p:txEl>
                                              <p:pRg st="0" end="0"/>
                                            </p:txEl>
                                          </p:spTgt>
                                        </p:tgtEl>
                                        <p:attrNameLst>
                                          <p:attrName>style.visibility</p:attrName>
                                        </p:attrNameLst>
                                      </p:cBhvr>
                                      <p:to>
                                        <p:strVal val="visible"/>
                                      </p:to>
                                    </p:set>
                                    <p:animEffect transition="in" filter="fade">
                                      <p:cBhvr>
                                        <p:cTn id="22" dur="500"/>
                                        <p:tgtEl>
                                          <p:spTgt spid="36">
                                            <p:txEl>
                                              <p:pRg st="0" end="0"/>
                                            </p:txEl>
                                          </p:spTgt>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36">
                                            <p:txEl>
                                              <p:pRg st="1" end="1"/>
                                            </p:txEl>
                                          </p:spTgt>
                                        </p:tgtEl>
                                        <p:attrNameLst>
                                          <p:attrName>style.visibility</p:attrName>
                                        </p:attrNameLst>
                                      </p:cBhvr>
                                      <p:to>
                                        <p:strVal val="visible"/>
                                      </p:to>
                                    </p:set>
                                    <p:animEffect transition="in" filter="fade">
                                      <p:cBhvr>
                                        <p:cTn id="25" dur="500"/>
                                        <p:tgtEl>
                                          <p:spTgt spid="36">
                                            <p:txEl>
                                              <p:pRg st="1" end="1"/>
                                            </p:txEl>
                                          </p:spTgt>
                                        </p:tgtEl>
                                      </p:cBhvr>
                                    </p:animEffect>
                                  </p:childTnLst>
                                </p:cTn>
                              </p:par>
                              <p:par>
                                <p:cTn id="26" presetID="10" presetClass="entr" presetSubtype="0" fill="hold" grpId="0" nodeType="withEffect">
                                  <p:stCondLst>
                                    <p:cond delay="400"/>
                                  </p:stCondLst>
                                  <p:childTnLst>
                                    <p:set>
                                      <p:cBhvr>
                                        <p:cTn id="27" dur="1" fill="hold">
                                          <p:stCondLst>
                                            <p:cond delay="0"/>
                                          </p:stCondLst>
                                        </p:cTn>
                                        <p:tgtEl>
                                          <p:spTgt spid="36">
                                            <p:txEl>
                                              <p:pRg st="2" end="2"/>
                                            </p:txEl>
                                          </p:spTgt>
                                        </p:tgtEl>
                                        <p:attrNameLst>
                                          <p:attrName>style.visibility</p:attrName>
                                        </p:attrNameLst>
                                      </p:cBhvr>
                                      <p:to>
                                        <p:strVal val="visible"/>
                                      </p:to>
                                    </p:set>
                                    <p:animEffect transition="in" filter="fade">
                                      <p:cBhvr>
                                        <p:cTn id="28" dur="500"/>
                                        <p:tgtEl>
                                          <p:spTgt spid="36">
                                            <p:txEl>
                                              <p:pRg st="2" end="2"/>
                                            </p:txEl>
                                          </p:spTgt>
                                        </p:tgtEl>
                                      </p:cBhvr>
                                    </p:animEffect>
                                  </p:childTnLst>
                                </p:cTn>
                              </p:par>
                              <p:par>
                                <p:cTn id="29" presetID="10" presetClass="entr" presetSubtype="0" fill="hold" grpId="0" nodeType="withEffect">
                                  <p:stCondLst>
                                    <p:cond delay="400"/>
                                  </p:stCondLst>
                                  <p:childTnLst>
                                    <p:set>
                                      <p:cBhvr>
                                        <p:cTn id="30" dur="1" fill="hold">
                                          <p:stCondLst>
                                            <p:cond delay="0"/>
                                          </p:stCondLst>
                                        </p:cTn>
                                        <p:tgtEl>
                                          <p:spTgt spid="36">
                                            <p:txEl>
                                              <p:pRg st="3" end="3"/>
                                            </p:txEl>
                                          </p:spTgt>
                                        </p:tgtEl>
                                        <p:attrNameLst>
                                          <p:attrName>style.visibility</p:attrName>
                                        </p:attrNameLst>
                                      </p:cBhvr>
                                      <p:to>
                                        <p:strVal val="visible"/>
                                      </p:to>
                                    </p:set>
                                    <p:animEffect transition="in" filter="fade">
                                      <p:cBhvr>
                                        <p:cTn id="31" dur="500"/>
                                        <p:tgtEl>
                                          <p:spTgt spid="36">
                                            <p:txEl>
                                              <p:pRg st="3" end="3"/>
                                            </p:txEl>
                                          </p:spTgt>
                                        </p:tgtEl>
                                      </p:cBhvr>
                                    </p:animEffect>
                                  </p:childTnLst>
                                </p:cTn>
                              </p:par>
                              <p:par>
                                <p:cTn id="32" presetID="10" presetClass="entr" presetSubtype="0" fill="hold" grpId="0" nodeType="withEffect">
                                  <p:stCondLst>
                                    <p:cond delay="400"/>
                                  </p:stCondLst>
                                  <p:childTnLst>
                                    <p:set>
                                      <p:cBhvr>
                                        <p:cTn id="33" dur="1" fill="hold">
                                          <p:stCondLst>
                                            <p:cond delay="0"/>
                                          </p:stCondLst>
                                        </p:cTn>
                                        <p:tgtEl>
                                          <p:spTgt spid="36">
                                            <p:txEl>
                                              <p:pRg st="4" end="4"/>
                                            </p:txEl>
                                          </p:spTgt>
                                        </p:tgtEl>
                                        <p:attrNameLst>
                                          <p:attrName>style.visibility</p:attrName>
                                        </p:attrNameLst>
                                      </p:cBhvr>
                                      <p:to>
                                        <p:strVal val="visible"/>
                                      </p:to>
                                    </p:set>
                                    <p:animEffect transition="in" filter="fade">
                                      <p:cBhvr>
                                        <p:cTn id="34" dur="500"/>
                                        <p:tgtEl>
                                          <p:spTgt spid="3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2">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3">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4">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5">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10" presetClass="entr" presetSubtype="0" fill="hold" nodeType="withEffect">
                  <p:stCondLst>
                    <p:cond delay="4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 lvl="2">
            <p:tnLst>
              <p:par>
                <p:cTn presetID="10" presetClass="entr" presetSubtype="0" fill="hold" nodeType="withEffect">
                  <p:stCondLst>
                    <p:cond delay="4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 lvl="3">
            <p:tnLst>
              <p:par>
                <p:cTn presetID="10" presetClass="entr" presetSubtype="0" fill="hold" nodeType="withEffect">
                  <p:stCondLst>
                    <p:cond delay="4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 lvl="4">
            <p:tnLst>
              <p:par>
                <p:cTn presetID="10" presetClass="entr" presetSubtype="0" fill="hold" nodeType="withEffect">
                  <p:stCondLst>
                    <p:cond delay="4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 lvl="5">
            <p:tnLst>
              <p:par>
                <p:cTn presetID="10" presetClass="entr" presetSubtype="0" fill="hold" nodeType="withEffect">
                  <p:stCondLst>
                    <p:cond delay="4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ark Title with three column">
    <p:spTree>
      <p:nvGrpSpPr>
        <p:cNvPr id="1" name=""/>
        <p:cNvGrpSpPr/>
        <p:nvPr/>
      </p:nvGrpSpPr>
      <p:grpSpPr>
        <a:xfrm>
          <a:off x="0" y="0"/>
          <a:ext cx="0" cy="0"/>
          <a:chOff x="0" y="0"/>
          <a:chExt cx="0" cy="0"/>
        </a:xfrm>
      </p:grpSpPr>
      <p:pic>
        <p:nvPicPr>
          <p:cNvPr id="25" name="Picture 24" descr="A close up of an animal&#10;&#10;Description automatically generated">
            <a:extLst>
              <a:ext uri="{FF2B5EF4-FFF2-40B4-BE49-F238E27FC236}">
                <a16:creationId xmlns:a16="http://schemas.microsoft.com/office/drawing/2014/main" id="{260AB3B5-6759-364A-B98F-4622117D774F}"/>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sp>
        <p:nvSpPr>
          <p:cNvPr id="19" name="Title 1">
            <a:extLst>
              <a:ext uri="{FF2B5EF4-FFF2-40B4-BE49-F238E27FC236}">
                <a16:creationId xmlns:a16="http://schemas.microsoft.com/office/drawing/2014/main" id="{B46B041F-833F-AB4C-9680-F86574375A85}"/>
              </a:ext>
            </a:extLst>
          </p:cNvPr>
          <p:cNvSpPr>
            <a:spLocks noGrp="1"/>
          </p:cNvSpPr>
          <p:nvPr>
            <p:ph type="title" hasCustomPrompt="1"/>
          </p:nvPr>
        </p:nvSpPr>
        <p:spPr>
          <a:xfrm>
            <a:off x="768095" y="783026"/>
            <a:ext cx="10210297"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hree Content Layout</a:t>
            </a:r>
          </a:p>
        </p:txBody>
      </p:sp>
      <p:pic>
        <p:nvPicPr>
          <p:cNvPr id="26" name="Picture 25">
            <a:extLst>
              <a:ext uri="{FF2B5EF4-FFF2-40B4-BE49-F238E27FC236}">
                <a16:creationId xmlns:a16="http://schemas.microsoft.com/office/drawing/2014/main" id="{6EF88010-6F25-0949-962C-71A71BBDD28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7" name="Rectangle 26">
            <a:extLst>
              <a:ext uri="{FF2B5EF4-FFF2-40B4-BE49-F238E27FC236}">
                <a16:creationId xmlns:a16="http://schemas.microsoft.com/office/drawing/2014/main" id="{CAE5D2D5-96D0-7047-93E6-327A01072B11}"/>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3">
            <a:extLst>
              <a:ext uri="{FF2B5EF4-FFF2-40B4-BE49-F238E27FC236}">
                <a16:creationId xmlns:a16="http://schemas.microsoft.com/office/drawing/2014/main" id="{AD7BD674-7999-F54A-88FF-3F982D477532}"/>
              </a:ext>
            </a:extLst>
          </p:cNvPr>
          <p:cNvSpPr>
            <a:spLocks noGrp="1"/>
          </p:cNvSpPr>
          <p:nvPr>
            <p:ph type="body" sz="quarter" idx="17"/>
          </p:nvPr>
        </p:nvSpPr>
        <p:spPr>
          <a:xfrm>
            <a:off x="768095" y="2289175"/>
            <a:ext cx="3271470" cy="3108325"/>
          </a:xfrm>
        </p:spPr>
        <p:txBody>
          <a:bodyPr>
            <a:noAutofit/>
          </a:bodyPr>
          <a:lstStyle>
            <a:lvl1pPr marL="282575" indent="-282575">
              <a:lnSpc>
                <a:spcPct val="100000"/>
              </a:lnSpc>
              <a:buFont typeface="Wingdings" pitchFamily="2" charset="2"/>
              <a:buChar char="§"/>
              <a:defRPr sz="1800" b="1"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3">
            <a:extLst>
              <a:ext uri="{FF2B5EF4-FFF2-40B4-BE49-F238E27FC236}">
                <a16:creationId xmlns:a16="http://schemas.microsoft.com/office/drawing/2014/main" id="{8BB1C4CD-239E-1A45-BED4-F5593A57A275}"/>
              </a:ext>
            </a:extLst>
          </p:cNvPr>
          <p:cNvSpPr>
            <a:spLocks noGrp="1"/>
          </p:cNvSpPr>
          <p:nvPr>
            <p:ph type="body" sz="quarter" idx="18"/>
          </p:nvPr>
        </p:nvSpPr>
        <p:spPr>
          <a:xfrm>
            <a:off x="4237508" y="2289175"/>
            <a:ext cx="3271470" cy="3108325"/>
          </a:xfrm>
        </p:spPr>
        <p:txBody>
          <a:bodyPr>
            <a:noAutofit/>
          </a:bodyPr>
          <a:lstStyle>
            <a:lvl1pPr marL="282575" indent="-282575">
              <a:lnSpc>
                <a:spcPct val="100000"/>
              </a:lnSpc>
              <a:buFont typeface="Wingdings" pitchFamily="2" charset="2"/>
              <a:buChar char="§"/>
              <a:defRPr sz="1800" b="1"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3">
            <a:extLst>
              <a:ext uri="{FF2B5EF4-FFF2-40B4-BE49-F238E27FC236}">
                <a16:creationId xmlns:a16="http://schemas.microsoft.com/office/drawing/2014/main" id="{C944C2F4-C444-E840-AF85-154A3F44C6F0}"/>
              </a:ext>
            </a:extLst>
          </p:cNvPr>
          <p:cNvSpPr>
            <a:spLocks noGrp="1"/>
          </p:cNvSpPr>
          <p:nvPr>
            <p:ph type="body" sz="quarter" idx="19"/>
          </p:nvPr>
        </p:nvSpPr>
        <p:spPr>
          <a:xfrm>
            <a:off x="7706922" y="2289175"/>
            <a:ext cx="3271470" cy="3108325"/>
          </a:xfrm>
        </p:spPr>
        <p:txBody>
          <a:bodyPr>
            <a:noAutofit/>
          </a:bodyPr>
          <a:lstStyle>
            <a:lvl1pPr marL="282575" indent="-282575">
              <a:lnSpc>
                <a:spcPct val="100000"/>
              </a:lnSpc>
              <a:buFont typeface="Wingdings" pitchFamily="2" charset="2"/>
              <a:buChar char="§"/>
              <a:defRPr sz="1800" b="1"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FACFFDFB-8501-0343-938F-C9B2D425F0B7}"/>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6F7DB035-D1FE-4209-9C43-A445939A1E0A}"/>
              </a:ext>
            </a:extLst>
          </p:cNvPr>
          <p:cNvSpPr>
            <a:spLocks noGrp="1"/>
          </p:cNvSpPr>
          <p:nvPr>
            <p:ph type="ftr" sz="quarter" idx="20"/>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7FE0A65D-A848-4913-A21F-E28B98EC6722}"/>
              </a:ext>
            </a:extLst>
          </p:cNvPr>
          <p:cNvSpPr>
            <a:spLocks noGrp="1"/>
          </p:cNvSpPr>
          <p:nvPr>
            <p:ph type="sldNum" sz="quarter" idx="21"/>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150925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11">
                                            <p:txEl>
                                              <p:pRg st="0" end="0"/>
                                            </p:txEl>
                                          </p:spTgt>
                                        </p:tgtEl>
                                        <p:attrNameLst>
                                          <p:attrName>style.visibility</p:attrName>
                                        </p:attrNameLst>
                                      </p:cBhvr>
                                      <p:to>
                                        <p:strVal val="visible"/>
                                      </p:to>
                                    </p:set>
                                    <p:animEffect transition="in" filter="fade">
                                      <p:cBhvr>
                                        <p:cTn id="22" dur="500"/>
                                        <p:tgtEl>
                                          <p:spTgt spid="11">
                                            <p:txEl>
                                              <p:pRg st="0" end="0"/>
                                            </p:txEl>
                                          </p:spTgt>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1">
                                            <p:txEl>
                                              <p:pRg st="1" end="1"/>
                                            </p:txEl>
                                          </p:spTgt>
                                        </p:tgtEl>
                                        <p:attrNameLst>
                                          <p:attrName>style.visibility</p:attrName>
                                        </p:attrNameLst>
                                      </p:cBhvr>
                                      <p:to>
                                        <p:strVal val="visible"/>
                                      </p:to>
                                    </p:set>
                                    <p:animEffect transition="in" filter="fade">
                                      <p:cBhvr>
                                        <p:cTn id="25" dur="500"/>
                                        <p:tgtEl>
                                          <p:spTgt spid="11">
                                            <p:txEl>
                                              <p:pRg st="1" end="1"/>
                                            </p:txEl>
                                          </p:spTgt>
                                        </p:tgtEl>
                                      </p:cBhvr>
                                    </p:animEffect>
                                  </p:childTnLst>
                                </p:cTn>
                              </p:par>
                              <p:par>
                                <p:cTn id="26" presetID="10" presetClass="entr" presetSubtype="0" fill="hold" grpId="0" nodeType="withEffect">
                                  <p:stCondLst>
                                    <p:cond delay="400"/>
                                  </p:stCondLst>
                                  <p:childTnLst>
                                    <p:set>
                                      <p:cBhvr>
                                        <p:cTn id="27" dur="1" fill="hold">
                                          <p:stCondLst>
                                            <p:cond delay="0"/>
                                          </p:stCondLst>
                                        </p:cTn>
                                        <p:tgtEl>
                                          <p:spTgt spid="11">
                                            <p:txEl>
                                              <p:pRg st="2" end="2"/>
                                            </p:txEl>
                                          </p:spTgt>
                                        </p:tgtEl>
                                        <p:attrNameLst>
                                          <p:attrName>style.visibility</p:attrName>
                                        </p:attrNameLst>
                                      </p:cBhvr>
                                      <p:to>
                                        <p:strVal val="visible"/>
                                      </p:to>
                                    </p:set>
                                    <p:animEffect transition="in" filter="fade">
                                      <p:cBhvr>
                                        <p:cTn id="28" dur="500"/>
                                        <p:tgtEl>
                                          <p:spTgt spid="11">
                                            <p:txEl>
                                              <p:pRg st="2" end="2"/>
                                            </p:txEl>
                                          </p:spTgt>
                                        </p:tgtEl>
                                      </p:cBhvr>
                                    </p:animEffect>
                                  </p:childTnLst>
                                </p:cTn>
                              </p:par>
                              <p:par>
                                <p:cTn id="29" presetID="10" presetClass="entr" presetSubtype="0" fill="hold" grpId="0" nodeType="withEffect">
                                  <p:stCondLst>
                                    <p:cond delay="400"/>
                                  </p:stCondLst>
                                  <p:childTnLst>
                                    <p:set>
                                      <p:cBhvr>
                                        <p:cTn id="30" dur="1" fill="hold">
                                          <p:stCondLst>
                                            <p:cond delay="0"/>
                                          </p:stCondLst>
                                        </p:cTn>
                                        <p:tgtEl>
                                          <p:spTgt spid="11">
                                            <p:txEl>
                                              <p:pRg st="3" end="3"/>
                                            </p:txEl>
                                          </p:spTgt>
                                        </p:tgtEl>
                                        <p:attrNameLst>
                                          <p:attrName>style.visibility</p:attrName>
                                        </p:attrNameLst>
                                      </p:cBhvr>
                                      <p:to>
                                        <p:strVal val="visible"/>
                                      </p:to>
                                    </p:set>
                                    <p:animEffect transition="in" filter="fade">
                                      <p:cBhvr>
                                        <p:cTn id="31" dur="500"/>
                                        <p:tgtEl>
                                          <p:spTgt spid="11">
                                            <p:txEl>
                                              <p:pRg st="3" end="3"/>
                                            </p:txEl>
                                          </p:spTgt>
                                        </p:tgtEl>
                                      </p:cBhvr>
                                    </p:animEffect>
                                  </p:childTnLst>
                                </p:cTn>
                              </p:par>
                              <p:par>
                                <p:cTn id="32" presetID="10" presetClass="entr" presetSubtype="0" fill="hold" grpId="0" nodeType="withEffect">
                                  <p:stCondLst>
                                    <p:cond delay="400"/>
                                  </p:stCondLst>
                                  <p:childTnLst>
                                    <p:set>
                                      <p:cBhvr>
                                        <p:cTn id="33" dur="1" fill="hold">
                                          <p:stCondLst>
                                            <p:cond delay="0"/>
                                          </p:stCondLst>
                                        </p:cTn>
                                        <p:tgtEl>
                                          <p:spTgt spid="11">
                                            <p:txEl>
                                              <p:pRg st="4" end="4"/>
                                            </p:txEl>
                                          </p:spTgt>
                                        </p:tgtEl>
                                        <p:attrNameLst>
                                          <p:attrName>style.visibility</p:attrName>
                                        </p:attrNameLst>
                                      </p:cBhvr>
                                      <p:to>
                                        <p:strVal val="visible"/>
                                      </p:to>
                                    </p:set>
                                    <p:animEffect transition="in" filter="fade">
                                      <p:cBhvr>
                                        <p:cTn id="34" dur="500"/>
                                        <p:tgtEl>
                                          <p:spTgt spid="11">
                                            <p:txEl>
                                              <p:pRg st="4" end="4"/>
                                            </p:txEl>
                                          </p:spTgt>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12">
                                            <p:txEl>
                                              <p:pRg st="0" end="0"/>
                                            </p:txEl>
                                          </p:spTgt>
                                        </p:tgtEl>
                                        <p:attrNameLst>
                                          <p:attrName>style.visibility</p:attrName>
                                        </p:attrNameLst>
                                      </p:cBhvr>
                                      <p:to>
                                        <p:strVal val="visible"/>
                                      </p:to>
                                    </p:set>
                                    <p:animEffect transition="in" filter="fade">
                                      <p:cBhvr>
                                        <p:cTn id="37" dur="500"/>
                                        <p:tgtEl>
                                          <p:spTgt spid="12">
                                            <p:txEl>
                                              <p:pRg st="0" end="0"/>
                                            </p:txEl>
                                          </p:spTgt>
                                        </p:tgtEl>
                                      </p:cBhvr>
                                    </p:animEffect>
                                  </p:childTnLst>
                                </p:cTn>
                              </p:par>
                              <p:par>
                                <p:cTn id="38" presetID="10" presetClass="entr" presetSubtype="0" fill="hold" grpId="0" nodeType="withEffect">
                                  <p:stCondLst>
                                    <p:cond delay="600"/>
                                  </p:stCondLst>
                                  <p:childTnLst>
                                    <p:set>
                                      <p:cBhvr>
                                        <p:cTn id="39" dur="1" fill="hold">
                                          <p:stCondLst>
                                            <p:cond delay="0"/>
                                          </p:stCondLst>
                                        </p:cTn>
                                        <p:tgtEl>
                                          <p:spTgt spid="12">
                                            <p:txEl>
                                              <p:pRg st="1" end="1"/>
                                            </p:txEl>
                                          </p:spTgt>
                                        </p:tgtEl>
                                        <p:attrNameLst>
                                          <p:attrName>style.visibility</p:attrName>
                                        </p:attrNameLst>
                                      </p:cBhvr>
                                      <p:to>
                                        <p:strVal val="visible"/>
                                      </p:to>
                                    </p:set>
                                    <p:animEffect transition="in" filter="fade">
                                      <p:cBhvr>
                                        <p:cTn id="40" dur="500"/>
                                        <p:tgtEl>
                                          <p:spTgt spid="12">
                                            <p:txEl>
                                              <p:pRg st="1" end="1"/>
                                            </p:txEl>
                                          </p:spTgt>
                                        </p:tgtEl>
                                      </p:cBhvr>
                                    </p:animEffect>
                                  </p:childTnLst>
                                </p:cTn>
                              </p:par>
                              <p:par>
                                <p:cTn id="41" presetID="10" presetClass="entr" presetSubtype="0" fill="hold" grpId="0" nodeType="withEffect">
                                  <p:stCondLst>
                                    <p:cond delay="600"/>
                                  </p:stCondLst>
                                  <p:childTnLst>
                                    <p:set>
                                      <p:cBhvr>
                                        <p:cTn id="42" dur="1" fill="hold">
                                          <p:stCondLst>
                                            <p:cond delay="0"/>
                                          </p:stCondLst>
                                        </p:cTn>
                                        <p:tgtEl>
                                          <p:spTgt spid="12">
                                            <p:txEl>
                                              <p:pRg st="2" end="2"/>
                                            </p:txEl>
                                          </p:spTgt>
                                        </p:tgtEl>
                                        <p:attrNameLst>
                                          <p:attrName>style.visibility</p:attrName>
                                        </p:attrNameLst>
                                      </p:cBhvr>
                                      <p:to>
                                        <p:strVal val="visible"/>
                                      </p:to>
                                    </p:set>
                                    <p:animEffect transition="in" filter="fade">
                                      <p:cBhvr>
                                        <p:cTn id="43" dur="500"/>
                                        <p:tgtEl>
                                          <p:spTgt spid="12">
                                            <p:txEl>
                                              <p:pRg st="2" end="2"/>
                                            </p:txEl>
                                          </p:spTgt>
                                        </p:tgtEl>
                                      </p:cBhvr>
                                    </p:animEffect>
                                  </p:childTnLst>
                                </p:cTn>
                              </p:par>
                              <p:par>
                                <p:cTn id="44" presetID="10" presetClass="entr" presetSubtype="0" fill="hold" grpId="0" nodeType="withEffect">
                                  <p:stCondLst>
                                    <p:cond delay="600"/>
                                  </p:stCondLst>
                                  <p:childTnLst>
                                    <p:set>
                                      <p:cBhvr>
                                        <p:cTn id="45" dur="1" fill="hold">
                                          <p:stCondLst>
                                            <p:cond delay="0"/>
                                          </p:stCondLst>
                                        </p:cTn>
                                        <p:tgtEl>
                                          <p:spTgt spid="12">
                                            <p:txEl>
                                              <p:pRg st="3" end="3"/>
                                            </p:txEl>
                                          </p:spTgt>
                                        </p:tgtEl>
                                        <p:attrNameLst>
                                          <p:attrName>style.visibility</p:attrName>
                                        </p:attrNameLst>
                                      </p:cBhvr>
                                      <p:to>
                                        <p:strVal val="visible"/>
                                      </p:to>
                                    </p:set>
                                    <p:animEffect transition="in" filter="fade">
                                      <p:cBhvr>
                                        <p:cTn id="46" dur="500"/>
                                        <p:tgtEl>
                                          <p:spTgt spid="12">
                                            <p:txEl>
                                              <p:pRg st="3" end="3"/>
                                            </p:txEl>
                                          </p:spTgt>
                                        </p:tgtEl>
                                      </p:cBhvr>
                                    </p:animEffect>
                                  </p:childTnLst>
                                </p:cTn>
                              </p:par>
                              <p:par>
                                <p:cTn id="47" presetID="10" presetClass="entr" presetSubtype="0" fill="hold" grpId="0" nodeType="withEffect">
                                  <p:stCondLst>
                                    <p:cond delay="600"/>
                                  </p:stCondLst>
                                  <p:childTnLst>
                                    <p:set>
                                      <p:cBhvr>
                                        <p:cTn id="48" dur="1" fill="hold">
                                          <p:stCondLst>
                                            <p:cond delay="0"/>
                                          </p:stCondLst>
                                        </p:cTn>
                                        <p:tgtEl>
                                          <p:spTgt spid="12">
                                            <p:txEl>
                                              <p:pRg st="4" end="4"/>
                                            </p:txEl>
                                          </p:spTgt>
                                        </p:tgtEl>
                                        <p:attrNameLst>
                                          <p:attrName>style.visibility</p:attrName>
                                        </p:attrNameLst>
                                      </p:cBhvr>
                                      <p:to>
                                        <p:strVal val="visible"/>
                                      </p:to>
                                    </p:set>
                                    <p:animEffect transition="in" filter="fade">
                                      <p:cBhvr>
                                        <p:cTn id="4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2">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3">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4">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5">
            <p:tnLst>
              <p:par>
                <p:cTn presetID="10"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11" grpId="0" build="p">
        <p:tmplLst>
          <p:tmpl lvl="1">
            <p:tnLst>
              <p:par>
                <p:cTn presetID="10" presetClass="entr" presetSubtype="0" fill="hold" nodeType="withEffect">
                  <p:stCondLst>
                    <p:cond delay="4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2">
            <p:tnLst>
              <p:par>
                <p:cTn presetID="10" presetClass="entr" presetSubtype="0" fill="hold" nodeType="withEffect">
                  <p:stCondLst>
                    <p:cond delay="4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3">
            <p:tnLst>
              <p:par>
                <p:cTn presetID="10" presetClass="entr" presetSubtype="0" fill="hold" nodeType="withEffect">
                  <p:stCondLst>
                    <p:cond delay="4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4">
            <p:tnLst>
              <p:par>
                <p:cTn presetID="10" presetClass="entr" presetSubtype="0" fill="hold" nodeType="withEffect">
                  <p:stCondLst>
                    <p:cond delay="4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5">
            <p:tnLst>
              <p:par>
                <p:cTn presetID="10" presetClass="entr" presetSubtype="0" fill="hold" nodeType="withEffect">
                  <p:stCondLst>
                    <p:cond delay="4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6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6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6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6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5">
            <p:tnLst>
              <p:par>
                <p:cTn presetID="10" presetClass="entr" presetSubtype="0" fill="hold" nodeType="withEffect">
                  <p:stCondLst>
                    <p:cond delay="6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336553" y="1449388"/>
            <a:ext cx="5710836" cy="5148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8" tIns="45710" rIns="91418" bIns="45710" numCol="1" anchor="t" anchorCtr="0" compatLnSpc="1">
            <a:prstTxWarp prst="textNoShape">
              <a:avLst/>
            </a:prstTxWarp>
          </a:bodyPr>
          <a:lstStyle>
            <a:lvl1pPr>
              <a:defRPr lang="fr-FR"/>
            </a:lvl1pPr>
            <a:lvl2pPr>
              <a:defRPr lang="fr-FR"/>
            </a:lvl2pPr>
            <a:lvl3pPr>
              <a:defRPr lang="fr-FR"/>
            </a:lvl3pPr>
            <a:lvl4pPr>
              <a:defRPr lang="fr-FR"/>
            </a:lvl4pPr>
            <a:lvl5pPr>
              <a:defRPr lang="fr-FR" dirty="0"/>
            </a:lvl5pPr>
          </a:lstStyle>
          <a:p>
            <a:pPr marL="0" lvl="0" indent="0">
              <a:buClr>
                <a:srgbClr val="E91E63"/>
              </a:buClr>
              <a:buFontTx/>
              <a:buNone/>
            </a:pPr>
            <a:r>
              <a:rPr lang="fr-FR"/>
              <a:t>Cliquez pour modifier les styles du texte du masque</a:t>
            </a:r>
          </a:p>
          <a:p>
            <a:pPr marL="212725" lvl="1" indent="-212725">
              <a:buClr>
                <a:srgbClr val="E91E63"/>
              </a:buClr>
            </a:pPr>
            <a:r>
              <a:rPr lang="fr-FR"/>
              <a:t>Deuxième niveau</a:t>
            </a:r>
          </a:p>
          <a:p>
            <a:pPr marL="354013" lvl="2" indent="-169863"/>
            <a:r>
              <a:rPr lang="fr-FR"/>
              <a:t>Troisième niveau</a:t>
            </a:r>
          </a:p>
          <a:p>
            <a:pPr marL="541338" lvl="3" indent="-169863">
              <a:buClr>
                <a:srgbClr val="00BFA5"/>
              </a:buClr>
            </a:pPr>
            <a:r>
              <a:rPr lang="fr-FR"/>
              <a:t>Quatrième niveau</a:t>
            </a:r>
          </a:p>
          <a:p>
            <a:pPr marL="717550" lvl="4" indent="-169863"/>
            <a:r>
              <a:rPr lang="fr-FR"/>
              <a:t>Cinquième niveau</a:t>
            </a:r>
          </a:p>
        </p:txBody>
      </p:sp>
      <p:sp>
        <p:nvSpPr>
          <p:cNvPr id="4" name="Espace réservé du contenu 3"/>
          <p:cNvSpPr>
            <a:spLocks noGrp="1"/>
          </p:cNvSpPr>
          <p:nvPr>
            <p:ph sz="half" idx="2"/>
          </p:nvPr>
        </p:nvSpPr>
        <p:spPr>
          <a:xfrm>
            <a:off x="6254151" y="1449388"/>
            <a:ext cx="5710836" cy="5148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8" tIns="45710" rIns="91418" bIns="45710" numCol="1" anchor="t" anchorCtr="0" compatLnSpc="1">
            <a:prstTxWarp prst="textNoShape">
              <a:avLst/>
            </a:prstTxWarp>
          </a:bodyPr>
          <a:lstStyle>
            <a:lvl1pPr>
              <a:defRPr lang="fr-FR"/>
            </a:lvl1pPr>
            <a:lvl2pPr>
              <a:defRPr lang="fr-FR"/>
            </a:lvl2pPr>
            <a:lvl3pPr>
              <a:defRPr lang="fr-FR"/>
            </a:lvl3pPr>
            <a:lvl4pPr>
              <a:defRPr lang="fr-FR"/>
            </a:lvl4pPr>
            <a:lvl5pPr>
              <a:defRPr lang="fr-FR" dirty="0"/>
            </a:lvl5pPr>
          </a:lstStyle>
          <a:p>
            <a:pPr marL="0" lvl="0" indent="0">
              <a:buClr>
                <a:srgbClr val="E91E63"/>
              </a:buClr>
              <a:buFontTx/>
              <a:buNone/>
            </a:pPr>
            <a:r>
              <a:rPr lang="fr-FR"/>
              <a:t>Cliquez pour modifier les styles du texte du masque</a:t>
            </a:r>
          </a:p>
          <a:p>
            <a:pPr marL="212725" lvl="1" indent="-212725">
              <a:buClr>
                <a:srgbClr val="E91E63"/>
              </a:buClr>
            </a:pPr>
            <a:r>
              <a:rPr lang="fr-FR"/>
              <a:t>Deuxième niveau</a:t>
            </a:r>
          </a:p>
          <a:p>
            <a:pPr marL="354013" lvl="2" indent="-169863"/>
            <a:r>
              <a:rPr lang="fr-FR"/>
              <a:t>Troisième niveau</a:t>
            </a:r>
          </a:p>
          <a:p>
            <a:pPr marL="541338" lvl="3" indent="-169863">
              <a:buClr>
                <a:srgbClr val="00BFA5"/>
              </a:buClr>
            </a:pPr>
            <a:r>
              <a:rPr lang="fr-FR"/>
              <a:t>Quatrième niveau</a:t>
            </a:r>
          </a:p>
          <a:p>
            <a:pPr marL="717550" lvl="4" indent="-169863"/>
            <a:r>
              <a:rPr lang="fr-FR"/>
              <a:t>Cinquième niveau</a:t>
            </a:r>
          </a:p>
        </p:txBody>
      </p:sp>
      <p:sp>
        <p:nvSpPr>
          <p:cNvPr id="5" name="Titre 4">
            <a:extLst>
              <a:ext uri="{FF2B5EF4-FFF2-40B4-BE49-F238E27FC236}">
                <a16:creationId xmlns:a16="http://schemas.microsoft.com/office/drawing/2014/main" id="{A6E0D5D5-08D4-494C-BE34-79B86DF5650F}"/>
              </a:ext>
            </a:extLst>
          </p:cNvPr>
          <p:cNvSpPr>
            <a:spLocks noGrp="1"/>
          </p:cNvSpPr>
          <p:nvPr>
            <p:ph type="title"/>
          </p:nvPr>
        </p:nvSpPr>
        <p:spPr/>
        <p:txBody>
          <a:bodyPr/>
          <a:lstStyle/>
          <a:p>
            <a:r>
              <a:rPr lang="fr-FR"/>
              <a:t>Modifiez le style du titre</a:t>
            </a:r>
          </a:p>
        </p:txBody>
      </p:sp>
      <p:sp>
        <p:nvSpPr>
          <p:cNvPr id="6" name="Espace réservé du numéro de diapositive 2">
            <a:extLst>
              <a:ext uri="{FF2B5EF4-FFF2-40B4-BE49-F238E27FC236}">
                <a16:creationId xmlns:a16="http://schemas.microsoft.com/office/drawing/2014/main" id="{0AF3AA35-0261-46D3-A1BB-60DB3193D6FB}"/>
              </a:ext>
            </a:extLst>
          </p:cNvPr>
          <p:cNvSpPr>
            <a:spLocks noGrp="1"/>
          </p:cNvSpPr>
          <p:nvPr>
            <p:ph type="sldNum" sz="quarter" idx="4"/>
          </p:nvPr>
        </p:nvSpPr>
        <p:spPr>
          <a:xfrm>
            <a:off x="11451770" y="6415088"/>
            <a:ext cx="513067" cy="365125"/>
          </a:xfrm>
          <a:prstGeom prst="rect">
            <a:avLst/>
          </a:prstGeom>
        </p:spPr>
        <p:txBody>
          <a:bodyPr vert="horz" lIns="91440" tIns="45720" rIns="91440" bIns="45720" rtlCol="0" anchor="ctr"/>
          <a:lstStyle>
            <a:lvl1pPr algn="r">
              <a:defRPr sz="1000" b="1">
                <a:solidFill>
                  <a:srgbClr val="714C6C"/>
                </a:solidFill>
                <a:latin typeface="Noto Sans" panose="020B0502040504020204" pitchFamily="34" charset="0"/>
              </a:defRPr>
            </a:lvl1pPr>
          </a:lstStyle>
          <a:p>
            <a:fld id="{1DCA0A7C-70FE-4DA8-BFDF-9B5B0D096ACE}" type="slidenum">
              <a:rPr lang="fr-FR" smtClean="0"/>
              <a:pPr/>
              <a:t>‹N°›</a:t>
            </a:fld>
            <a:endParaRPr lang="fr-FR"/>
          </a:p>
        </p:txBody>
      </p:sp>
    </p:spTree>
    <p:extLst>
      <p:ext uri="{BB962C8B-B14F-4D97-AF65-F5344CB8AC3E}">
        <p14:creationId xmlns:p14="http://schemas.microsoft.com/office/powerpoint/2010/main" val="309693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ark Quadrant for infographic">
    <p:spTree>
      <p:nvGrpSpPr>
        <p:cNvPr id="1" name=""/>
        <p:cNvGrpSpPr/>
        <p:nvPr/>
      </p:nvGrpSpPr>
      <p:grpSpPr>
        <a:xfrm>
          <a:off x="0" y="0"/>
          <a:ext cx="0" cy="0"/>
          <a:chOff x="0" y="0"/>
          <a:chExt cx="0" cy="0"/>
        </a:xfrm>
      </p:grpSpPr>
      <p:pic>
        <p:nvPicPr>
          <p:cNvPr id="25" name="Picture 24" descr="A close up of an animal&#10;&#10;Description automatically generated">
            <a:extLst>
              <a:ext uri="{FF2B5EF4-FFF2-40B4-BE49-F238E27FC236}">
                <a16:creationId xmlns:a16="http://schemas.microsoft.com/office/drawing/2014/main" id="{260AB3B5-6759-364A-B98F-4622117D774F}"/>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6337183" y="4500749"/>
            <a:ext cx="5854818" cy="2357251"/>
          </a:xfrm>
          <a:prstGeom prst="rect">
            <a:avLst/>
          </a:prstGeom>
        </p:spPr>
      </p:pic>
      <p:sp>
        <p:nvSpPr>
          <p:cNvPr id="19" name="Title 1">
            <a:extLst>
              <a:ext uri="{FF2B5EF4-FFF2-40B4-BE49-F238E27FC236}">
                <a16:creationId xmlns:a16="http://schemas.microsoft.com/office/drawing/2014/main" id="{B46B041F-833F-AB4C-9680-F86574375A85}"/>
              </a:ext>
            </a:extLst>
          </p:cNvPr>
          <p:cNvSpPr>
            <a:spLocks noGrp="1"/>
          </p:cNvSpPr>
          <p:nvPr>
            <p:ph type="title" hasCustomPrompt="1"/>
          </p:nvPr>
        </p:nvSpPr>
        <p:spPr>
          <a:xfrm>
            <a:off x="768095" y="783026"/>
            <a:ext cx="10210297"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Quadrant for infographics Layout</a:t>
            </a:r>
          </a:p>
        </p:txBody>
      </p:sp>
      <p:pic>
        <p:nvPicPr>
          <p:cNvPr id="26" name="Picture 25">
            <a:extLst>
              <a:ext uri="{FF2B5EF4-FFF2-40B4-BE49-F238E27FC236}">
                <a16:creationId xmlns:a16="http://schemas.microsoft.com/office/drawing/2014/main" id="{6EF88010-6F25-0949-962C-71A71BBDD28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7" name="Rectangle 26">
            <a:extLst>
              <a:ext uri="{FF2B5EF4-FFF2-40B4-BE49-F238E27FC236}">
                <a16:creationId xmlns:a16="http://schemas.microsoft.com/office/drawing/2014/main" id="{CAE5D2D5-96D0-7047-93E6-327A01072B11}"/>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33">
            <a:extLst>
              <a:ext uri="{FF2B5EF4-FFF2-40B4-BE49-F238E27FC236}">
                <a16:creationId xmlns:a16="http://schemas.microsoft.com/office/drawing/2014/main" id="{83F18B1C-2F6B-9349-8DAB-48E7D54A83F1}"/>
              </a:ext>
            </a:extLst>
          </p:cNvPr>
          <p:cNvSpPr>
            <a:spLocks noGrp="1"/>
          </p:cNvSpPr>
          <p:nvPr>
            <p:ph type="body" sz="quarter" idx="18" hasCustomPrompt="1"/>
          </p:nvPr>
        </p:nvSpPr>
        <p:spPr>
          <a:xfrm>
            <a:off x="2204246" y="4162024"/>
            <a:ext cx="3574122" cy="1167665"/>
          </a:xfrm>
        </p:spPr>
        <p:txBody>
          <a:bodyPr>
            <a:noAutofit/>
          </a:bodyPr>
          <a:lstStyle>
            <a:lvl1pPr marL="0" indent="0">
              <a:lnSpc>
                <a:spcPct val="100000"/>
              </a:lnSpc>
              <a:buFont typeface="Wingdings" pitchFamily="2" charset="2"/>
              <a:buNone/>
              <a:defRPr sz="1800" b="0"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Lorem ipsum</a:t>
            </a:r>
          </a:p>
        </p:txBody>
      </p:sp>
      <p:sp>
        <p:nvSpPr>
          <p:cNvPr id="22" name="Text Placeholder 33">
            <a:extLst>
              <a:ext uri="{FF2B5EF4-FFF2-40B4-BE49-F238E27FC236}">
                <a16:creationId xmlns:a16="http://schemas.microsoft.com/office/drawing/2014/main" id="{0EF89F6D-A8E2-0348-8488-D69D62914376}"/>
              </a:ext>
            </a:extLst>
          </p:cNvPr>
          <p:cNvSpPr>
            <a:spLocks noGrp="1"/>
          </p:cNvSpPr>
          <p:nvPr>
            <p:ph type="body" sz="quarter" idx="19" hasCustomPrompt="1"/>
          </p:nvPr>
        </p:nvSpPr>
        <p:spPr>
          <a:xfrm>
            <a:off x="7404270" y="2271143"/>
            <a:ext cx="3574122" cy="1167665"/>
          </a:xfrm>
        </p:spPr>
        <p:txBody>
          <a:bodyPr>
            <a:noAutofit/>
          </a:bodyPr>
          <a:lstStyle>
            <a:lvl1pPr marL="0" indent="0">
              <a:lnSpc>
                <a:spcPct val="100000"/>
              </a:lnSpc>
              <a:buFont typeface="Wingdings" pitchFamily="2" charset="2"/>
              <a:buNone/>
              <a:defRPr sz="1800" b="0"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Lorem ipsum</a:t>
            </a:r>
          </a:p>
        </p:txBody>
      </p:sp>
      <p:sp>
        <p:nvSpPr>
          <p:cNvPr id="24" name="Text Placeholder 33">
            <a:extLst>
              <a:ext uri="{FF2B5EF4-FFF2-40B4-BE49-F238E27FC236}">
                <a16:creationId xmlns:a16="http://schemas.microsoft.com/office/drawing/2014/main" id="{A0723324-5918-2C42-9A87-949E736CBF15}"/>
              </a:ext>
            </a:extLst>
          </p:cNvPr>
          <p:cNvSpPr>
            <a:spLocks noGrp="1"/>
          </p:cNvSpPr>
          <p:nvPr>
            <p:ph type="body" sz="quarter" idx="20" hasCustomPrompt="1"/>
          </p:nvPr>
        </p:nvSpPr>
        <p:spPr>
          <a:xfrm>
            <a:off x="7404270" y="4162024"/>
            <a:ext cx="3574122" cy="1167665"/>
          </a:xfrm>
        </p:spPr>
        <p:txBody>
          <a:bodyPr>
            <a:noAutofit/>
          </a:bodyPr>
          <a:lstStyle>
            <a:lvl1pPr marL="0" indent="0">
              <a:lnSpc>
                <a:spcPct val="100000"/>
              </a:lnSpc>
              <a:buFont typeface="Wingdings" pitchFamily="2" charset="2"/>
              <a:buNone/>
              <a:defRPr sz="1800" b="0"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Lorem ipsum</a:t>
            </a:r>
          </a:p>
        </p:txBody>
      </p:sp>
      <p:sp>
        <p:nvSpPr>
          <p:cNvPr id="28" name="Text Placeholder 33">
            <a:extLst>
              <a:ext uri="{FF2B5EF4-FFF2-40B4-BE49-F238E27FC236}">
                <a16:creationId xmlns:a16="http://schemas.microsoft.com/office/drawing/2014/main" id="{B4578909-EA57-4049-8339-75544D89FCD0}"/>
              </a:ext>
            </a:extLst>
          </p:cNvPr>
          <p:cNvSpPr>
            <a:spLocks noGrp="1"/>
          </p:cNvSpPr>
          <p:nvPr>
            <p:ph type="body" sz="quarter" idx="21" hasCustomPrompt="1"/>
          </p:nvPr>
        </p:nvSpPr>
        <p:spPr>
          <a:xfrm>
            <a:off x="2204246" y="2278497"/>
            <a:ext cx="3574122" cy="1167665"/>
          </a:xfrm>
        </p:spPr>
        <p:txBody>
          <a:bodyPr>
            <a:noAutofit/>
          </a:bodyPr>
          <a:lstStyle>
            <a:lvl1pPr marL="0" indent="0">
              <a:lnSpc>
                <a:spcPct val="100000"/>
              </a:lnSpc>
              <a:buFont typeface="Wingdings" pitchFamily="2" charset="2"/>
              <a:buNone/>
              <a:defRPr sz="1800" b="0" i="0">
                <a:latin typeface="Oracle Sans" panose="020B0503020204020204" pitchFamily="34" charset="0"/>
                <a:cs typeface="Oracle Sans" panose="020B0503020204020204" pitchFamily="34" charset="0"/>
              </a:defRPr>
            </a:lvl1pPr>
            <a:lvl2pPr marL="685800">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a:t>Lorem ipsum</a:t>
            </a:r>
          </a:p>
        </p:txBody>
      </p:sp>
      <p:pic>
        <p:nvPicPr>
          <p:cNvPr id="13" name="Picture 12">
            <a:extLst>
              <a:ext uri="{FF2B5EF4-FFF2-40B4-BE49-F238E27FC236}">
                <a16:creationId xmlns:a16="http://schemas.microsoft.com/office/drawing/2014/main" id="{2C0E29D9-DAA7-2E49-89A3-03DD810EEAA4}"/>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3EAF8335-2BFD-424C-A8D6-CE03AA2A3F90}"/>
              </a:ext>
            </a:extLst>
          </p:cNvPr>
          <p:cNvSpPr>
            <a:spLocks noGrp="1"/>
          </p:cNvSpPr>
          <p:nvPr>
            <p:ph type="ftr" sz="quarter" idx="22"/>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D6CD96A0-FE1C-4E74-9435-B0AAB4B9DBC6}"/>
              </a:ext>
            </a:extLst>
          </p:cNvPr>
          <p:cNvSpPr>
            <a:spLocks noGrp="1"/>
          </p:cNvSpPr>
          <p:nvPr>
            <p:ph type="sldNum" sz="quarter" idx="23"/>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42790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ark Metr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35CFAFF-A02A-3C47-8BEF-C0EB011E7FE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tretch>
            <a:fillRect/>
          </a:stretch>
        </p:blipFill>
        <p:spPr>
          <a:xfrm>
            <a:off x="6096000" y="0"/>
            <a:ext cx="6096000" cy="6857999"/>
          </a:xfrm>
          <a:prstGeom prst="rect">
            <a:avLst/>
          </a:prstGeom>
        </p:spPr>
      </p:pic>
      <p:sp>
        <p:nvSpPr>
          <p:cNvPr id="9" name="Text Placeholder 10">
            <a:extLst>
              <a:ext uri="{FF2B5EF4-FFF2-40B4-BE49-F238E27FC236}">
                <a16:creationId xmlns:a16="http://schemas.microsoft.com/office/drawing/2014/main" id="{6D46810D-06AF-8048-A8FC-EB9C64BA9823}"/>
              </a:ext>
            </a:extLst>
          </p:cNvPr>
          <p:cNvSpPr>
            <a:spLocks noGrp="1"/>
          </p:cNvSpPr>
          <p:nvPr>
            <p:ph type="body" sz="quarter" idx="11" hasCustomPrompt="1"/>
          </p:nvPr>
        </p:nvSpPr>
        <p:spPr>
          <a:xfrm>
            <a:off x="761286" y="2275167"/>
            <a:ext cx="1755671" cy="914400"/>
          </a:xfrm>
        </p:spPr>
        <p:txBody>
          <a:bodyPr lIns="0" rIns="0">
            <a:noAutofit/>
          </a:bodyPr>
          <a:lstStyle>
            <a:lvl1pPr>
              <a:defRPr sz="6000">
                <a:solidFill>
                  <a:schemeClr val="accent2"/>
                </a:solidFill>
                <a:latin typeface="Georgia" panose="02040502050405020303" pitchFamily="18" charset="0"/>
              </a:defRPr>
            </a:lvl1pPr>
          </a:lstStyle>
          <a:p>
            <a:pPr lvl="0"/>
            <a:r>
              <a:rPr lang="en-US" dirty="0"/>
              <a:t>XX%</a:t>
            </a:r>
          </a:p>
        </p:txBody>
      </p:sp>
      <p:sp>
        <p:nvSpPr>
          <p:cNvPr id="13" name="Text Placeholder 15">
            <a:extLst>
              <a:ext uri="{FF2B5EF4-FFF2-40B4-BE49-F238E27FC236}">
                <a16:creationId xmlns:a16="http://schemas.microsoft.com/office/drawing/2014/main" id="{4354AFA5-AF57-6040-82D7-328298E6DAEA}"/>
              </a:ext>
            </a:extLst>
          </p:cNvPr>
          <p:cNvSpPr>
            <a:spLocks noGrp="1"/>
          </p:cNvSpPr>
          <p:nvPr>
            <p:ph type="body" sz="quarter" idx="13" hasCustomPrompt="1"/>
          </p:nvPr>
        </p:nvSpPr>
        <p:spPr>
          <a:xfrm>
            <a:off x="761286" y="3231646"/>
            <a:ext cx="4371153" cy="914400"/>
          </a:xfrm>
        </p:spPr>
        <p:txBody>
          <a:bodyPr lIns="0" rIns="0">
            <a:noAutofit/>
          </a:bodyPr>
          <a:lstStyle>
            <a:lvl1pPr>
              <a:lnSpc>
                <a:spcPct val="100000"/>
              </a:lnSpc>
              <a:defRPr sz="1800" b="0" i="0">
                <a:solidFill>
                  <a:schemeClr val="bg1"/>
                </a:solidFill>
                <a:latin typeface="Oracle Sans" panose="020B0503020204020204" pitchFamily="34" charset="0"/>
                <a:cs typeface="Oracle Sans" panose="020B0503020204020204" pitchFamily="34" charset="0"/>
              </a:defRPr>
            </a:lvl1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14" name="Picture 13">
            <a:extLst>
              <a:ext uri="{FF2B5EF4-FFF2-40B4-BE49-F238E27FC236}">
                <a16:creationId xmlns:a16="http://schemas.microsoft.com/office/drawing/2014/main" id="{904F3913-8DB3-9B4C-A599-4E9263CFB79E}"/>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E1722C6F-0E65-463D-BA3E-E6A6845F7500}"/>
              </a:ext>
            </a:extLst>
          </p:cNvPr>
          <p:cNvSpPr>
            <a:spLocks noGrp="1"/>
          </p:cNvSpPr>
          <p:nvPr>
            <p:ph type="ftr" sz="quarter" idx="14"/>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4F67B32A-89AC-4868-806F-3B49979E64F6}"/>
              </a:ext>
            </a:extLst>
          </p:cNvPr>
          <p:cNvSpPr>
            <a:spLocks noGrp="1"/>
          </p:cNvSpPr>
          <p:nvPr>
            <p:ph type="sldNum" sz="quarter" idx="15"/>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89591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3" grpId="0" build="p">
        <p:tmplLst>
          <p:tmpl lvl="1">
            <p:tnLst>
              <p:par>
                <p:cTn presetID="10" presetClass="entr" presetSubtype="0" fill="hold" nodeType="withEffect">
                  <p:stCondLst>
                    <p:cond delay="20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ark Thank you ">
    <p:spTree>
      <p:nvGrpSpPr>
        <p:cNvPr id="1" name=""/>
        <p:cNvGrpSpPr/>
        <p:nvPr/>
      </p:nvGrpSpPr>
      <p:grpSpPr>
        <a:xfrm>
          <a:off x="0" y="0"/>
          <a:ext cx="0" cy="0"/>
          <a:chOff x="0" y="0"/>
          <a:chExt cx="0" cy="0"/>
        </a:xfrm>
      </p:grpSpPr>
      <p:pic>
        <p:nvPicPr>
          <p:cNvPr id="17" name="Picture 16" descr="A picture containing building, clothing&#10;&#10;Description automatically generated">
            <a:extLst>
              <a:ext uri="{FF2B5EF4-FFF2-40B4-BE49-F238E27FC236}">
                <a16:creationId xmlns:a16="http://schemas.microsoft.com/office/drawing/2014/main" id="{B16600C8-A851-494D-A5DF-470343F874B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sp>
        <p:nvSpPr>
          <p:cNvPr id="18" name="Picture Placeholder 4">
            <a:extLst>
              <a:ext uri="{FF2B5EF4-FFF2-40B4-BE49-F238E27FC236}">
                <a16:creationId xmlns:a16="http://schemas.microsoft.com/office/drawing/2014/main" id="{2A2E959E-F30E-F643-947E-CE66F05DD800}"/>
              </a:ext>
            </a:extLst>
          </p:cNvPr>
          <p:cNvSpPr>
            <a:spLocks noGrp="1"/>
          </p:cNvSpPr>
          <p:nvPr>
            <p:ph type="pic" sz="quarter" idx="10"/>
          </p:nvPr>
        </p:nvSpPr>
        <p:spPr>
          <a:xfrm>
            <a:off x="6096000" y="0"/>
            <a:ext cx="6096000" cy="6858000"/>
          </a:xfrm>
        </p:spPr>
        <p:txBody>
          <a:bodyPr/>
          <a:lstStyle/>
          <a:p>
            <a:r>
              <a:rPr lang="en-US"/>
              <a:t>Click icon to add picture</a:t>
            </a:r>
          </a:p>
        </p:txBody>
      </p:sp>
      <p:sp>
        <p:nvSpPr>
          <p:cNvPr id="19" name="Text Placeholder 26">
            <a:extLst>
              <a:ext uri="{FF2B5EF4-FFF2-40B4-BE49-F238E27FC236}">
                <a16:creationId xmlns:a16="http://schemas.microsoft.com/office/drawing/2014/main" id="{2AFE612B-3DB1-C64D-BD3B-51ECDB8CE46C}"/>
              </a:ext>
            </a:extLst>
          </p:cNvPr>
          <p:cNvSpPr>
            <a:spLocks noGrp="1"/>
          </p:cNvSpPr>
          <p:nvPr>
            <p:ph type="body" sz="quarter" idx="13" hasCustomPrompt="1"/>
          </p:nvPr>
        </p:nvSpPr>
        <p:spPr>
          <a:xfrm>
            <a:off x="768095" y="2346183"/>
            <a:ext cx="4257726" cy="2242890"/>
          </a:xfrm>
        </p:spPr>
        <p:txBody>
          <a:bodyPr lIns="0" anchor="ctr">
            <a:noAutofit/>
          </a:bodyPr>
          <a:lstStyle>
            <a:lvl1pPr algn="l" fontAlgn="t">
              <a:lnSpc>
                <a:spcPct val="100000"/>
              </a:lnSpc>
              <a:spcBef>
                <a:spcPts val="0"/>
              </a:spcBef>
              <a:defRPr sz="4000" b="0" i="0">
                <a:solidFill>
                  <a:schemeClr val="bg1"/>
                </a:solidFill>
                <a:latin typeface="Georgia" panose="02040502050405020303" pitchFamily="18" charset="0"/>
                <a:cs typeface="Oracle Sans" panose="020B0503020204020204" pitchFamily="34" charset="0"/>
              </a:defRPr>
            </a:lvl1pPr>
          </a:lstStyle>
          <a:p>
            <a:pPr lvl="0"/>
            <a:r>
              <a:rPr lang="en-US" dirty="0"/>
              <a:t>Thank you</a:t>
            </a:r>
          </a:p>
        </p:txBody>
      </p:sp>
      <p:sp>
        <p:nvSpPr>
          <p:cNvPr id="20" name="Text Placeholder 26">
            <a:extLst>
              <a:ext uri="{FF2B5EF4-FFF2-40B4-BE49-F238E27FC236}">
                <a16:creationId xmlns:a16="http://schemas.microsoft.com/office/drawing/2014/main" id="{7F794D52-5437-F64A-97D5-34BE49EA9B32}"/>
              </a:ext>
            </a:extLst>
          </p:cNvPr>
          <p:cNvSpPr>
            <a:spLocks noGrp="1"/>
          </p:cNvSpPr>
          <p:nvPr>
            <p:ph type="body" sz="quarter" idx="14" hasCustomPrompt="1"/>
          </p:nvPr>
        </p:nvSpPr>
        <p:spPr>
          <a:xfrm>
            <a:off x="768095" y="5239646"/>
            <a:ext cx="4257726" cy="249346"/>
          </a:xfrm>
        </p:spPr>
        <p:txBody>
          <a:bodyPr lIns="0">
            <a:noAutofit/>
          </a:bodyPr>
          <a:lstStyle>
            <a:lvl1pPr algn="l" fontAlgn="t">
              <a:lnSpc>
                <a:spcPct val="100000"/>
              </a:lnSpc>
              <a:spcBef>
                <a:spcPts val="0"/>
              </a:spcBef>
              <a:defRPr sz="1400" b="1" i="0">
                <a:latin typeface="Oracle Sans" panose="020B0503020204020204" pitchFamily="34" charset="0"/>
                <a:cs typeface="Oracle Sans" panose="020B0503020204020204" pitchFamily="34" charset="0"/>
              </a:defRPr>
            </a:lvl1pPr>
          </a:lstStyle>
          <a:p>
            <a:pPr lvl="0"/>
            <a:r>
              <a:rPr lang="en-US" dirty="0"/>
              <a:t>Lorem ipsum</a:t>
            </a:r>
          </a:p>
        </p:txBody>
      </p:sp>
      <p:sp>
        <p:nvSpPr>
          <p:cNvPr id="21" name="Text Placeholder 26">
            <a:extLst>
              <a:ext uri="{FF2B5EF4-FFF2-40B4-BE49-F238E27FC236}">
                <a16:creationId xmlns:a16="http://schemas.microsoft.com/office/drawing/2014/main" id="{1975E737-A6D5-0E4E-AA04-5FECD0BE9683}"/>
              </a:ext>
            </a:extLst>
          </p:cNvPr>
          <p:cNvSpPr>
            <a:spLocks noGrp="1"/>
          </p:cNvSpPr>
          <p:nvPr>
            <p:ph type="body" sz="quarter" idx="12" hasCustomPrompt="1"/>
          </p:nvPr>
        </p:nvSpPr>
        <p:spPr>
          <a:xfrm>
            <a:off x="768095" y="5564669"/>
            <a:ext cx="4257726" cy="528567"/>
          </a:xfrm>
        </p:spPr>
        <p:txBody>
          <a:bodyPr lIns="0">
            <a:noAutofit/>
          </a:bodyPr>
          <a:lstStyle>
            <a:lvl1pPr algn="l" fontAlgn="t">
              <a:lnSpc>
                <a:spcPct val="100000"/>
              </a:lnSpc>
              <a:spcBef>
                <a:spcPts val="0"/>
              </a:spcBef>
              <a:defRPr sz="1400"/>
            </a:lvl1pPr>
          </a:lstStyle>
          <a:p>
            <a:pPr lvl="0"/>
            <a:r>
              <a:rPr lang="en-US" dirty="0"/>
              <a:t>Click to edit Master text styles</a:t>
            </a:r>
          </a:p>
        </p:txBody>
      </p:sp>
      <p:sp>
        <p:nvSpPr>
          <p:cNvPr id="22" name="Rectangle 21">
            <a:extLst>
              <a:ext uri="{FF2B5EF4-FFF2-40B4-BE49-F238E27FC236}">
                <a16:creationId xmlns:a16="http://schemas.microsoft.com/office/drawing/2014/main" id="{CECAD913-B3D1-D145-A54B-58496F5971A5}"/>
              </a:ext>
            </a:extLst>
          </p:cNvPr>
          <p:cNvSpPr/>
          <p:nvPr userDrawn="1"/>
        </p:nvSpPr>
        <p:spPr>
          <a:xfrm>
            <a:off x="768096" y="4829530"/>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3DC8C321-EE6C-4746-A970-ABC3DF5227D1}"/>
              </a:ext>
            </a:extLst>
          </p:cNvPr>
          <p:cNvPicPr>
            <a:picLocks noChangeAspect="1"/>
          </p:cNvPicPr>
          <p:nvPr userDrawn="1"/>
        </p:nvPicPr>
        <p:blipFill>
          <a:blip r:embed="rId3"/>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9935BE94-6B90-48B3-8BB2-724D091738BD}"/>
              </a:ext>
            </a:extLst>
          </p:cNvPr>
          <p:cNvSpPr>
            <a:spLocks noGrp="1"/>
          </p:cNvSpPr>
          <p:nvPr>
            <p:ph type="ftr" sz="quarter" idx="15"/>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89C5CCC6-EACD-4851-BF17-0A08CC1A1081}"/>
              </a:ext>
            </a:extLst>
          </p:cNvPr>
          <p:cNvSpPr>
            <a:spLocks noGrp="1"/>
          </p:cNvSpPr>
          <p:nvPr>
            <p:ph type="sldNum" sz="quarter" idx="16"/>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349934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ark Thank you 2">
    <p:bg>
      <p:bgPr>
        <a:solidFill>
          <a:srgbClr val="723E49"/>
        </a:solidFill>
        <a:effectLst/>
      </p:bgPr>
    </p:bg>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7E9993A3-6C44-3E43-901B-8B5EA2ACF64B}"/>
              </a:ext>
            </a:extLst>
          </p:cNvPr>
          <p:cNvSpPr>
            <a:spLocks noGrp="1"/>
          </p:cNvSpPr>
          <p:nvPr>
            <p:ph type="pic" sz="quarter" idx="10"/>
          </p:nvPr>
        </p:nvSpPr>
        <p:spPr>
          <a:xfrm>
            <a:off x="6096000" y="0"/>
            <a:ext cx="6096000" cy="6858000"/>
          </a:xfrm>
        </p:spPr>
        <p:txBody>
          <a:bodyPr/>
          <a:lstStyle/>
          <a:p>
            <a:r>
              <a:rPr lang="en-US"/>
              <a:t>Click icon to add picture</a:t>
            </a:r>
          </a:p>
        </p:txBody>
      </p:sp>
      <p:pic>
        <p:nvPicPr>
          <p:cNvPr id="11" name="Picture 10">
            <a:extLst>
              <a:ext uri="{FF2B5EF4-FFF2-40B4-BE49-F238E27FC236}">
                <a16:creationId xmlns:a16="http://schemas.microsoft.com/office/drawing/2014/main" id="{E9A101D4-18B6-9A46-8025-E830A44D3C4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sp>
        <p:nvSpPr>
          <p:cNvPr id="12" name="Text Placeholder 26">
            <a:extLst>
              <a:ext uri="{FF2B5EF4-FFF2-40B4-BE49-F238E27FC236}">
                <a16:creationId xmlns:a16="http://schemas.microsoft.com/office/drawing/2014/main" id="{CD757BAF-41C4-7642-A4DE-49E96BDAD730}"/>
              </a:ext>
            </a:extLst>
          </p:cNvPr>
          <p:cNvSpPr>
            <a:spLocks noGrp="1"/>
          </p:cNvSpPr>
          <p:nvPr>
            <p:ph type="body" sz="quarter" idx="13" hasCustomPrompt="1"/>
          </p:nvPr>
        </p:nvSpPr>
        <p:spPr>
          <a:xfrm>
            <a:off x="768095" y="2346183"/>
            <a:ext cx="4257726" cy="2242890"/>
          </a:xfrm>
        </p:spPr>
        <p:txBody>
          <a:bodyPr lIns="0" anchor="ctr">
            <a:noAutofit/>
          </a:bodyPr>
          <a:lstStyle>
            <a:lvl1pPr algn="l" fontAlgn="t">
              <a:lnSpc>
                <a:spcPct val="100000"/>
              </a:lnSpc>
              <a:spcBef>
                <a:spcPts val="0"/>
              </a:spcBef>
              <a:defRPr sz="4000" b="0" i="0">
                <a:solidFill>
                  <a:schemeClr val="bg1"/>
                </a:solidFill>
                <a:latin typeface="Georgia" panose="02040502050405020303" pitchFamily="18" charset="0"/>
                <a:cs typeface="Oracle Sans" panose="020B0503020204020204" pitchFamily="34" charset="0"/>
              </a:defRPr>
            </a:lvl1pPr>
          </a:lstStyle>
          <a:p>
            <a:pPr lvl="0"/>
            <a:r>
              <a:rPr lang="en-US" dirty="0"/>
              <a:t>Thank you</a:t>
            </a:r>
          </a:p>
        </p:txBody>
      </p:sp>
      <p:sp>
        <p:nvSpPr>
          <p:cNvPr id="15" name="Text Placeholder 26">
            <a:extLst>
              <a:ext uri="{FF2B5EF4-FFF2-40B4-BE49-F238E27FC236}">
                <a16:creationId xmlns:a16="http://schemas.microsoft.com/office/drawing/2014/main" id="{63FD2FE0-050F-8C48-9CCE-7426577AFA98}"/>
              </a:ext>
            </a:extLst>
          </p:cNvPr>
          <p:cNvSpPr>
            <a:spLocks noGrp="1"/>
          </p:cNvSpPr>
          <p:nvPr>
            <p:ph type="body" sz="quarter" idx="14" hasCustomPrompt="1"/>
          </p:nvPr>
        </p:nvSpPr>
        <p:spPr>
          <a:xfrm>
            <a:off x="768095" y="5239646"/>
            <a:ext cx="4257726" cy="249346"/>
          </a:xfrm>
        </p:spPr>
        <p:txBody>
          <a:bodyPr lIns="0">
            <a:noAutofit/>
          </a:bodyPr>
          <a:lstStyle>
            <a:lvl1pPr algn="l" fontAlgn="t">
              <a:lnSpc>
                <a:spcPct val="100000"/>
              </a:lnSpc>
              <a:spcBef>
                <a:spcPts val="0"/>
              </a:spcBef>
              <a:defRPr sz="1400" b="1" i="0">
                <a:latin typeface="Oracle Sans" panose="020B0503020204020204" pitchFamily="34" charset="0"/>
                <a:cs typeface="Oracle Sans" panose="020B0503020204020204" pitchFamily="34" charset="0"/>
              </a:defRPr>
            </a:lvl1pPr>
          </a:lstStyle>
          <a:p>
            <a:pPr lvl="0"/>
            <a:r>
              <a:rPr lang="en-US" dirty="0"/>
              <a:t>Lorem ipsum</a:t>
            </a:r>
          </a:p>
        </p:txBody>
      </p:sp>
      <p:sp>
        <p:nvSpPr>
          <p:cNvPr id="16" name="Text Placeholder 26">
            <a:extLst>
              <a:ext uri="{FF2B5EF4-FFF2-40B4-BE49-F238E27FC236}">
                <a16:creationId xmlns:a16="http://schemas.microsoft.com/office/drawing/2014/main" id="{9B9976F2-AC01-0B48-8E64-DD931422FA00}"/>
              </a:ext>
            </a:extLst>
          </p:cNvPr>
          <p:cNvSpPr>
            <a:spLocks noGrp="1"/>
          </p:cNvSpPr>
          <p:nvPr>
            <p:ph type="body" sz="quarter" idx="12" hasCustomPrompt="1"/>
          </p:nvPr>
        </p:nvSpPr>
        <p:spPr>
          <a:xfrm>
            <a:off x="768095" y="5564669"/>
            <a:ext cx="4257726" cy="528567"/>
          </a:xfrm>
        </p:spPr>
        <p:txBody>
          <a:bodyPr lIns="0">
            <a:noAutofit/>
          </a:bodyPr>
          <a:lstStyle>
            <a:lvl1pPr algn="l" fontAlgn="t">
              <a:lnSpc>
                <a:spcPct val="100000"/>
              </a:lnSpc>
              <a:spcBef>
                <a:spcPts val="0"/>
              </a:spcBef>
              <a:defRPr sz="1400"/>
            </a:lvl1pPr>
          </a:lstStyle>
          <a:p>
            <a:pPr lvl="0"/>
            <a:r>
              <a:rPr lang="en-US" dirty="0"/>
              <a:t>Click to edit Master text styles</a:t>
            </a:r>
          </a:p>
        </p:txBody>
      </p:sp>
      <p:sp>
        <p:nvSpPr>
          <p:cNvPr id="17" name="Rectangle 16">
            <a:extLst>
              <a:ext uri="{FF2B5EF4-FFF2-40B4-BE49-F238E27FC236}">
                <a16:creationId xmlns:a16="http://schemas.microsoft.com/office/drawing/2014/main" id="{76E9DA60-A8F5-5C46-87BD-583E2F3FB50A}"/>
              </a:ext>
            </a:extLst>
          </p:cNvPr>
          <p:cNvSpPr/>
          <p:nvPr userDrawn="1"/>
        </p:nvSpPr>
        <p:spPr>
          <a:xfrm>
            <a:off x="768096" y="4829530"/>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4">
            <a:extLst>
              <a:ext uri="{FF2B5EF4-FFF2-40B4-BE49-F238E27FC236}">
                <a16:creationId xmlns:a16="http://schemas.microsoft.com/office/drawing/2014/main" id="{8DA1F36F-A66E-2744-9B9A-0F241EF7D8EF}"/>
              </a:ext>
            </a:extLst>
          </p:cNvPr>
          <p:cNvSpPr>
            <a:spLocks noGrp="1"/>
          </p:cNvSpPr>
          <p:nvPr>
            <p:ph type="pic" sz="quarter" idx="16"/>
          </p:nvPr>
        </p:nvSpPr>
        <p:spPr>
          <a:xfrm>
            <a:off x="6096000" y="0"/>
            <a:ext cx="6096000" cy="6858000"/>
          </a:xfrm>
        </p:spPr>
        <p:txBody>
          <a:bodyPr/>
          <a:lstStyle/>
          <a:p>
            <a:r>
              <a:rPr lang="en-US" dirty="0"/>
              <a:t>Click icon to add picture</a:t>
            </a:r>
          </a:p>
        </p:txBody>
      </p:sp>
      <p:pic>
        <p:nvPicPr>
          <p:cNvPr id="21" name="Picture 20">
            <a:extLst>
              <a:ext uri="{FF2B5EF4-FFF2-40B4-BE49-F238E27FC236}">
                <a16:creationId xmlns:a16="http://schemas.microsoft.com/office/drawing/2014/main" id="{23CDFFB6-69E0-1945-A6FC-4A46E9DBD30A}"/>
              </a:ext>
            </a:extLst>
          </p:cNvPr>
          <p:cNvPicPr>
            <a:picLocks noChangeAspect="1"/>
          </p:cNvPicPr>
          <p:nvPr userDrawn="1"/>
        </p:nvPicPr>
        <p:blipFill>
          <a:blip r:embed="rId3"/>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D6EA59A9-1FF3-4EFD-98EB-55C50EBCF639}"/>
              </a:ext>
            </a:extLst>
          </p:cNvPr>
          <p:cNvSpPr>
            <a:spLocks noGrp="1"/>
          </p:cNvSpPr>
          <p:nvPr>
            <p:ph type="ftr" sz="quarter" idx="17"/>
          </p:nvPr>
        </p:nvSpPr>
        <p:spPr/>
        <p:txBody>
          <a:bodyPr/>
          <a:lstStyle>
            <a:lvl1pPr>
              <a:defRPr>
                <a:solidFill>
                  <a:schemeClr val="tx1">
                    <a:lumMod val="60000"/>
                    <a:lumOff val="40000"/>
                  </a:schemeClr>
                </a:solidFill>
              </a:defRPr>
            </a:lvl1p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7A15A8DD-D1C6-4413-B8AE-4F36F73AD383}"/>
              </a:ext>
            </a:extLst>
          </p:cNvPr>
          <p:cNvSpPr>
            <a:spLocks noGrp="1"/>
          </p:cNvSpPr>
          <p:nvPr>
            <p:ph type="sldNum" sz="quarter" idx="18"/>
          </p:nvPr>
        </p:nvSpPr>
        <p:spPr/>
        <p:txBody>
          <a:bodyPr/>
          <a:lstStyle>
            <a:lvl1pPr>
              <a:defRPr>
                <a:solidFill>
                  <a:schemeClr val="tx1">
                    <a:lumMod val="60000"/>
                    <a:lumOff val="40000"/>
                  </a:schemeClr>
                </a:solidFill>
              </a:defRPr>
            </a:lvl1p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276709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ight - Title with Abstract Border">
    <p:spTree>
      <p:nvGrpSpPr>
        <p:cNvPr id="1" name=""/>
        <p:cNvGrpSpPr/>
        <p:nvPr/>
      </p:nvGrpSpPr>
      <p:grpSpPr>
        <a:xfrm>
          <a:off x="0" y="0"/>
          <a:ext cx="0" cy="0"/>
          <a:chOff x="0" y="0"/>
          <a:chExt cx="0" cy="0"/>
        </a:xfrm>
      </p:grpSpPr>
      <p:pic>
        <p:nvPicPr>
          <p:cNvPr id="11" name="Abstract Illustration">
            <a:extLst>
              <a:ext uri="{FF2B5EF4-FFF2-40B4-BE49-F238E27FC236}">
                <a16:creationId xmlns:a16="http://schemas.microsoft.com/office/drawing/2014/main" id="{E5246624-F21C-C74D-A490-03903A0F510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pic>
        <p:nvPicPr>
          <p:cNvPr id="14" name="OTag">
            <a:extLst>
              <a:ext uri="{FF2B5EF4-FFF2-40B4-BE49-F238E27FC236}">
                <a16:creationId xmlns:a16="http://schemas.microsoft.com/office/drawing/2014/main" id="{4987BBB5-F60C-46AC-ACA7-E632A225DA71}"/>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pic>
        <p:nvPicPr>
          <p:cNvPr id="10" name="Oracle Logo" descr="Oracle Logo">
            <a:extLst>
              <a:ext uri="{FF2B5EF4-FFF2-40B4-BE49-F238E27FC236}">
                <a16:creationId xmlns:a16="http://schemas.microsoft.com/office/drawing/2014/main" id="{221EC6FF-8F78-9E44-AD47-BEE824DD0F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4949" y="1132368"/>
            <a:ext cx="1524893" cy="320040"/>
          </a:xfrm>
          <a:prstGeom prst="rect">
            <a:avLst/>
          </a:prstGeom>
        </p:spPr>
      </p:pic>
      <p:sp>
        <p:nvSpPr>
          <p:cNvPr id="26" name="Title">
            <a:extLst>
              <a:ext uri="{FF2B5EF4-FFF2-40B4-BE49-F238E27FC236}">
                <a16:creationId xmlns:a16="http://schemas.microsoft.com/office/drawing/2014/main" id="{2E021ED4-814D-9648-831F-EDE24ED2D4F8}"/>
              </a:ext>
            </a:extLst>
          </p:cNvPr>
          <p:cNvSpPr>
            <a:spLocks noGrp="1"/>
          </p:cNvSpPr>
          <p:nvPr userDrawn="1">
            <p:ph type="ctrTitle" hasCustomPrompt="1"/>
          </p:nvPr>
        </p:nvSpPr>
        <p:spPr>
          <a:xfrm>
            <a:off x="1018030" y="2459230"/>
            <a:ext cx="10158984" cy="1025922"/>
          </a:xfrm>
        </p:spPr>
        <p:txBody>
          <a:bodyPr wrap="square" anchor="b">
            <a:noAutofit/>
          </a:bodyPr>
          <a:lstStyle>
            <a:lvl1pPr algn="l">
              <a:lnSpc>
                <a:spcPts val="4000"/>
              </a:lnSpc>
              <a:defRPr sz="4000" b="0">
                <a:solidFill>
                  <a:schemeClr val="tx1"/>
                </a:solidFill>
                <a:latin typeface="+mj-lt"/>
              </a:defRPr>
            </a:lvl1pPr>
          </a:lstStyle>
          <a:p>
            <a:r>
              <a:rPr lang="en-US"/>
              <a:t>Title goes here (up to two lines) </a:t>
            </a:r>
            <a:br>
              <a:rPr lang="en-US"/>
            </a:br>
            <a:r>
              <a:rPr lang="en-US"/>
              <a:t>Georgia Regular 40pt</a:t>
            </a:r>
          </a:p>
        </p:txBody>
      </p:sp>
      <p:sp>
        <p:nvSpPr>
          <p:cNvPr id="27" name="Subhead">
            <a:extLst>
              <a:ext uri="{FF2B5EF4-FFF2-40B4-BE49-F238E27FC236}">
                <a16:creationId xmlns:a16="http://schemas.microsoft.com/office/drawing/2014/main" id="{12EB3548-39AB-5846-A4F6-A7D8515AEE59}"/>
              </a:ext>
            </a:extLst>
          </p:cNvPr>
          <p:cNvSpPr>
            <a:spLocks noGrp="1"/>
          </p:cNvSpPr>
          <p:nvPr userDrawn="1">
            <p:ph type="body" sz="quarter" idx="33" hasCustomPrompt="1"/>
          </p:nvPr>
        </p:nvSpPr>
        <p:spPr>
          <a:xfrm>
            <a:off x="1018030" y="3526641"/>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400" b="0">
                <a:solidFill>
                  <a:srgbClr val="AE562C"/>
                </a:solidFill>
              </a:defRPr>
            </a:lvl1pPr>
          </a:lstStyle>
          <a:p>
            <a:pPr marL="0" marR="0" lvl="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US"/>
              <a:t>Subhead goes here on one line</a:t>
            </a:r>
          </a:p>
        </p:txBody>
      </p:sp>
      <p:cxnSp>
        <p:nvCxnSpPr>
          <p:cNvPr id="18" name="Accent Mark">
            <a:extLst>
              <a:ext uri="{FF2B5EF4-FFF2-40B4-BE49-F238E27FC236}">
                <a16:creationId xmlns:a16="http://schemas.microsoft.com/office/drawing/2014/main" id="{60D74A94-ECB7-4F26-82F5-3CEB5746D703}"/>
              </a:ext>
              <a:ext uri="{C183D7F6-B498-43B3-948B-1728B52AA6E4}">
                <adec:decorative xmlns:adec="http://schemas.microsoft.com/office/drawing/2017/decorative" val="1"/>
              </a:ext>
            </a:extLst>
          </p:cNvPr>
          <p:cNvCxnSpPr/>
          <p:nvPr userDrawn="1"/>
        </p:nvCxnSpPr>
        <p:spPr>
          <a:xfrm flipH="1">
            <a:off x="1031620" y="4080104"/>
            <a:ext cx="228600"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sp>
        <p:nvSpPr>
          <p:cNvPr id="15" name="Text Field">
            <a:extLst>
              <a:ext uri="{FF2B5EF4-FFF2-40B4-BE49-F238E27FC236}">
                <a16:creationId xmlns:a16="http://schemas.microsoft.com/office/drawing/2014/main" id="{5EDA7B8D-9195-5945-993F-1344630DF996}"/>
              </a:ext>
            </a:extLst>
          </p:cNvPr>
          <p:cNvSpPr>
            <a:spLocks noGrp="1"/>
          </p:cNvSpPr>
          <p:nvPr userDrawn="1">
            <p:ph type="body" sz="quarter" idx="35" hasCustomPrompt="1"/>
          </p:nvPr>
        </p:nvSpPr>
        <p:spPr>
          <a:xfrm>
            <a:off x="1018030" y="4335713"/>
            <a:ext cx="5077970" cy="266291"/>
          </a:xfrm>
          <a:prstGeom prst="rect">
            <a:avLst/>
          </a:prstGeom>
          <a:noFill/>
        </p:spPr>
        <p:txBody>
          <a:bodyPr>
            <a:noAutofit/>
          </a:bodyPr>
          <a:lstStyle>
            <a:lvl1pPr>
              <a:defRPr b="1"/>
            </a:lvl1pPr>
          </a:lstStyle>
          <a:p>
            <a:pPr lvl="0"/>
            <a:r>
              <a:rPr lang="en-US"/>
              <a:t>Name</a:t>
            </a:r>
          </a:p>
        </p:txBody>
      </p:sp>
      <p:sp>
        <p:nvSpPr>
          <p:cNvPr id="4" name="Text Field 2">
            <a:extLst>
              <a:ext uri="{FF2B5EF4-FFF2-40B4-BE49-F238E27FC236}">
                <a16:creationId xmlns:a16="http://schemas.microsoft.com/office/drawing/2014/main" id="{7F29C372-9BB3-B540-BC47-46BD6E59417E}"/>
              </a:ext>
            </a:extLst>
          </p:cNvPr>
          <p:cNvSpPr>
            <a:spLocks noGrp="1"/>
          </p:cNvSpPr>
          <p:nvPr userDrawn="1">
            <p:ph type="body" sz="quarter" idx="34" hasCustomPrompt="1"/>
          </p:nvPr>
        </p:nvSpPr>
        <p:spPr>
          <a:xfrm>
            <a:off x="1018030" y="4673306"/>
            <a:ext cx="5077970" cy="895181"/>
          </a:xfrm>
          <a:prstGeom prst="rect">
            <a:avLst/>
          </a:prstGeom>
          <a:noFill/>
        </p:spPr>
        <p:txBody>
          <a:bodyPr>
            <a:noAutofit/>
          </a:bodyPr>
          <a:lstStyle>
            <a:lvl1pPr>
              <a:defRPr/>
            </a:lvl1pPr>
          </a:lstStyle>
          <a:p>
            <a:pPr lvl="0"/>
            <a:r>
              <a:rPr lang="en-US"/>
              <a:t>Presenter’s Title</a:t>
            </a:r>
          </a:p>
          <a:p>
            <a:pPr lvl="0"/>
            <a:r>
              <a:rPr lang="en-US"/>
              <a:t>Organization, Division or Business Unit</a:t>
            </a:r>
          </a:p>
          <a:p>
            <a:pPr lvl="0"/>
            <a:r>
              <a:rPr lang="en-US"/>
              <a:t>Month 00, 2019</a:t>
            </a:r>
          </a:p>
        </p:txBody>
      </p:sp>
    </p:spTree>
    <p:extLst>
      <p:ext uri="{BB962C8B-B14F-4D97-AF65-F5344CB8AC3E}">
        <p14:creationId xmlns:p14="http://schemas.microsoft.com/office/powerpoint/2010/main" val="364201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ght - Safe Harbor">
    <p:spTree>
      <p:nvGrpSpPr>
        <p:cNvPr id="1" name=""/>
        <p:cNvGrpSpPr/>
        <p:nvPr/>
      </p:nvGrpSpPr>
      <p:grpSpPr>
        <a:xfrm>
          <a:off x="0" y="0"/>
          <a:ext cx="0" cy="0"/>
          <a:chOff x="0" y="0"/>
          <a:chExt cx="0" cy="0"/>
        </a:xfrm>
      </p:grpSpPr>
      <p:pic>
        <p:nvPicPr>
          <p:cNvPr id="11" name="Cloud">
            <a:extLst>
              <a:ext uri="{FF2B5EF4-FFF2-40B4-BE49-F238E27FC236}">
                <a16:creationId xmlns:a16="http://schemas.microsoft.com/office/drawing/2014/main" id="{6D88F4F8-B668-4451-9803-76966F91A910}"/>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1241" r="8664" b="12655"/>
          <a:stretch>
            <a:fillRect/>
          </a:stretch>
        </p:blipFill>
        <p:spPr>
          <a:xfrm>
            <a:off x="6204016" y="3522920"/>
            <a:ext cx="5987984" cy="2643963"/>
          </a:xfrm>
          <a:prstGeom prst="rect">
            <a:avLst/>
          </a:prstGeom>
        </p:spPr>
      </p:pic>
      <p:sp>
        <p:nvSpPr>
          <p:cNvPr id="13" name="Title">
            <a:extLst>
              <a:ext uri="{FF2B5EF4-FFF2-40B4-BE49-F238E27FC236}">
                <a16:creationId xmlns:a16="http://schemas.microsoft.com/office/drawing/2014/main" id="{F7C5FACA-CB69-F341-96EC-260102929140}"/>
              </a:ext>
            </a:extLst>
          </p:cNvPr>
          <p:cNvSpPr txBox="1"/>
          <p:nvPr userDrawn="1"/>
        </p:nvSpPr>
        <p:spPr>
          <a:xfrm>
            <a:off x="766762" y="508000"/>
            <a:ext cx="10671048" cy="822960"/>
          </a:xfrm>
          <a:prstGeom prst="rect">
            <a:avLst/>
          </a:prstGeom>
        </p:spPr>
        <p:txBody>
          <a:bodyPr vert="horz" lIns="0" tIns="0" rIns="0" bIns="0" rtlCol="0" anchor="b">
            <a:noAutofit/>
          </a:bodyPr>
          <a:lstStyle>
            <a:lvl1pPr lvl="0" indent="0">
              <a:lnSpc>
                <a:spcPct val="95000"/>
              </a:lnSpc>
              <a:spcBef>
                <a:spcPts val="1000"/>
              </a:spcBef>
              <a:buFont typeface="Arial" panose="020B0604020202020204" pitchFamily="34" charset="0"/>
              <a:buNone/>
              <a:defRPr sz="2400" b="1" i="0" baseline="0">
                <a:solidFill>
                  <a:schemeClr val="bg1"/>
                </a:solidFill>
                <a:latin typeface="Oracle Sans" panose="020B0503020204020204" pitchFamily="34" charset="0"/>
                <a:cs typeface="Oracle Sans" panose="020B0503020204020204" pitchFamily="34" charset="0"/>
              </a:defRPr>
            </a:lvl1pPr>
          </a:lstStyle>
          <a:p>
            <a:pPr lvl="0"/>
            <a:r>
              <a:rPr lang="en-US">
                <a:solidFill>
                  <a:schemeClr val="tx1"/>
                </a:solidFill>
                <a:latin typeface="+mn-lt"/>
              </a:rPr>
              <a:t>Safe harbor statement</a:t>
            </a:r>
          </a:p>
        </p:txBody>
      </p:sp>
      <p:sp>
        <p:nvSpPr>
          <p:cNvPr id="14" name="Text Field">
            <a:extLst>
              <a:ext uri="{FF2B5EF4-FFF2-40B4-BE49-F238E27FC236}">
                <a16:creationId xmlns:a16="http://schemas.microsoft.com/office/drawing/2014/main" id="{EA78FDD8-084D-2D41-A37D-7DE0C431B1DA}"/>
              </a:ext>
            </a:extLst>
          </p:cNvPr>
          <p:cNvSpPr txBox="1"/>
          <p:nvPr userDrawn="1"/>
        </p:nvSpPr>
        <p:spPr>
          <a:xfrm>
            <a:off x="766762" y="1827496"/>
            <a:ext cx="10654422" cy="1318887"/>
          </a:xfrm>
          <a:prstGeom prst="rect">
            <a:avLst/>
          </a:prstGeom>
          <a:noFill/>
        </p:spPr>
        <p:txBody>
          <a:bodyPr wrap="square" lIns="0" tIns="0" rIns="0" bIns="0" rtlCol="0">
            <a:spAutoFit/>
          </a:bodyPr>
          <a:lstStyle/>
          <a:p>
            <a:pPr>
              <a:lnSpc>
                <a:spcPct val="95000"/>
              </a:lnSpc>
              <a:spcBef>
                <a:spcPts val="1200"/>
              </a:spcBef>
            </a:pPr>
            <a:r>
              <a:rPr lang="en-US">
                <a:solidFill>
                  <a:schemeClr val="tx1"/>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p:txBody>
      </p:sp>
      <p:sp>
        <p:nvSpPr>
          <p:cNvPr id="8" name="Slide Number">
            <a:extLst>
              <a:ext uri="{FF2B5EF4-FFF2-40B4-BE49-F238E27FC236}">
                <a16:creationId xmlns:a16="http://schemas.microsoft.com/office/drawing/2014/main" id="{64FDDAFD-2BBE-4DB9-9077-FCD6212CA58D}"/>
              </a:ext>
            </a:extLst>
          </p:cNvPr>
          <p:cNvSpPr>
            <a:spLocks noGrp="1"/>
          </p:cNvSpPr>
          <p:nvPr>
            <p:ph type="sldNum" sz="quarter" idx="12"/>
          </p:nvPr>
        </p:nvSpPr>
        <p:spPr/>
        <p:txBody>
          <a:bodyPr/>
          <a:lstStyle/>
          <a:p>
            <a:fld id="{345D60D9-5372-5F40-9443-0F9AE5BDC3C8}" type="slidenum">
              <a:rPr lang="en-US" smtClean="0"/>
              <a:t>‹N°›</a:t>
            </a:fld>
            <a:endParaRPr lang="en-US"/>
          </a:p>
        </p:txBody>
      </p:sp>
      <p:sp>
        <p:nvSpPr>
          <p:cNvPr id="7" name="Footer">
            <a:extLst>
              <a:ext uri="{FF2B5EF4-FFF2-40B4-BE49-F238E27FC236}">
                <a16:creationId xmlns:a16="http://schemas.microsoft.com/office/drawing/2014/main" id="{34B53D45-A9AE-43C4-8329-66ED710D4345}"/>
              </a:ext>
            </a:extLst>
          </p:cNvPr>
          <p:cNvSpPr>
            <a:spLocks noGrp="1"/>
          </p:cNvSpPr>
          <p:nvPr>
            <p:ph type="ftr" sz="quarter" idx="11"/>
          </p:nvPr>
        </p:nvSpPr>
        <p:spPr/>
        <p:txBody>
          <a:bodyPr/>
          <a:lstStyle/>
          <a:p>
            <a:r>
              <a:rPr lang="en-US"/>
              <a:t>Copyright © 2020, Oracle and/or its affiliates. All rights reserved.</a:t>
            </a:r>
          </a:p>
        </p:txBody>
      </p:sp>
      <p:sp>
        <p:nvSpPr>
          <p:cNvPr id="6" name="Date">
            <a:extLst>
              <a:ext uri="{FF2B5EF4-FFF2-40B4-BE49-F238E27FC236}">
                <a16:creationId xmlns:a16="http://schemas.microsoft.com/office/drawing/2014/main" id="{20186CE4-17C1-426D-AB85-C059231C2D75}"/>
              </a:ext>
            </a:extLst>
          </p:cNvPr>
          <p:cNvSpPr>
            <a:spLocks noGrp="1"/>
          </p:cNvSpPr>
          <p:nvPr>
            <p:ph type="dt" sz="half" idx="10"/>
          </p:nvPr>
        </p:nvSpPr>
        <p:spPr/>
        <p:txBody>
          <a:bodyPr/>
          <a:lstStyle/>
          <a:p>
            <a:r>
              <a:rPr lang="en-US"/>
              <a:t>[Date]</a:t>
            </a:r>
          </a:p>
        </p:txBody>
      </p:sp>
    </p:spTree>
    <p:extLst>
      <p:ext uri="{BB962C8B-B14F-4D97-AF65-F5344CB8AC3E}">
        <p14:creationId xmlns:p14="http://schemas.microsoft.com/office/powerpoint/2010/main" val="15205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ght - Title Only">
    <p:spTree>
      <p:nvGrpSpPr>
        <p:cNvPr id="1" name=""/>
        <p:cNvGrpSpPr/>
        <p:nvPr/>
      </p:nvGrpSpPr>
      <p:grpSpPr>
        <a:xfrm>
          <a:off x="0" y="0"/>
          <a:ext cx="0" cy="0"/>
          <a:chOff x="0" y="0"/>
          <a:chExt cx="0" cy="0"/>
        </a:xfrm>
      </p:grpSpPr>
      <p:pic>
        <p:nvPicPr>
          <p:cNvPr id="9" name="Cloud">
            <a:extLst>
              <a:ext uri="{FF2B5EF4-FFF2-40B4-BE49-F238E27FC236}">
                <a16:creationId xmlns:a16="http://schemas.microsoft.com/office/drawing/2014/main" id="{504686EF-8243-4BCF-91A8-6200F0A2C43B}"/>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3483" b="29623"/>
          <a:stretch>
            <a:fillRect/>
          </a:stretch>
        </p:blipFill>
        <p:spPr bwMode="auto">
          <a:xfrm>
            <a:off x="6694964" y="290627"/>
            <a:ext cx="5101904" cy="1538174"/>
          </a:xfrm>
          <a:prstGeom prst="rect">
            <a:avLst/>
          </a:prstGeom>
        </p:spPr>
      </p:pic>
      <p:sp>
        <p:nvSpPr>
          <p:cNvPr id="2" name="Title">
            <a:extLst>
              <a:ext uri="{FF2B5EF4-FFF2-40B4-BE49-F238E27FC236}">
                <a16:creationId xmlns:a16="http://schemas.microsoft.com/office/drawing/2014/main" id="{7D784B80-564D-4EB3-ADBD-10A727F78B34}"/>
              </a:ext>
            </a:extLst>
          </p:cNvPr>
          <p:cNvSpPr>
            <a:spLocks noGrp="1"/>
          </p:cNvSpPr>
          <p:nvPr>
            <p:ph type="title" hasCustomPrompt="1"/>
          </p:nvPr>
        </p:nvSpPr>
        <p:spPr>
          <a:noFill/>
        </p:spPr>
        <p:txBody>
          <a:bodyPr/>
          <a:lstStyle>
            <a:lvl1pPr>
              <a:defRPr/>
            </a:lvl1pPr>
          </a:lstStyle>
          <a:p>
            <a:r>
              <a:rPr lang="en-US"/>
              <a:t>Title</a:t>
            </a:r>
          </a:p>
        </p:txBody>
      </p:sp>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2" name="Footer">
            <a:extLst>
              <a:ext uri="{FF2B5EF4-FFF2-40B4-BE49-F238E27FC236}">
                <a16:creationId xmlns:a16="http://schemas.microsoft.com/office/drawing/2014/main" id="{094BB478-39FC-BC45-B020-64CE083CBD80}"/>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3" name="Date">
            <a:extLst>
              <a:ext uri="{FF2B5EF4-FFF2-40B4-BE49-F238E27FC236}">
                <a16:creationId xmlns:a16="http://schemas.microsoft.com/office/drawing/2014/main" id="{404F3910-DE41-461B-B745-6B2DE7415136}"/>
              </a:ext>
            </a:extLst>
          </p:cNvPr>
          <p:cNvSpPr>
            <a:spLocks noGrp="1"/>
          </p:cNvSpPr>
          <p:nvPr>
            <p:ph type="dt" sz="half" idx="10"/>
          </p:nvPr>
        </p:nvSpPr>
        <p:spPr/>
        <p:txBody>
          <a:bodyPr/>
          <a:lstStyle/>
          <a:p>
            <a:r>
              <a:rPr lang="en-US"/>
              <a:t>[Date]</a:t>
            </a:r>
          </a:p>
        </p:txBody>
      </p:sp>
    </p:spTree>
    <p:extLst>
      <p:ext uri="{BB962C8B-B14F-4D97-AF65-F5344CB8AC3E}">
        <p14:creationId xmlns:p14="http://schemas.microsoft.com/office/powerpoint/2010/main" val="2021089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ght - Title/Subtitle">
    <p:spTree>
      <p:nvGrpSpPr>
        <p:cNvPr id="1" name=""/>
        <p:cNvGrpSpPr/>
        <p:nvPr/>
      </p:nvGrpSpPr>
      <p:grpSpPr>
        <a:xfrm>
          <a:off x="0" y="0"/>
          <a:ext cx="0" cy="0"/>
          <a:chOff x="0" y="0"/>
          <a:chExt cx="0" cy="0"/>
        </a:xfrm>
      </p:grpSpPr>
      <p:pic>
        <p:nvPicPr>
          <p:cNvPr id="24" name="Cloud">
            <a:extLst>
              <a:ext uri="{FF2B5EF4-FFF2-40B4-BE49-F238E27FC236}">
                <a16:creationId xmlns:a16="http://schemas.microsoft.com/office/drawing/2014/main" id="{26C48C61-C945-46B0-BC5F-E47874C63065}"/>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3483" b="29623"/>
          <a:stretch>
            <a:fillRect/>
          </a:stretch>
        </p:blipFill>
        <p:spPr>
          <a:xfrm>
            <a:off x="6694964" y="290623"/>
            <a:ext cx="5101904" cy="1538170"/>
          </a:xfrm>
          <a:prstGeom prst="rect">
            <a:avLst/>
          </a:prstGeom>
        </p:spPr>
      </p:pic>
      <p:sp>
        <p:nvSpPr>
          <p:cNvPr id="14" name="Title">
            <a:extLst>
              <a:ext uri="{FF2B5EF4-FFF2-40B4-BE49-F238E27FC236}">
                <a16:creationId xmlns:a16="http://schemas.microsoft.com/office/drawing/2014/main" id="{C5B988DC-BF6C-334D-85AD-4F0BEE2F334E}"/>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sp>
        <p:nvSpPr>
          <p:cNvPr id="15" name="Subtitle">
            <a:extLst>
              <a:ext uri="{FF2B5EF4-FFF2-40B4-BE49-F238E27FC236}">
                <a16:creationId xmlns:a16="http://schemas.microsoft.com/office/drawing/2014/main" id="{FC0004EB-159B-A345-859C-0E83416ED930}"/>
              </a:ext>
            </a:extLst>
          </p:cNvPr>
          <p:cNvSpPr>
            <a:spLocks noGrp="1"/>
          </p:cNvSpPr>
          <p:nvPr>
            <p:ph type="body" sz="quarter" idx="11" hasCustomPrompt="1"/>
          </p:nvPr>
        </p:nvSpPr>
        <p:spPr>
          <a:xfrm>
            <a:off x="762000" y="1024235"/>
            <a:ext cx="10671048" cy="330540"/>
          </a:xfrm>
          <a:prstGeom prst="rect">
            <a:avLst/>
          </a:prstGeom>
        </p:spPr>
        <p:txBody>
          <a:bodyPr lIns="0">
            <a:noAutofit/>
          </a:bodyPr>
          <a:lstStyle>
            <a:lvl1pPr marL="0" indent="0">
              <a:spcAft>
                <a:spcPct val="0"/>
              </a:spcAft>
              <a:buNone/>
              <a:defRPr sz="2000" b="0" i="0">
                <a:latin typeface="Oracle Sans" panose="020B0503020204020204" pitchFamily="34" charset="0"/>
                <a:cs typeface="Oracle Sans" panose="020B0503020204020204" pitchFamily="34" charset="0"/>
              </a:defRPr>
            </a:lvl1pPr>
          </a:lstStyle>
          <a:p>
            <a:pPr lvl="0"/>
            <a:r>
              <a:rPr lang="en-US"/>
              <a:t>Subtitle</a:t>
            </a:r>
          </a:p>
        </p:txBody>
      </p:sp>
      <p:sp>
        <p:nvSpPr>
          <p:cNvPr id="12" name="Slide Number">
            <a:extLst>
              <a:ext uri="{FF2B5EF4-FFF2-40B4-BE49-F238E27FC236}">
                <a16:creationId xmlns:a16="http://schemas.microsoft.com/office/drawing/2014/main" id="{D7A7E286-6F34-C745-B594-99BF177EC1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1" name="Footer">
            <a:extLst>
              <a:ext uri="{FF2B5EF4-FFF2-40B4-BE49-F238E27FC236}">
                <a16:creationId xmlns:a16="http://schemas.microsoft.com/office/drawing/2014/main" id="{9B38191F-5718-D34F-A1D1-D1C28CE0A93A}"/>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2" name="Date">
            <a:extLst>
              <a:ext uri="{FF2B5EF4-FFF2-40B4-BE49-F238E27FC236}">
                <a16:creationId xmlns:a16="http://schemas.microsoft.com/office/drawing/2014/main" id="{98B76A7F-F012-4E7A-8F57-5A0BFEF019F9}"/>
              </a:ext>
            </a:extLst>
          </p:cNvPr>
          <p:cNvSpPr>
            <a:spLocks noGrp="1"/>
          </p:cNvSpPr>
          <p:nvPr>
            <p:ph type="dt" sz="half" idx="12"/>
          </p:nvPr>
        </p:nvSpPr>
        <p:spPr/>
        <p:txBody>
          <a:bodyPr/>
          <a:lstStyle/>
          <a:p>
            <a:r>
              <a:rPr lang="en-US"/>
              <a:t>[Date]</a:t>
            </a:r>
          </a:p>
        </p:txBody>
      </p:sp>
    </p:spTree>
    <p:extLst>
      <p:ext uri="{BB962C8B-B14F-4D97-AF65-F5344CB8AC3E}">
        <p14:creationId xmlns:p14="http://schemas.microsoft.com/office/powerpoint/2010/main" val="220275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ight - Title 1 Column">
    <p:spTree>
      <p:nvGrpSpPr>
        <p:cNvPr id="1" name=""/>
        <p:cNvGrpSpPr/>
        <p:nvPr/>
      </p:nvGrpSpPr>
      <p:grpSpPr>
        <a:xfrm>
          <a:off x="0" y="0"/>
          <a:ext cx="0" cy="0"/>
          <a:chOff x="0" y="0"/>
          <a:chExt cx="0" cy="0"/>
        </a:xfrm>
      </p:grpSpPr>
      <p:pic>
        <p:nvPicPr>
          <p:cNvPr id="9" name="Cloud">
            <a:extLst>
              <a:ext uri="{FF2B5EF4-FFF2-40B4-BE49-F238E27FC236}">
                <a16:creationId xmlns:a16="http://schemas.microsoft.com/office/drawing/2014/main" id="{AF68B48D-7F95-4DA7-B664-4C9D86C8F3E7}"/>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4531" b="29623"/>
          <a:stretch>
            <a:fillRect/>
          </a:stretch>
        </p:blipFill>
        <p:spPr>
          <a:xfrm>
            <a:off x="6694964" y="318983"/>
            <a:ext cx="5101904" cy="1509818"/>
          </a:xfrm>
          <a:prstGeom prst="rect">
            <a:avLst/>
          </a:prstGeom>
        </p:spPr>
      </p:pic>
      <p:sp>
        <p:nvSpPr>
          <p:cNvPr id="18" name="Title">
            <a:extLst>
              <a:ext uri="{FF2B5EF4-FFF2-40B4-BE49-F238E27FC236}">
                <a16:creationId xmlns:a16="http://schemas.microsoft.com/office/drawing/2014/main" id="{7EB50C14-95FD-4BA4-AED6-A1D55121D1FC}"/>
              </a:ext>
            </a:extLst>
          </p:cNvPr>
          <p:cNvSpPr>
            <a:spLocks noGrp="1"/>
          </p:cNvSpPr>
          <p:nvPr>
            <p:ph type="title" hasCustomPrompt="1"/>
          </p:nvPr>
        </p:nvSpPr>
        <p:spPr>
          <a:xfrm>
            <a:off x="766871" y="508000"/>
            <a:ext cx="10671048" cy="822960"/>
          </a:xfrm>
          <a:noFill/>
        </p:spPr>
        <p:txBody>
          <a:bodyPr/>
          <a:lstStyle>
            <a:lvl1pPr>
              <a:defRPr/>
            </a:lvl1pPr>
          </a:lstStyle>
          <a:p>
            <a:r>
              <a:rPr lang="en-US"/>
              <a:t>Title</a:t>
            </a:r>
          </a:p>
        </p:txBody>
      </p:sp>
      <p:sp>
        <p:nvSpPr>
          <p:cNvPr id="3" name="Content">
            <a:extLst>
              <a:ext uri="{FF2B5EF4-FFF2-40B4-BE49-F238E27FC236}">
                <a16:creationId xmlns:a16="http://schemas.microsoft.com/office/drawing/2014/main" id="{A7769D6F-94B5-44BC-81E6-D6C499F1AAD8}"/>
              </a:ext>
            </a:extLst>
          </p:cNvPr>
          <p:cNvSpPr>
            <a:spLocks noGrp="1"/>
          </p:cNvSpPr>
          <p:nvPr>
            <p:ph idx="1"/>
          </p:nvPr>
        </p:nvSpPr>
        <p:spPr>
          <a:xfrm>
            <a:off x="766871" y="1830033"/>
            <a:ext cx="10671048" cy="4277080"/>
          </a:xfrm>
          <a:noFill/>
        </p:spPr>
        <p:txBody>
          <a:bodyPr vert="horz" lIns="0" tIns="0" rIns="0" bIns="0" rtlCol="0">
            <a:noAutofit/>
          </a:bodyPr>
          <a:lstStyle>
            <a:lvl1pPr>
              <a:defRPr lang="en-US" sz="1800" b="0" i="0" smtClean="0">
                <a:latin typeface="Oracle Sans" panose="020B0503020204020204" pitchFamily="34" charset="0"/>
                <a:cs typeface="Oracle Sans" panose="020B0503020204020204" pitchFamily="34" charset="0"/>
              </a:defRPr>
            </a:lvl1pPr>
            <a:lvl2pPr>
              <a:defRPr lang="en-US" sz="1800" b="0" i="0" smtClean="0">
                <a:latin typeface="Oracle Sans" panose="020B0503020204020204" pitchFamily="34" charset="0"/>
                <a:cs typeface="Oracle Sans" panose="020B0503020204020204" pitchFamily="34" charset="0"/>
              </a:defRPr>
            </a:lvl2pPr>
            <a:lvl3pPr>
              <a:defRPr lang="en-US" sz="1600" smtClean="0">
                <a:latin typeface="Oracle Sans Light" panose="020B0403020204020204" pitchFamily="34" charset="0"/>
                <a:cs typeface="Oracle Sans Light" panose="020B0403020204020204" pitchFamily="34" charset="0"/>
              </a:defRPr>
            </a:lvl3pPr>
            <a:lvl4pPr>
              <a:defRPr lang="en-US" sz="1400" smtClean="0">
                <a:latin typeface="Oracle Sans Light" panose="020B0403020204020204" pitchFamily="34" charset="0"/>
                <a:cs typeface="Oracle Sans Light" panose="020B0403020204020204" pitchFamily="34" charset="0"/>
              </a:defRPr>
            </a:lvl4pPr>
            <a:lvl5pPr>
              <a:defRPr lang="en-US" sz="1200">
                <a:latin typeface="Oracle Sans Light" panose="020B0403020204020204" pitchFamily="34" charset="0"/>
                <a:cs typeface="Oracle Sans Light" panose="020B0403020204020204" pitchFamily="34" charset="0"/>
              </a:defRPr>
            </a:lvl5pPr>
          </a:lstStyle>
          <a:p>
            <a:pPr marL="0" marR="0" lvl="0" indent="0" fontAlgn="auto">
              <a:lnSpc>
                <a:spcPct val="95000"/>
              </a:lnSpc>
              <a:spcBef>
                <a:spcPts val="600"/>
              </a:spcBef>
              <a:spcAft>
                <a:spcPct val="0"/>
              </a:spcAft>
              <a:buClrTx/>
              <a:buSzTx/>
              <a:buFont typeface="System Font Regular"/>
              <a:buNone/>
            </a:pPr>
            <a:r>
              <a:rPr lang="en-US"/>
              <a:t>Click to edit Master text styles</a:t>
            </a:r>
          </a:p>
          <a:p>
            <a:pPr marL="0" marR="0" lvl="1" indent="0" fontAlgn="auto">
              <a:lnSpc>
                <a:spcPct val="95000"/>
              </a:lnSpc>
              <a:spcBef>
                <a:spcPts val="600"/>
              </a:spcBef>
              <a:spcAft>
                <a:spcPct val="0"/>
              </a:spcAft>
              <a:buClrTx/>
              <a:buSzTx/>
              <a:buFont typeface="System Font Regular"/>
              <a:buNone/>
            </a:pPr>
            <a:r>
              <a:rPr lang="en-US"/>
              <a:t>Second level</a:t>
            </a:r>
          </a:p>
          <a:p>
            <a:pPr marL="0" marR="0" lvl="2" indent="0" fontAlgn="auto">
              <a:lnSpc>
                <a:spcPct val="95000"/>
              </a:lnSpc>
              <a:spcBef>
                <a:spcPts val="600"/>
              </a:spcBef>
              <a:spcAft>
                <a:spcPct val="0"/>
              </a:spcAft>
              <a:buClrTx/>
              <a:buSzTx/>
              <a:buFont typeface="System Font Regular"/>
              <a:buNone/>
            </a:pPr>
            <a:r>
              <a:rPr lang="en-US"/>
              <a:t>Third level</a:t>
            </a:r>
          </a:p>
          <a:p>
            <a:pPr marL="0" marR="0" lvl="3" indent="0" fontAlgn="auto">
              <a:lnSpc>
                <a:spcPct val="95000"/>
              </a:lnSpc>
              <a:spcBef>
                <a:spcPts val="600"/>
              </a:spcBef>
              <a:spcAft>
                <a:spcPct val="0"/>
              </a:spcAft>
              <a:buClrTx/>
              <a:buSzTx/>
              <a:buFont typeface="System Font Regular"/>
              <a:buNone/>
            </a:pPr>
            <a:r>
              <a:rPr lang="en-US"/>
              <a:t>Fourth level</a:t>
            </a:r>
          </a:p>
          <a:p>
            <a:pPr marL="0" marR="0" lvl="4" indent="0" fontAlgn="auto">
              <a:lnSpc>
                <a:spcPct val="95000"/>
              </a:lnSpc>
              <a:spcBef>
                <a:spcPts val="600"/>
              </a:spcBef>
              <a:spcAft>
                <a:spcPct val="0"/>
              </a:spcAft>
              <a:buClrTx/>
              <a:buSzTx/>
              <a:buFont typeface="System Font Regular"/>
              <a:buNone/>
            </a:pPr>
            <a:r>
              <a:rPr lang="en-US"/>
              <a:t>Fifth level</a:t>
            </a:r>
          </a:p>
        </p:txBody>
      </p:sp>
      <p:sp>
        <p:nvSpPr>
          <p:cNvPr id="13" name="Slide Number">
            <a:extLst>
              <a:ext uri="{FF2B5EF4-FFF2-40B4-BE49-F238E27FC236}">
                <a16:creationId xmlns:a16="http://schemas.microsoft.com/office/drawing/2014/main" id="{649C3E4A-56A6-4657-815D-5F0928FEFE14}"/>
              </a:ext>
            </a:extLst>
          </p:cNvPr>
          <p:cNvSpPr>
            <a:spLocks noGrp="1"/>
          </p:cNvSpPr>
          <p:nvPr>
            <p:ph type="sldNum" sz="quarter" idx="12"/>
          </p:nvPr>
        </p:nvSpPr>
        <p:spPr/>
        <p:txBody>
          <a:bodyPr/>
          <a:lstStyle/>
          <a:p>
            <a:fld id="{345D60D9-5372-5F40-9443-0F9AE5BDC3C8}" type="slidenum">
              <a:rPr lang="en-US" smtClean="0"/>
              <a:t>‹N°›</a:t>
            </a:fld>
            <a:endParaRPr lang="en-US"/>
          </a:p>
        </p:txBody>
      </p:sp>
      <p:sp>
        <p:nvSpPr>
          <p:cNvPr id="12" name="Footer">
            <a:extLst>
              <a:ext uri="{FF2B5EF4-FFF2-40B4-BE49-F238E27FC236}">
                <a16:creationId xmlns:a16="http://schemas.microsoft.com/office/drawing/2014/main" id="{681B7FDB-21AD-43D3-9629-6865ECE7ADC5}"/>
              </a:ext>
            </a:extLst>
          </p:cNvPr>
          <p:cNvSpPr>
            <a:spLocks noGrp="1"/>
          </p:cNvSpPr>
          <p:nvPr>
            <p:ph type="ftr" sz="quarter" idx="11"/>
          </p:nvPr>
        </p:nvSpPr>
        <p:spPr/>
        <p:txBody>
          <a:bodyPr/>
          <a:lstStyle/>
          <a:p>
            <a:r>
              <a:rPr lang="en-US"/>
              <a:t>Copyright © 2020, Oracle and/or its affiliates. All rights reserved.</a:t>
            </a:r>
          </a:p>
        </p:txBody>
      </p:sp>
      <p:sp>
        <p:nvSpPr>
          <p:cNvPr id="11" name="Date">
            <a:extLst>
              <a:ext uri="{FF2B5EF4-FFF2-40B4-BE49-F238E27FC236}">
                <a16:creationId xmlns:a16="http://schemas.microsoft.com/office/drawing/2014/main" id="{2872A553-B5A6-4603-91A2-FF76401D8DFC}"/>
              </a:ext>
            </a:extLst>
          </p:cNvPr>
          <p:cNvSpPr>
            <a:spLocks noGrp="1"/>
          </p:cNvSpPr>
          <p:nvPr>
            <p:ph type="dt" sz="half" idx="10"/>
          </p:nvPr>
        </p:nvSpPr>
        <p:spPr/>
        <p:txBody>
          <a:bodyPr/>
          <a:lstStyle/>
          <a:p>
            <a:r>
              <a:rPr lang="en-US"/>
              <a:t>[Date]</a:t>
            </a:r>
          </a:p>
        </p:txBody>
      </p:sp>
    </p:spTree>
    <p:extLst>
      <p:ext uri="{BB962C8B-B14F-4D97-AF65-F5344CB8AC3E}">
        <p14:creationId xmlns:p14="http://schemas.microsoft.com/office/powerpoint/2010/main" val="207939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ight - Title 2 Column">
    <p:bg>
      <p:bgRef idx="1001">
        <a:schemeClr val="bg1"/>
      </p:bgRef>
    </p:bg>
    <p:spTree>
      <p:nvGrpSpPr>
        <p:cNvPr id="1" name=""/>
        <p:cNvGrpSpPr/>
        <p:nvPr/>
      </p:nvGrpSpPr>
      <p:grpSpPr>
        <a:xfrm>
          <a:off x="0" y="0"/>
          <a:ext cx="0" cy="0"/>
          <a:chOff x="0" y="0"/>
          <a:chExt cx="0" cy="0"/>
        </a:xfrm>
      </p:grpSpPr>
      <p:pic>
        <p:nvPicPr>
          <p:cNvPr id="14" name="Cloud">
            <a:extLst>
              <a:ext uri="{FF2B5EF4-FFF2-40B4-BE49-F238E27FC236}">
                <a16:creationId xmlns:a16="http://schemas.microsoft.com/office/drawing/2014/main" id="{7C2C8825-3412-4D62-BD4E-57B025A1FFF5}"/>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3483" b="29658"/>
          <a:stretch>
            <a:fillRect/>
          </a:stretch>
        </p:blipFill>
        <p:spPr>
          <a:xfrm>
            <a:off x="6694964" y="290625"/>
            <a:ext cx="5101904" cy="1537222"/>
          </a:xfrm>
          <a:prstGeom prst="rect">
            <a:avLst/>
          </a:prstGeom>
        </p:spPr>
      </p:pic>
      <p:sp>
        <p:nvSpPr>
          <p:cNvPr id="2" name="Title">
            <a:extLst>
              <a:ext uri="{FF2B5EF4-FFF2-40B4-BE49-F238E27FC236}">
                <a16:creationId xmlns:a16="http://schemas.microsoft.com/office/drawing/2014/main" id="{46BD88C8-DBDA-49C1-B1B7-50F4601E3234}"/>
              </a:ext>
            </a:extLst>
          </p:cNvPr>
          <p:cNvSpPr>
            <a:spLocks noGrp="1"/>
          </p:cNvSpPr>
          <p:nvPr>
            <p:ph type="title" hasCustomPrompt="1"/>
          </p:nvPr>
        </p:nvSpPr>
        <p:spPr>
          <a:xfrm>
            <a:off x="768875" y="508000"/>
            <a:ext cx="10671048" cy="822960"/>
          </a:xfrm>
        </p:spPr>
        <p:txBody>
          <a:bodyPr/>
          <a:lstStyle>
            <a:lvl1pPr>
              <a:defRPr/>
            </a:lvl1pPr>
          </a:lstStyle>
          <a:p>
            <a:r>
              <a:rPr lang="en-US"/>
              <a:t>Title</a:t>
            </a:r>
          </a:p>
        </p:txBody>
      </p:sp>
      <p:sp>
        <p:nvSpPr>
          <p:cNvPr id="6" name="Content">
            <a:extLst>
              <a:ext uri="{FF2B5EF4-FFF2-40B4-BE49-F238E27FC236}">
                <a16:creationId xmlns:a16="http://schemas.microsoft.com/office/drawing/2014/main" id="{238CEDEE-F37B-4496-9270-0479A31C9762}"/>
              </a:ext>
            </a:extLst>
          </p:cNvPr>
          <p:cNvSpPr>
            <a:spLocks noGrp="1"/>
          </p:cNvSpPr>
          <p:nvPr>
            <p:ph sz="quarter" idx="14"/>
          </p:nvPr>
        </p:nvSpPr>
        <p:spPr>
          <a:xfrm>
            <a:off x="768875" y="1828166"/>
            <a:ext cx="5084064" cy="4278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Column Divider" descr="Column Divider">
            <a:extLst>
              <a:ext uri="{FF2B5EF4-FFF2-40B4-BE49-F238E27FC236}">
                <a16:creationId xmlns:a16="http://schemas.microsoft.com/office/drawing/2014/main" id="{C3377C95-3E35-473F-8E81-1FDFBEBC758A}"/>
              </a:ext>
            </a:extLst>
          </p:cNvPr>
          <p:cNvCxnSpPr/>
          <p:nvPr userDrawn="1"/>
        </p:nvCxnSpPr>
        <p:spPr>
          <a:xfrm flipH="1">
            <a:off x="6096002" y="1828166"/>
            <a:ext cx="0" cy="4279392"/>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Content 2">
            <a:extLst>
              <a:ext uri="{FF2B5EF4-FFF2-40B4-BE49-F238E27FC236}">
                <a16:creationId xmlns:a16="http://schemas.microsoft.com/office/drawing/2014/main" id="{22A9895A-06CA-46D6-B3EB-7038E6493585}"/>
              </a:ext>
            </a:extLst>
          </p:cNvPr>
          <p:cNvSpPr>
            <a:spLocks noGrp="1"/>
          </p:cNvSpPr>
          <p:nvPr>
            <p:ph sz="quarter" idx="15"/>
          </p:nvPr>
        </p:nvSpPr>
        <p:spPr>
          <a:xfrm>
            <a:off x="6347165" y="1828166"/>
            <a:ext cx="5084064" cy="4278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6" name="Footer">
            <a:extLst>
              <a:ext uri="{FF2B5EF4-FFF2-40B4-BE49-F238E27FC236}">
                <a16:creationId xmlns:a16="http://schemas.microsoft.com/office/drawing/2014/main" id="{1AB0EF40-5295-EF4A-B110-EB440EE86C0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4" name="Date">
            <a:extLst>
              <a:ext uri="{FF2B5EF4-FFF2-40B4-BE49-F238E27FC236}">
                <a16:creationId xmlns:a16="http://schemas.microsoft.com/office/drawing/2014/main" id="{9A9CDCEC-39F6-4246-8F7F-AED8ADB3C387}"/>
              </a:ext>
            </a:extLst>
          </p:cNvPr>
          <p:cNvSpPr>
            <a:spLocks noGrp="1"/>
          </p:cNvSpPr>
          <p:nvPr>
            <p:ph type="dt" sz="half" idx="13"/>
          </p:nvPr>
        </p:nvSpPr>
        <p:spPr/>
        <p:txBody>
          <a:bodyPr/>
          <a:lstStyle/>
          <a:p>
            <a:r>
              <a:rPr lang="en-US"/>
              <a:t>[Date]</a:t>
            </a:r>
          </a:p>
        </p:txBody>
      </p:sp>
    </p:spTree>
    <p:extLst>
      <p:ext uri="{BB962C8B-B14F-4D97-AF65-F5344CB8AC3E}">
        <p14:creationId xmlns:p14="http://schemas.microsoft.com/office/powerpoint/2010/main" val="2929918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33E5B55-03D4-4907-B7A1-86A76B34C7B4}"/>
              </a:ext>
            </a:extLst>
          </p:cNvPr>
          <p:cNvSpPr>
            <a:spLocks noGrp="1"/>
          </p:cNvSpPr>
          <p:nvPr>
            <p:ph type="dt" sz="half" idx="10"/>
          </p:nvPr>
        </p:nvSpPr>
        <p:spPr/>
        <p:txBody>
          <a:bodyPr/>
          <a:lstStyle/>
          <a:p>
            <a:fld id="{C082D93D-BB9D-4A96-8DF9-FDBC80E31E79}" type="datetimeFigureOut">
              <a:rPr lang="fr-FR" smtClean="0"/>
              <a:t>20/06/2022</a:t>
            </a:fld>
            <a:endParaRPr lang="fr-FR"/>
          </a:p>
        </p:txBody>
      </p:sp>
      <p:sp>
        <p:nvSpPr>
          <p:cNvPr id="3" name="Espace réservé du pied de page 2">
            <a:extLst>
              <a:ext uri="{FF2B5EF4-FFF2-40B4-BE49-F238E27FC236}">
                <a16:creationId xmlns:a16="http://schemas.microsoft.com/office/drawing/2014/main" id="{AF31A82E-04D7-486F-8436-DF615ED6569E}"/>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7BCDAED2-D795-40F4-AEB6-264FB495569B}"/>
              </a:ext>
            </a:extLst>
          </p:cNvPr>
          <p:cNvSpPr>
            <a:spLocks noGrp="1"/>
          </p:cNvSpPr>
          <p:nvPr>
            <p:ph type="sldNum" sz="quarter" idx="12"/>
          </p:nvPr>
        </p:nvSpPr>
        <p:spPr/>
        <p:txBody>
          <a:bodyPr/>
          <a:lstStyle/>
          <a:p>
            <a:fld id="{C60638B9-5C1C-4816-9EFB-66EE4C45AA8E}" type="slidenum">
              <a:rPr lang="fr-FR" smtClean="0"/>
              <a:t>‹N°›</a:t>
            </a:fld>
            <a:endParaRPr lang="fr-FR"/>
          </a:p>
        </p:txBody>
      </p:sp>
    </p:spTree>
    <p:extLst>
      <p:ext uri="{BB962C8B-B14F-4D97-AF65-F5344CB8AC3E}">
        <p14:creationId xmlns:p14="http://schemas.microsoft.com/office/powerpoint/2010/main" val="16039722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ght - Title/Subtitle 2 Column">
    <p:spTree>
      <p:nvGrpSpPr>
        <p:cNvPr id="1" name=""/>
        <p:cNvGrpSpPr/>
        <p:nvPr/>
      </p:nvGrpSpPr>
      <p:grpSpPr>
        <a:xfrm>
          <a:off x="0" y="0"/>
          <a:ext cx="0" cy="0"/>
          <a:chOff x="0" y="0"/>
          <a:chExt cx="0" cy="0"/>
        </a:xfrm>
      </p:grpSpPr>
      <p:pic>
        <p:nvPicPr>
          <p:cNvPr id="20" name="Cloud">
            <a:extLst>
              <a:ext uri="{FF2B5EF4-FFF2-40B4-BE49-F238E27FC236}">
                <a16:creationId xmlns:a16="http://schemas.microsoft.com/office/drawing/2014/main" id="{44BFF552-E298-460D-8CC2-4C3859304846}"/>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9251" b="31721"/>
          <a:stretch>
            <a:fillRect/>
          </a:stretch>
        </p:blipFill>
        <p:spPr>
          <a:xfrm>
            <a:off x="6694964" y="446569"/>
            <a:ext cx="5101904" cy="1325524"/>
          </a:xfrm>
          <a:prstGeom prst="rect">
            <a:avLst/>
          </a:prstGeom>
        </p:spPr>
      </p:pic>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6763"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sp>
        <p:nvSpPr>
          <p:cNvPr id="3" name="Subtitle">
            <a:extLst>
              <a:ext uri="{FF2B5EF4-FFF2-40B4-BE49-F238E27FC236}">
                <a16:creationId xmlns:a16="http://schemas.microsoft.com/office/drawing/2014/main" id="{46A3BF75-E03A-3149-A8B6-C22593F32B62}"/>
              </a:ext>
            </a:extLst>
          </p:cNvPr>
          <p:cNvSpPr>
            <a:spLocks noGrp="1"/>
          </p:cNvSpPr>
          <p:nvPr>
            <p:ph type="body" sz="quarter" idx="11" hasCustomPrompt="1"/>
          </p:nvPr>
        </p:nvSpPr>
        <p:spPr>
          <a:xfrm>
            <a:off x="766763" y="1014984"/>
            <a:ext cx="10671048" cy="330540"/>
          </a:xfrm>
          <a:prstGeom prst="rect">
            <a:avLst/>
          </a:prstGeom>
        </p:spPr>
        <p:txBody>
          <a:bodyPr lIns="0">
            <a:noAutofit/>
          </a:bodyPr>
          <a:lstStyle>
            <a:lvl1pPr marL="0" indent="0">
              <a:spcAft>
                <a:spcPct val="0"/>
              </a:spcAft>
              <a:buNone/>
              <a:defRPr sz="2000" b="0" i="0">
                <a:latin typeface="Oracle Sans" panose="020B0503020204020204" pitchFamily="34" charset="0"/>
                <a:cs typeface="Oracle Sans" panose="020B0503020204020204" pitchFamily="34" charset="0"/>
              </a:defRPr>
            </a:lvl1pPr>
          </a:lstStyle>
          <a:p>
            <a:pPr lvl="0"/>
            <a:r>
              <a:rPr lang="en-US"/>
              <a:t>Subtitle</a:t>
            </a:r>
          </a:p>
        </p:txBody>
      </p:sp>
      <p:sp>
        <p:nvSpPr>
          <p:cNvPr id="6" name="Content">
            <a:extLst>
              <a:ext uri="{FF2B5EF4-FFF2-40B4-BE49-F238E27FC236}">
                <a16:creationId xmlns:a16="http://schemas.microsoft.com/office/drawing/2014/main" id="{238CEDEE-F37B-4496-9270-0479A31C9762}"/>
              </a:ext>
            </a:extLst>
          </p:cNvPr>
          <p:cNvSpPr>
            <a:spLocks noGrp="1"/>
          </p:cNvSpPr>
          <p:nvPr>
            <p:ph sz="quarter" idx="14"/>
          </p:nvPr>
        </p:nvSpPr>
        <p:spPr>
          <a:xfrm>
            <a:off x="766763" y="1827373"/>
            <a:ext cx="5084064" cy="4278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Column Divider" descr="Column Divider">
            <a:extLst>
              <a:ext uri="{FF2B5EF4-FFF2-40B4-BE49-F238E27FC236}">
                <a16:creationId xmlns:a16="http://schemas.microsoft.com/office/drawing/2014/main" id="{C3377C95-3E35-473F-8E81-1FDFBEBC758A}"/>
              </a:ext>
            </a:extLst>
          </p:cNvPr>
          <p:cNvCxnSpPr/>
          <p:nvPr userDrawn="1"/>
        </p:nvCxnSpPr>
        <p:spPr>
          <a:xfrm flipH="1">
            <a:off x="6096002" y="1827373"/>
            <a:ext cx="0" cy="4279392"/>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Content 2">
            <a:extLst>
              <a:ext uri="{FF2B5EF4-FFF2-40B4-BE49-F238E27FC236}">
                <a16:creationId xmlns:a16="http://schemas.microsoft.com/office/drawing/2014/main" id="{22A9895A-06CA-46D6-B3EB-7038E6493585}"/>
              </a:ext>
            </a:extLst>
          </p:cNvPr>
          <p:cNvSpPr>
            <a:spLocks noGrp="1"/>
          </p:cNvSpPr>
          <p:nvPr>
            <p:ph sz="quarter" idx="15"/>
          </p:nvPr>
        </p:nvSpPr>
        <p:spPr>
          <a:xfrm>
            <a:off x="6347165" y="1827373"/>
            <a:ext cx="5084064" cy="4278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6" name="Footer">
            <a:extLst>
              <a:ext uri="{FF2B5EF4-FFF2-40B4-BE49-F238E27FC236}">
                <a16:creationId xmlns:a16="http://schemas.microsoft.com/office/drawing/2014/main" id="{1AB0EF40-5295-EF4A-B110-EB440EE86C0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4" name="Date">
            <a:extLst>
              <a:ext uri="{FF2B5EF4-FFF2-40B4-BE49-F238E27FC236}">
                <a16:creationId xmlns:a16="http://schemas.microsoft.com/office/drawing/2014/main" id="{9A9CDCEC-39F6-4246-8F7F-AED8ADB3C387}"/>
              </a:ext>
            </a:extLst>
          </p:cNvPr>
          <p:cNvSpPr>
            <a:spLocks noGrp="1"/>
          </p:cNvSpPr>
          <p:nvPr>
            <p:ph type="dt" sz="half" idx="13"/>
          </p:nvPr>
        </p:nvSpPr>
        <p:spPr/>
        <p:txBody>
          <a:bodyPr/>
          <a:lstStyle/>
          <a:p>
            <a:r>
              <a:rPr lang="en-US"/>
              <a:t>[Date]</a:t>
            </a:r>
          </a:p>
        </p:txBody>
      </p:sp>
    </p:spTree>
    <p:extLst>
      <p:ext uri="{BB962C8B-B14F-4D97-AF65-F5344CB8AC3E}">
        <p14:creationId xmlns:p14="http://schemas.microsoft.com/office/powerpoint/2010/main" val="36730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ght - Title 3 Column">
    <p:bg>
      <p:bgRef idx="1001">
        <a:schemeClr val="bg1"/>
      </p:bgRef>
    </p:bg>
    <p:spTree>
      <p:nvGrpSpPr>
        <p:cNvPr id="1" name=""/>
        <p:cNvGrpSpPr/>
        <p:nvPr/>
      </p:nvGrpSpPr>
      <p:grpSpPr>
        <a:xfrm>
          <a:off x="0" y="0"/>
          <a:ext cx="0" cy="0"/>
          <a:chOff x="0" y="0"/>
          <a:chExt cx="0" cy="0"/>
        </a:xfrm>
      </p:grpSpPr>
      <p:pic>
        <p:nvPicPr>
          <p:cNvPr id="14" name="Cloud">
            <a:extLst>
              <a:ext uri="{FF2B5EF4-FFF2-40B4-BE49-F238E27FC236}">
                <a16:creationId xmlns:a16="http://schemas.microsoft.com/office/drawing/2014/main" id="{7C2C8825-3412-4D62-BD4E-57B025A1FFF5}"/>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21523" b="29658"/>
          <a:stretch>
            <a:fillRect/>
          </a:stretch>
        </p:blipFill>
        <p:spPr>
          <a:xfrm>
            <a:off x="6694964" y="508001"/>
            <a:ext cx="5101904" cy="1319848"/>
          </a:xfrm>
          <a:prstGeom prst="rect">
            <a:avLst/>
          </a:prstGeom>
        </p:spPr>
      </p:pic>
      <p:sp>
        <p:nvSpPr>
          <p:cNvPr id="2" name="Title">
            <a:extLst>
              <a:ext uri="{FF2B5EF4-FFF2-40B4-BE49-F238E27FC236}">
                <a16:creationId xmlns:a16="http://schemas.microsoft.com/office/drawing/2014/main" id="{46BD88C8-DBDA-49C1-B1B7-50F4601E3234}"/>
              </a:ext>
            </a:extLst>
          </p:cNvPr>
          <p:cNvSpPr>
            <a:spLocks noGrp="1"/>
          </p:cNvSpPr>
          <p:nvPr>
            <p:ph type="title" hasCustomPrompt="1"/>
          </p:nvPr>
        </p:nvSpPr>
        <p:spPr>
          <a:xfrm>
            <a:off x="768875" y="508000"/>
            <a:ext cx="10671048" cy="822960"/>
          </a:xfrm>
        </p:spPr>
        <p:txBody>
          <a:bodyPr/>
          <a:lstStyle>
            <a:lvl1pPr>
              <a:defRPr/>
            </a:lvl1pPr>
          </a:lstStyle>
          <a:p>
            <a:r>
              <a:rPr lang="en-US"/>
              <a:t>Title</a:t>
            </a:r>
          </a:p>
        </p:txBody>
      </p:sp>
      <p:sp>
        <p:nvSpPr>
          <p:cNvPr id="6" name="Content">
            <a:extLst>
              <a:ext uri="{FF2B5EF4-FFF2-40B4-BE49-F238E27FC236}">
                <a16:creationId xmlns:a16="http://schemas.microsoft.com/office/drawing/2014/main" id="{238CEDEE-F37B-4496-9270-0479A31C9762}"/>
              </a:ext>
            </a:extLst>
          </p:cNvPr>
          <p:cNvSpPr>
            <a:spLocks noGrp="1"/>
          </p:cNvSpPr>
          <p:nvPr>
            <p:ph sz="quarter" idx="14"/>
          </p:nvPr>
        </p:nvSpPr>
        <p:spPr>
          <a:xfrm>
            <a:off x="768875" y="1828800"/>
            <a:ext cx="3300984" cy="4278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Column Divider" descr="Column Divider">
            <a:extLst>
              <a:ext uri="{FF2B5EF4-FFF2-40B4-BE49-F238E27FC236}">
                <a16:creationId xmlns:a16="http://schemas.microsoft.com/office/drawing/2014/main" id="{B228B4F2-5D6F-42F4-B132-F908BB527268}"/>
              </a:ext>
            </a:extLst>
          </p:cNvPr>
          <p:cNvCxnSpPr/>
          <p:nvPr userDrawn="1"/>
        </p:nvCxnSpPr>
        <p:spPr>
          <a:xfrm flipH="1">
            <a:off x="4266452" y="1828800"/>
            <a:ext cx="0" cy="4279392"/>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Content 2">
            <a:extLst>
              <a:ext uri="{FF2B5EF4-FFF2-40B4-BE49-F238E27FC236}">
                <a16:creationId xmlns:a16="http://schemas.microsoft.com/office/drawing/2014/main" id="{B35B41AC-36CF-4A0C-BED4-7D06B0F6E2ED}"/>
              </a:ext>
            </a:extLst>
          </p:cNvPr>
          <p:cNvSpPr>
            <a:spLocks noGrp="1"/>
          </p:cNvSpPr>
          <p:nvPr>
            <p:ph sz="quarter" idx="16"/>
          </p:nvPr>
        </p:nvSpPr>
        <p:spPr>
          <a:xfrm>
            <a:off x="4455821" y="1828800"/>
            <a:ext cx="3300984" cy="4278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Column Divider 2" descr="Column Divider">
            <a:extLst>
              <a:ext uri="{FF2B5EF4-FFF2-40B4-BE49-F238E27FC236}">
                <a16:creationId xmlns:a16="http://schemas.microsoft.com/office/drawing/2014/main" id="{43000B2C-7C76-4F07-AF50-5F3019C384BC}"/>
              </a:ext>
            </a:extLst>
          </p:cNvPr>
          <p:cNvCxnSpPr/>
          <p:nvPr userDrawn="1"/>
        </p:nvCxnSpPr>
        <p:spPr>
          <a:xfrm flipH="1">
            <a:off x="7946174" y="1828800"/>
            <a:ext cx="0" cy="4279392"/>
          </a:xfrm>
          <a:prstGeom prst="line">
            <a:avLst/>
          </a:prstGeom>
          <a:ln w="19050" cap="flat">
            <a:solidFill>
              <a:srgbClr val="8B8580">
                <a:alpha val="24706"/>
              </a:srgbClr>
            </a:solidFill>
            <a:prstDash val="solid"/>
          </a:ln>
        </p:spPr>
        <p:style>
          <a:lnRef idx="1">
            <a:schemeClr val="accent1"/>
          </a:lnRef>
          <a:fillRef idx="0">
            <a:schemeClr val="accent1"/>
          </a:fillRef>
          <a:effectRef idx="0">
            <a:schemeClr val="accent1"/>
          </a:effectRef>
          <a:fontRef idx="minor">
            <a:schemeClr val="tx1"/>
          </a:fontRef>
        </p:style>
      </p:cxnSp>
      <p:sp>
        <p:nvSpPr>
          <p:cNvPr id="18" name="Content 3">
            <a:extLst>
              <a:ext uri="{FF2B5EF4-FFF2-40B4-BE49-F238E27FC236}">
                <a16:creationId xmlns:a16="http://schemas.microsoft.com/office/drawing/2014/main" id="{22A9895A-06CA-46D6-B3EB-7038E6493585}"/>
              </a:ext>
            </a:extLst>
          </p:cNvPr>
          <p:cNvSpPr>
            <a:spLocks noGrp="1"/>
          </p:cNvSpPr>
          <p:nvPr>
            <p:ph sz="quarter" idx="15"/>
          </p:nvPr>
        </p:nvSpPr>
        <p:spPr>
          <a:xfrm>
            <a:off x="8135542" y="1828800"/>
            <a:ext cx="3300984" cy="4278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6" name="Footer">
            <a:extLst>
              <a:ext uri="{FF2B5EF4-FFF2-40B4-BE49-F238E27FC236}">
                <a16:creationId xmlns:a16="http://schemas.microsoft.com/office/drawing/2014/main" id="{1AB0EF40-5295-EF4A-B110-EB440EE86C0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4" name="Date">
            <a:extLst>
              <a:ext uri="{FF2B5EF4-FFF2-40B4-BE49-F238E27FC236}">
                <a16:creationId xmlns:a16="http://schemas.microsoft.com/office/drawing/2014/main" id="{9A9CDCEC-39F6-4246-8F7F-AED8ADB3C387}"/>
              </a:ext>
            </a:extLst>
          </p:cNvPr>
          <p:cNvSpPr>
            <a:spLocks noGrp="1"/>
          </p:cNvSpPr>
          <p:nvPr>
            <p:ph type="dt" sz="half" idx="13"/>
          </p:nvPr>
        </p:nvSpPr>
        <p:spPr/>
        <p:txBody>
          <a:bodyPr/>
          <a:lstStyle/>
          <a:p>
            <a:r>
              <a:rPr lang="en-US"/>
              <a:t>[Date]</a:t>
            </a:r>
          </a:p>
        </p:txBody>
      </p:sp>
    </p:spTree>
    <p:extLst>
      <p:ext uri="{BB962C8B-B14F-4D97-AF65-F5344CB8AC3E}">
        <p14:creationId xmlns:p14="http://schemas.microsoft.com/office/powerpoint/2010/main" val="2202135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ght - Title/Subtitle Quad Infographic">
    <p:bg>
      <p:bgRef idx="1001">
        <a:schemeClr val="bg1"/>
      </p:bgRef>
    </p:bg>
    <p:spTree>
      <p:nvGrpSpPr>
        <p:cNvPr id="1" name=""/>
        <p:cNvGrpSpPr/>
        <p:nvPr/>
      </p:nvGrpSpPr>
      <p:grpSpPr>
        <a:xfrm>
          <a:off x="0" y="0"/>
          <a:ext cx="0" cy="0"/>
          <a:chOff x="0" y="0"/>
          <a:chExt cx="0" cy="0"/>
        </a:xfrm>
      </p:grpSpPr>
      <p:pic>
        <p:nvPicPr>
          <p:cNvPr id="38" name="Cloud">
            <a:extLst>
              <a:ext uri="{FF2B5EF4-FFF2-40B4-BE49-F238E27FC236}">
                <a16:creationId xmlns:a16="http://schemas.microsoft.com/office/drawing/2014/main" id="{AA29764F-6A18-4348-B769-6CAB73F04C64}"/>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4269" b="31458"/>
          <a:stretch>
            <a:fillRect/>
          </a:stretch>
        </p:blipFill>
        <p:spPr>
          <a:xfrm>
            <a:off x="6694964" y="311891"/>
            <a:ext cx="5101904" cy="1467290"/>
          </a:xfrm>
          <a:prstGeom prst="rect">
            <a:avLst/>
          </a:prstGeom>
        </p:spPr>
      </p:pic>
      <p:sp>
        <p:nvSpPr>
          <p:cNvPr id="24" name="Title">
            <a:extLst>
              <a:ext uri="{FF2B5EF4-FFF2-40B4-BE49-F238E27FC236}">
                <a16:creationId xmlns:a16="http://schemas.microsoft.com/office/drawing/2014/main" id="{8C9BB090-903F-7141-8040-376390E8FE3B}"/>
              </a:ext>
            </a:extLst>
          </p:cNvPr>
          <p:cNvSpPr>
            <a:spLocks noGrp="1"/>
          </p:cNvSpPr>
          <p:nvPr>
            <p:ph type="title" hasCustomPrompt="1"/>
          </p:nvPr>
        </p:nvSpPr>
        <p:spPr>
          <a:xfrm>
            <a:off x="766763"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sp>
        <p:nvSpPr>
          <p:cNvPr id="22" name="Subtitle">
            <a:extLst>
              <a:ext uri="{FF2B5EF4-FFF2-40B4-BE49-F238E27FC236}">
                <a16:creationId xmlns:a16="http://schemas.microsoft.com/office/drawing/2014/main" id="{F8627394-C302-DF4A-A2CC-76DC053BE227}"/>
              </a:ext>
            </a:extLst>
          </p:cNvPr>
          <p:cNvSpPr>
            <a:spLocks noGrp="1"/>
          </p:cNvSpPr>
          <p:nvPr>
            <p:ph type="body" sz="quarter" idx="27" hasCustomPrompt="1"/>
          </p:nvPr>
        </p:nvSpPr>
        <p:spPr>
          <a:xfrm>
            <a:off x="766763" y="1014984"/>
            <a:ext cx="10671048" cy="330540"/>
          </a:xfrm>
          <a:prstGeom prst="rect">
            <a:avLst/>
          </a:prstGeom>
        </p:spPr>
        <p:txBody>
          <a:bodyPr lIns="0">
            <a:noAutofit/>
          </a:bodyPr>
          <a:lstStyle>
            <a:lvl1pPr marL="0" indent="0">
              <a:spcAft>
                <a:spcPct val="0"/>
              </a:spcAft>
              <a:buNone/>
              <a:defRPr sz="2000" b="0" i="0">
                <a:latin typeface="Oracle Sans" panose="020B0503020204020204" pitchFamily="34" charset="0"/>
                <a:cs typeface="Oracle Sans" panose="020B0503020204020204" pitchFamily="34" charset="0"/>
              </a:defRPr>
            </a:lvl1pPr>
          </a:lstStyle>
          <a:p>
            <a:pPr lvl="0"/>
            <a:r>
              <a:rPr lang="en-US"/>
              <a:t>Subtitle</a:t>
            </a:r>
          </a:p>
        </p:txBody>
      </p:sp>
      <p:sp>
        <p:nvSpPr>
          <p:cNvPr id="33" name="Picture Placeholder 1">
            <a:extLst>
              <a:ext uri="{FF2B5EF4-FFF2-40B4-BE49-F238E27FC236}">
                <a16:creationId xmlns:a16="http://schemas.microsoft.com/office/drawing/2014/main" id="{DC7ED535-9B24-2444-9E27-765F743C79F0}"/>
              </a:ext>
            </a:extLst>
          </p:cNvPr>
          <p:cNvSpPr>
            <a:spLocks noGrp="1"/>
          </p:cNvSpPr>
          <p:nvPr>
            <p:ph type="pic" sz="quarter" idx="23"/>
          </p:nvPr>
        </p:nvSpPr>
        <p:spPr>
          <a:xfrm>
            <a:off x="766763" y="1828800"/>
            <a:ext cx="1618488" cy="1618488"/>
          </a:xfrm>
          <a:prstGeom prst="rect">
            <a:avLst/>
          </a:prstGeom>
        </p:spPr>
        <p:txBody>
          <a:bodyPr/>
          <a:lstStyle/>
          <a:p>
            <a:r>
              <a:rPr lang="en-US"/>
              <a:t>Click icon to add picture</a:t>
            </a:r>
          </a:p>
        </p:txBody>
      </p:sp>
      <p:sp>
        <p:nvSpPr>
          <p:cNvPr id="25" name="Text Field 1">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28800"/>
            <a:ext cx="3203704" cy="187324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Picture Placeholder 2">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28800"/>
            <a:ext cx="1618488" cy="1618488"/>
          </a:xfrm>
          <a:prstGeom prst="rect">
            <a:avLst/>
          </a:prstGeom>
        </p:spPr>
        <p:txBody>
          <a:bodyPr/>
          <a:lstStyle/>
          <a:p>
            <a:r>
              <a:rPr lang="en-US"/>
              <a:t>Click icon to add picture</a:t>
            </a:r>
          </a:p>
        </p:txBody>
      </p:sp>
      <p:sp>
        <p:nvSpPr>
          <p:cNvPr id="31" name="Text Field 2">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28800"/>
            <a:ext cx="3203704" cy="187324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Picture Placeholder 3">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6763" y="4222112"/>
            <a:ext cx="1618488" cy="1618488"/>
          </a:xfrm>
          <a:prstGeom prst="rect">
            <a:avLst/>
          </a:prstGeom>
        </p:spPr>
        <p:txBody>
          <a:bodyPr/>
          <a:lstStyle/>
          <a:p>
            <a:r>
              <a:rPr lang="en-US"/>
              <a:t>Click icon to add picture</a:t>
            </a:r>
          </a:p>
        </p:txBody>
      </p:sp>
      <p:sp>
        <p:nvSpPr>
          <p:cNvPr id="29" name="Text Field 3">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112"/>
            <a:ext cx="3203704" cy="187324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Picture Placeholder 4">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a:prstGeom prst="rect">
            <a:avLst/>
          </a:prstGeom>
        </p:spPr>
        <p:txBody>
          <a:bodyPr/>
          <a:lstStyle/>
          <a:p>
            <a:r>
              <a:rPr lang="en-US"/>
              <a:t>Click icon to add picture</a:t>
            </a:r>
          </a:p>
        </p:txBody>
      </p:sp>
      <p:sp>
        <p:nvSpPr>
          <p:cNvPr id="32" name="Text Field 4">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112"/>
            <a:ext cx="3203704" cy="187324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8" name="Footer">
            <a:extLst>
              <a:ext uri="{FF2B5EF4-FFF2-40B4-BE49-F238E27FC236}">
                <a16:creationId xmlns:a16="http://schemas.microsoft.com/office/drawing/2014/main" id="{DACB8D5A-1D6D-124B-A372-69C969095AF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3" name="Date">
            <a:extLst>
              <a:ext uri="{FF2B5EF4-FFF2-40B4-BE49-F238E27FC236}">
                <a16:creationId xmlns:a16="http://schemas.microsoft.com/office/drawing/2014/main" id="{9AB8C183-C6B7-4039-B155-6182ED1724B8}"/>
              </a:ext>
            </a:extLst>
          </p:cNvPr>
          <p:cNvSpPr>
            <a:spLocks noGrp="1"/>
          </p:cNvSpPr>
          <p:nvPr>
            <p:ph type="dt" sz="half" idx="28"/>
          </p:nvPr>
        </p:nvSpPr>
        <p:spPr/>
        <p:txBody>
          <a:bodyPr/>
          <a:lstStyle/>
          <a:p>
            <a:r>
              <a:rPr lang="en-US"/>
              <a:t>[Date]</a:t>
            </a:r>
          </a:p>
        </p:txBody>
      </p:sp>
    </p:spTree>
    <p:extLst>
      <p:ext uri="{BB962C8B-B14F-4D97-AF65-F5344CB8AC3E}">
        <p14:creationId xmlns:p14="http://schemas.microsoft.com/office/powerpoint/2010/main" val="235794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Dark - Metric">
    <p:bg>
      <p:bgRef idx="1001">
        <a:schemeClr val="bg1"/>
      </p:bgRef>
    </p:bg>
    <p:spTree>
      <p:nvGrpSpPr>
        <p:cNvPr id="1" name=""/>
        <p:cNvGrpSpPr/>
        <p:nvPr/>
      </p:nvGrpSpPr>
      <p:grpSpPr>
        <a:xfrm>
          <a:off x="0" y="0"/>
          <a:ext cx="0" cy="0"/>
          <a:chOff x="0" y="0"/>
          <a:chExt cx="0" cy="0"/>
        </a:xfrm>
      </p:grpSpPr>
      <p:pic>
        <p:nvPicPr>
          <p:cNvPr id="22" name="Abstract Pattern Strip">
            <a:extLst>
              <a:ext uri="{FF2B5EF4-FFF2-40B4-BE49-F238E27FC236}">
                <a16:creationId xmlns:a16="http://schemas.microsoft.com/office/drawing/2014/main" id="{79609DDF-9254-400D-B4BC-87BCA98D0B9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95" y="0"/>
            <a:ext cx="12192000" cy="254000"/>
          </a:xfrm>
          <a:prstGeom prst="rect">
            <a:avLst/>
          </a:prstGeom>
        </p:spPr>
      </p:pic>
      <p:sp>
        <p:nvSpPr>
          <p:cNvPr id="3" name="Metric">
            <a:extLst>
              <a:ext uri="{FF2B5EF4-FFF2-40B4-BE49-F238E27FC236}">
                <a16:creationId xmlns:a16="http://schemas.microsoft.com/office/drawing/2014/main" id="{CD901049-F959-4458-9746-561FE2127909}"/>
              </a:ext>
            </a:extLst>
          </p:cNvPr>
          <p:cNvSpPr>
            <a:spLocks noGrp="1"/>
          </p:cNvSpPr>
          <p:nvPr>
            <p:ph type="title" hasCustomPrompt="1"/>
          </p:nvPr>
        </p:nvSpPr>
        <p:spPr>
          <a:xfrm>
            <a:off x="768875" y="3292850"/>
            <a:ext cx="5070745" cy="701731"/>
          </a:xfrm>
          <a:noFill/>
        </p:spPr>
        <p:txBody>
          <a:bodyPr vert="horz" wrap="square" lIns="0" tIns="0" rIns="0" bIns="0" rtlCol="0" anchor="b" anchorCtr="0">
            <a:spAutoFit/>
          </a:bodyPr>
          <a:lstStyle>
            <a:lvl1pPr>
              <a:defRPr lang="en-US" sz="4800" b="0">
                <a:solidFill>
                  <a:srgbClr val="759C6C"/>
                </a:solidFill>
                <a:latin typeface="Georgia" panose="02040502050405020303" pitchFamily="18" charset="0"/>
                <a:cs typeface="Oracle Sans" panose="020B0503020204020204" pitchFamily="34" charset="0"/>
              </a:defRPr>
            </a:lvl1pPr>
          </a:lstStyle>
          <a:p>
            <a:pPr lvl="0"/>
            <a:r>
              <a:rPr lang="en-US"/>
              <a:t>XX%</a:t>
            </a:r>
          </a:p>
        </p:txBody>
      </p:sp>
      <p:cxnSp>
        <p:nvCxnSpPr>
          <p:cNvPr id="17" name="Accent Mark">
            <a:extLst>
              <a:ext uri="{FF2B5EF4-FFF2-40B4-BE49-F238E27FC236}">
                <a16:creationId xmlns:a16="http://schemas.microsoft.com/office/drawing/2014/main" id="{3F1F789C-055A-B94A-B592-6BAC45CA4CA5}"/>
              </a:ext>
              <a:ext uri="{C183D7F6-B498-43B3-948B-1728B52AA6E4}">
                <adec:decorative xmlns:adec="http://schemas.microsoft.com/office/drawing/2017/decorative" val="1"/>
              </a:ext>
            </a:extLst>
          </p:cNvPr>
          <p:cNvCxnSpPr/>
          <p:nvPr/>
        </p:nvCxnSpPr>
        <p:spPr>
          <a:xfrm flipH="1">
            <a:off x="768095" y="4204491"/>
            <a:ext cx="320040"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sp>
        <p:nvSpPr>
          <p:cNvPr id="13" name="Slide Number">
            <a:extLst>
              <a:ext uri="{FF2B5EF4-FFF2-40B4-BE49-F238E27FC236}">
                <a16:creationId xmlns:a16="http://schemas.microsoft.com/office/drawing/2014/main" id="{FCAAB249-B453-7C45-A6AF-DF393B62BD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0" name="Footer">
            <a:extLst>
              <a:ext uri="{FF2B5EF4-FFF2-40B4-BE49-F238E27FC236}">
                <a16:creationId xmlns:a16="http://schemas.microsoft.com/office/drawing/2014/main" id="{4800481F-70FF-124B-B394-1EA7F1950D2A}"/>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2" name="Date">
            <a:extLst>
              <a:ext uri="{FF2B5EF4-FFF2-40B4-BE49-F238E27FC236}">
                <a16:creationId xmlns:a16="http://schemas.microsoft.com/office/drawing/2014/main" id="{67939391-6A14-4347-8C62-692061B9C896}"/>
              </a:ext>
            </a:extLst>
          </p:cNvPr>
          <p:cNvSpPr>
            <a:spLocks noGrp="1"/>
          </p:cNvSpPr>
          <p:nvPr>
            <p:ph type="dt" sz="half" idx="13"/>
          </p:nvPr>
        </p:nvSpPr>
        <p:spPr/>
        <p:txBody>
          <a:bodyPr/>
          <a:lstStyle/>
          <a:p>
            <a:r>
              <a:rPr lang="en-US"/>
              <a:t>[Date]</a:t>
            </a:r>
          </a:p>
        </p:txBody>
      </p:sp>
      <p:sp>
        <p:nvSpPr>
          <p:cNvPr id="18" name="Picture Placeholder 5">
            <a:extLst>
              <a:ext uri="{FF2B5EF4-FFF2-40B4-BE49-F238E27FC236}">
                <a16:creationId xmlns:a16="http://schemas.microsoft.com/office/drawing/2014/main" id="{61E56720-A4A0-7E4A-A746-5388FEBC17EF}"/>
              </a:ext>
            </a:extLst>
          </p:cNvPr>
          <p:cNvSpPr>
            <a:spLocks noGrp="1"/>
          </p:cNvSpPr>
          <p:nvPr>
            <p:ph type="pic" sz="quarter" idx="14"/>
          </p:nvPr>
        </p:nvSpPr>
        <p:spPr>
          <a:xfrm>
            <a:off x="6095652" y="254000"/>
            <a:ext cx="6096348" cy="6603999"/>
          </a:xfrm>
          <a:solidFill>
            <a:schemeClr val="bg1">
              <a:lumMod val="10000"/>
              <a:lumOff val="90000"/>
            </a:schemeClr>
          </a:solidFill>
          <a:ln>
            <a:noFill/>
          </a:ln>
        </p:spPr>
        <p:txBody>
          <a:bodyPr anchor="ctr"/>
          <a:lstStyle>
            <a:lvl1pPr algn="ctr">
              <a:defRPr>
                <a:solidFill>
                  <a:schemeClr val="bg1"/>
                </a:solidFill>
              </a:defRPr>
            </a:lvl1pPr>
          </a:lstStyle>
          <a:p>
            <a:endParaRPr lang="en-US"/>
          </a:p>
        </p:txBody>
      </p:sp>
      <p:pic>
        <p:nvPicPr>
          <p:cNvPr id="12" name="OTag">
            <a:extLst>
              <a:ext uri="{FF2B5EF4-FFF2-40B4-BE49-F238E27FC236}">
                <a16:creationId xmlns:a16="http://schemas.microsoft.com/office/drawing/2014/main" id="{E8A7F756-6885-FD4D-8CAC-01911AF996C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095766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Light - Title 1 Column">
    <p:bg>
      <p:bgPr>
        <a:solidFill>
          <a:schemeClr val="bg2"/>
        </a:solidFill>
        <a:effectLst/>
      </p:bgPr>
    </p:bg>
    <p:spTree>
      <p:nvGrpSpPr>
        <p:cNvPr id="1" name=""/>
        <p:cNvGrpSpPr/>
        <p:nvPr/>
      </p:nvGrpSpPr>
      <p:grpSpPr>
        <a:xfrm>
          <a:off x="0" y="0"/>
          <a:ext cx="0" cy="0"/>
          <a:chOff x="0" y="0"/>
          <a:chExt cx="0" cy="0"/>
        </a:xfrm>
      </p:grpSpPr>
      <p:pic>
        <p:nvPicPr>
          <p:cNvPr id="14" name="Cloud">
            <a:extLst>
              <a:ext uri="{FF2B5EF4-FFF2-40B4-BE49-F238E27FC236}">
                <a16:creationId xmlns:a16="http://schemas.microsoft.com/office/drawing/2014/main" id="{2C7D4903-595D-6440-B642-09BDD110BB0C}"/>
              </a:ext>
              <a:ext uri="{C183D7F6-B498-43B3-948B-1728B52AA6E4}">
                <adec:decorative xmlns:adec="http://schemas.microsoft.com/office/drawing/2017/decorative" val="1"/>
              </a:ext>
            </a:extLst>
          </p:cNvPr>
          <p:cNvPicPr>
            <a:picLocks noChangeAspect="1"/>
          </p:cNvPicPr>
          <p:nvPr userDrawn="1"/>
        </p:nvPicPr>
        <p:blipFill>
          <a:blip r:embed="rId2">
            <a:alphaModFix amt="80000"/>
            <a:extLst>
              <a:ext uri="{28A0092B-C50C-407E-A947-70E740481C1C}">
                <a14:useLocalDpi xmlns:a14="http://schemas.microsoft.com/office/drawing/2010/main"/>
              </a:ext>
            </a:extLst>
          </a:blip>
          <a:srcRect t="13483" b="29623"/>
          <a:stretch>
            <a:fillRect/>
          </a:stretch>
        </p:blipFill>
        <p:spPr bwMode="auto">
          <a:xfrm>
            <a:off x="6694964" y="290627"/>
            <a:ext cx="5101904" cy="1538174"/>
          </a:xfrm>
          <a:prstGeom prst="rect">
            <a:avLst/>
          </a:prstGeom>
        </p:spPr>
      </p:pic>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11" name="Footer">
            <a:extLst>
              <a:ext uri="{FF2B5EF4-FFF2-40B4-BE49-F238E27FC236}">
                <a16:creationId xmlns:a16="http://schemas.microsoft.com/office/drawing/2014/main" id="{92BA5029-031C-3A4E-9A82-F530108736E2}"/>
              </a:ext>
            </a:extLst>
          </p:cNvPr>
          <p:cNvSpPr>
            <a:spLocks noGrp="1"/>
          </p:cNvSpPr>
          <p:nvPr>
            <p:ph type="ftr" sz="quarter" idx="3"/>
          </p:nvPr>
        </p:nvSpPr>
        <p:spPr>
          <a:xfrm>
            <a:off x="1127758" y="6423978"/>
            <a:ext cx="9000000"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15" name="Slide Number">
            <a:extLst>
              <a:ext uri="{FF2B5EF4-FFF2-40B4-BE49-F238E27FC236}">
                <a16:creationId xmlns:a16="http://schemas.microsoft.com/office/drawing/2014/main" id="{D4846F35-DEA6-3F4C-ABEF-95EC30A07852}"/>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cxnSp>
        <p:nvCxnSpPr>
          <p:cNvPr id="10" name="Accent Mark">
            <a:extLst>
              <a:ext uri="{FF2B5EF4-FFF2-40B4-BE49-F238E27FC236}">
                <a16:creationId xmlns:a16="http://schemas.microsoft.com/office/drawing/2014/main" id="{2DF5399A-3B5A-0847-ABFD-443FA541E632}"/>
              </a:ext>
              <a:ext uri="{C183D7F6-B498-43B3-948B-1728B52AA6E4}">
                <adec:decorative xmlns:adec="http://schemas.microsoft.com/office/drawing/2017/decorative" val="1"/>
              </a:ext>
            </a:extLst>
          </p:cNvPr>
          <p:cNvCxnSpPr/>
          <p:nvPr userDrawn="1"/>
        </p:nvCxnSpPr>
        <p:spPr>
          <a:xfrm flipH="1">
            <a:off x="768095" y="1584959"/>
            <a:ext cx="228600"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pic>
        <p:nvPicPr>
          <p:cNvPr id="16" name="OTag">
            <a:extLst>
              <a:ext uri="{FF2B5EF4-FFF2-40B4-BE49-F238E27FC236}">
                <a16:creationId xmlns:a16="http://schemas.microsoft.com/office/drawing/2014/main" id="{5744E8FA-00D1-F547-A9D7-3B76C73B69E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55569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Light - Title Only">
    <p:spTree>
      <p:nvGrpSpPr>
        <p:cNvPr id="1" name=""/>
        <p:cNvGrpSpPr/>
        <p:nvPr/>
      </p:nvGrpSpPr>
      <p:grpSpPr>
        <a:xfrm>
          <a:off x="0" y="0"/>
          <a:ext cx="0" cy="0"/>
          <a:chOff x="0" y="0"/>
          <a:chExt cx="0" cy="0"/>
        </a:xfrm>
      </p:grpSpPr>
      <p:pic>
        <p:nvPicPr>
          <p:cNvPr id="3" name="Data Texture Cloud">
            <a:extLst>
              <a:ext uri="{FF2B5EF4-FFF2-40B4-BE49-F238E27FC236}">
                <a16:creationId xmlns:a16="http://schemas.microsoft.com/office/drawing/2014/main" id="{54886354-7C09-F947-8C36-01F2379A9D9F}"/>
              </a:ext>
            </a:extLst>
          </p:cNvPr>
          <p:cNvPicPr>
            <a:picLocks noChangeAspect="1"/>
          </p:cNvPicPr>
          <p:nvPr userDrawn="1"/>
        </p:nvPicPr>
        <p:blipFill>
          <a:blip r:embed="rId2">
            <a:extLst>
              <a:ext uri="{28A0092B-C50C-407E-A947-70E740481C1C}">
                <a14:useLocalDpi xmlns:a14="http://schemas.microsoft.com/office/drawing/2010/main"/>
              </a:ext>
            </a:extLst>
          </a:blip>
          <a:srcRect r="48608"/>
          <a:stretch>
            <a:fillRect/>
          </a:stretch>
        </p:blipFill>
        <p:spPr bwMode="auto">
          <a:xfrm>
            <a:off x="9882188" y="520700"/>
            <a:ext cx="2309812" cy="1701800"/>
          </a:xfrm>
          <a:prstGeom prst="rect">
            <a:avLst/>
          </a:prstGeom>
          <a:noFill/>
          <a:ln>
            <a:noFill/>
          </a:ln>
          <a:extLst>
            <a:ext uri="{909E8E84-426E-40DD-AFC4-6F175D3DCCD1}">
              <a14:hiddenFill xmlns:a14="http://schemas.microsoft.com/office/drawing/2010/main">
                <a:solidFill>
                  <a:srgbClr val="FFFFFF">
                    <a:alpha val="79999"/>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OTag">
            <a:extLst>
              <a:ext uri="{FF2B5EF4-FFF2-40B4-BE49-F238E27FC236}">
                <a16:creationId xmlns:a16="http://schemas.microsoft.com/office/drawing/2014/main" id="{86D9A3E6-5FDE-4A46-9914-C8D9704BF81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auto">
          <a:xfrm>
            <a:off x="11182350" y="6354763"/>
            <a:ext cx="503238"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Accent Mark">
            <a:extLst>
              <a:ext uri="{FF2B5EF4-FFF2-40B4-BE49-F238E27FC236}">
                <a16:creationId xmlns:a16="http://schemas.microsoft.com/office/drawing/2014/main" id="{26C7655C-B0FF-4544-A82A-428A86C8A16A}"/>
              </a:ext>
            </a:extLst>
          </p:cNvPr>
          <p:cNvCxnSpPr/>
          <p:nvPr userDrawn="1"/>
        </p:nvCxnSpPr>
        <p:spPr>
          <a:xfrm flipH="1">
            <a:off x="768350" y="1584325"/>
            <a:ext cx="319088"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7" name="Abstract Pattern Strip">
            <a:extLst>
              <a:ext uri="{FF2B5EF4-FFF2-40B4-BE49-F238E27FC236}">
                <a16:creationId xmlns:a16="http://schemas.microsoft.com/office/drawing/2014/main" id="{1CC3E856-68F4-C349-8796-C800A7AB2052}"/>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auto">
          <a:xfrm>
            <a:off x="0" y="0"/>
            <a:ext cx="12192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p:cNvSpPr>
            <a:spLocks noGrp="1"/>
          </p:cNvSpPr>
          <p:nvPr>
            <p:ph type="body" sz="quarter" idx="10"/>
          </p:nvPr>
        </p:nvSpPr>
        <p:spPr>
          <a:xfrm>
            <a:off x="762000" y="508000"/>
            <a:ext cx="10671048" cy="822960"/>
          </a:xfrm>
        </p:spPr>
        <p:txBody>
          <a:bodyPr anchor="b" anchorCtr="0"/>
          <a:lstStyle>
            <a:lvl1pPr>
              <a:defRPr sz="2400" b="1"/>
            </a:lvl1pPr>
          </a:lstStyle>
          <a:p>
            <a:pPr lvl="0"/>
            <a:r>
              <a:rPr lang="en-US"/>
              <a:t>Click to edit Master text styles</a:t>
            </a:r>
          </a:p>
        </p:txBody>
      </p:sp>
      <p:sp>
        <p:nvSpPr>
          <p:cNvPr id="8" name="Slide Number">
            <a:extLst>
              <a:ext uri="{FF2B5EF4-FFF2-40B4-BE49-F238E27FC236}">
                <a16:creationId xmlns:a16="http://schemas.microsoft.com/office/drawing/2014/main" id="{0F5F1AC1-93C2-FD42-8448-1570035B46A9}"/>
              </a:ext>
            </a:extLst>
          </p:cNvPr>
          <p:cNvSpPr>
            <a:spLocks noGrp="1"/>
          </p:cNvSpPr>
          <p:nvPr>
            <p:ph type="sldNum" sz="quarter" idx="11"/>
          </p:nvPr>
        </p:nvSpPr>
        <p:spPr/>
        <p:txBody>
          <a:bodyPr/>
          <a:lstStyle>
            <a:lvl1pPr>
              <a:defRPr/>
            </a:lvl1pPr>
          </a:lstStyle>
          <a:p>
            <a:fld id="{F47C7DB7-8CD5-F14C-9B1F-4EAEA30C0040}" type="slidenum">
              <a:rPr lang="en-US" altLang="en-US"/>
              <a:t>‹N°›</a:t>
            </a:fld>
            <a:endParaRPr lang="en-US" altLang="en-US"/>
          </a:p>
        </p:txBody>
      </p:sp>
      <p:sp>
        <p:nvSpPr>
          <p:cNvPr id="9" name="Footer">
            <a:extLst>
              <a:ext uri="{FF2B5EF4-FFF2-40B4-BE49-F238E27FC236}">
                <a16:creationId xmlns:a16="http://schemas.microsoft.com/office/drawing/2014/main" id="{DA8616E6-8B4F-4A45-8D64-82ABC267C751}"/>
              </a:ext>
            </a:extLst>
          </p:cNvPr>
          <p:cNvSpPr>
            <a:spLocks noGrp="1"/>
          </p:cNvSpPr>
          <p:nvPr>
            <p:ph type="ftr" sz="quarter" idx="12"/>
          </p:nvPr>
        </p:nvSpPr>
        <p:spPr/>
        <p:txBody>
          <a:bodyPr/>
          <a:lstStyle>
            <a:lvl1pPr>
              <a:defRPr/>
            </a:lvl1pPr>
          </a:lstStyle>
          <a:p>
            <a:pPr>
              <a:defRPr/>
            </a:pPr>
            <a:r>
              <a:rPr lang="en-US" altLang="en-US"/>
              <a:t>Copyright © 2020, Oracle and/or its affiliates. All rights reserved.</a:t>
            </a:r>
          </a:p>
        </p:txBody>
      </p:sp>
    </p:spTree>
    <p:extLst>
      <p:ext uri="{BB962C8B-B14F-4D97-AF65-F5344CB8AC3E}">
        <p14:creationId xmlns:p14="http://schemas.microsoft.com/office/powerpoint/2010/main" val="359958082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Light - Title/Subtitle 2 Column">
    <p:spTree>
      <p:nvGrpSpPr>
        <p:cNvPr id="1" name=""/>
        <p:cNvGrpSpPr/>
        <p:nvPr/>
      </p:nvGrpSpPr>
      <p:grpSpPr>
        <a:xfrm>
          <a:off x="0" y="0"/>
          <a:ext cx="0" cy="0"/>
          <a:chOff x="0" y="0"/>
          <a:chExt cx="0" cy="0"/>
        </a:xfrm>
      </p:grpSpPr>
      <p:pic>
        <p:nvPicPr>
          <p:cNvPr id="6" name="Data Texture Cloud">
            <a:extLst>
              <a:ext uri="{FF2B5EF4-FFF2-40B4-BE49-F238E27FC236}">
                <a16:creationId xmlns:a16="http://schemas.microsoft.com/office/drawing/2014/main" id="{EB0EF4D9-40C0-984C-9605-4FBCFF323DC9}"/>
              </a:ext>
            </a:extLst>
          </p:cNvPr>
          <p:cNvPicPr>
            <a:picLocks noChangeAspect="1"/>
          </p:cNvPicPr>
          <p:nvPr userDrawn="1"/>
        </p:nvPicPr>
        <p:blipFill>
          <a:blip r:embed="rId2">
            <a:extLst>
              <a:ext uri="{28A0092B-C50C-407E-A947-70E740481C1C}">
                <a14:useLocalDpi xmlns:a14="http://schemas.microsoft.com/office/drawing/2010/main"/>
              </a:ext>
            </a:extLst>
          </a:blip>
          <a:srcRect r="48608"/>
          <a:stretch>
            <a:fillRect/>
          </a:stretch>
        </p:blipFill>
        <p:spPr bwMode="auto">
          <a:xfrm>
            <a:off x="9882188" y="520700"/>
            <a:ext cx="2309812" cy="1701800"/>
          </a:xfrm>
          <a:prstGeom prst="rect">
            <a:avLst/>
          </a:prstGeom>
          <a:noFill/>
          <a:ln>
            <a:noFill/>
          </a:ln>
          <a:extLst>
            <a:ext uri="{909E8E84-426E-40DD-AFC4-6F175D3DCCD1}">
              <a14:hiddenFill xmlns:a14="http://schemas.microsoft.com/office/drawing/2010/main">
                <a:solidFill>
                  <a:srgbClr val="FFFFFF">
                    <a:alpha val="79999"/>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OTag">
            <a:extLst>
              <a:ext uri="{FF2B5EF4-FFF2-40B4-BE49-F238E27FC236}">
                <a16:creationId xmlns:a16="http://schemas.microsoft.com/office/drawing/2014/main" id="{D9F60909-64A7-234C-A24D-3F966FAD4C4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auto">
          <a:xfrm>
            <a:off x="11182350" y="6354763"/>
            <a:ext cx="503238"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lumn Divider">
            <a:extLst>
              <a:ext uri="{FF2B5EF4-FFF2-40B4-BE49-F238E27FC236}">
                <a16:creationId xmlns:a16="http://schemas.microsoft.com/office/drawing/2014/main" id="{E9A3A4EF-AAAD-EF46-8A37-CEF731ACBE22}"/>
              </a:ext>
            </a:extLst>
          </p:cNvPr>
          <p:cNvCxnSpPr/>
          <p:nvPr userDrawn="1"/>
        </p:nvCxnSpPr>
        <p:spPr>
          <a:xfrm flipH="1">
            <a:off x="6096000" y="1838325"/>
            <a:ext cx="0" cy="4262438"/>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cxnSp>
        <p:nvCxnSpPr>
          <p:cNvPr id="9" name="Accent Mark">
            <a:extLst>
              <a:ext uri="{FF2B5EF4-FFF2-40B4-BE49-F238E27FC236}">
                <a16:creationId xmlns:a16="http://schemas.microsoft.com/office/drawing/2014/main" id="{8734E163-2445-4C4C-B822-59C8DB0453CD}"/>
              </a:ext>
            </a:extLst>
          </p:cNvPr>
          <p:cNvCxnSpPr/>
          <p:nvPr userDrawn="1"/>
        </p:nvCxnSpPr>
        <p:spPr>
          <a:xfrm flipH="1">
            <a:off x="768350" y="1584325"/>
            <a:ext cx="319088"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10" name="Abstract Pattern Strip">
            <a:extLst>
              <a:ext uri="{FF2B5EF4-FFF2-40B4-BE49-F238E27FC236}">
                <a16:creationId xmlns:a16="http://schemas.microsoft.com/office/drawing/2014/main" id="{2E3C44F0-E6B3-8F4D-BB7F-F765922B116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auto">
          <a:xfrm>
            <a:off x="0" y="0"/>
            <a:ext cx="12192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Field"/>
          <p:cNvSpPr>
            <a:spLocks noGrp="1"/>
          </p:cNvSpPr>
          <p:nvPr>
            <p:ph type="body" sz="quarter" idx="14"/>
          </p:nvPr>
        </p:nvSpPr>
        <p:spPr>
          <a:xfrm>
            <a:off x="6345940" y="1837944"/>
            <a:ext cx="508406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Field"/>
          <p:cNvSpPr>
            <a:spLocks noGrp="1"/>
          </p:cNvSpPr>
          <p:nvPr>
            <p:ph type="body" sz="quarter" idx="13"/>
          </p:nvPr>
        </p:nvSpPr>
        <p:spPr>
          <a:xfrm>
            <a:off x="758951" y="1837944"/>
            <a:ext cx="508406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p:cNvSpPr>
            <a:spLocks noGrp="1"/>
          </p:cNvSpPr>
          <p:nvPr>
            <p:ph type="body" sz="quarter" idx="12"/>
          </p:nvPr>
        </p:nvSpPr>
        <p:spPr>
          <a:xfrm>
            <a:off x="762000" y="1000420"/>
            <a:ext cx="10671048" cy="330540"/>
          </a:xfrm>
          <a:prstGeom prst="rect">
            <a:avLst/>
          </a:prstGeom>
        </p:spPr>
        <p:txBody>
          <a:bodyPr/>
          <a:lstStyle>
            <a:lvl1pPr marL="0" indent="0">
              <a:spcAft>
                <a:spcPct val="0"/>
              </a:spcAft>
              <a:buNone/>
              <a:defRPr sz="2000" b="0" i="0">
                <a:latin typeface="Oracle Sans" panose="020B0503020204020204" pitchFamily="34" charset="0"/>
                <a:cs typeface="Oracle Sans" panose="020B0503020204020204" pitchFamily="34" charset="0"/>
              </a:defRPr>
            </a:lvl1pPr>
          </a:lstStyle>
          <a:p>
            <a:pPr lvl="0"/>
            <a:r>
              <a:rPr lang="en-US"/>
              <a:t>Click to edit Master text styles</a:t>
            </a:r>
          </a:p>
        </p:txBody>
      </p:sp>
      <p:sp>
        <p:nvSpPr>
          <p:cNvPr id="14" name="Title"/>
          <p:cNvSpPr>
            <a:spLocks noGrp="1"/>
          </p:cNvSpPr>
          <p:nvPr>
            <p:ph type="title"/>
          </p:nvPr>
        </p:nvSpPr>
        <p:spPr>
          <a:xfrm>
            <a:off x="762000" y="508000"/>
            <a:ext cx="10671048" cy="492103"/>
          </a:xfrm>
        </p:spPr>
        <p:txBody>
          <a:bodyPr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lvl="0"/>
            <a:r>
              <a:rPr lang="en-US"/>
              <a:t>Click to edit Master title style</a:t>
            </a:r>
          </a:p>
        </p:txBody>
      </p:sp>
      <p:sp>
        <p:nvSpPr>
          <p:cNvPr id="11" name="Slide Number">
            <a:extLst>
              <a:ext uri="{FF2B5EF4-FFF2-40B4-BE49-F238E27FC236}">
                <a16:creationId xmlns:a16="http://schemas.microsoft.com/office/drawing/2014/main" id="{24A384D2-2B91-7C42-B660-9111EF0A91CD}"/>
              </a:ext>
            </a:extLst>
          </p:cNvPr>
          <p:cNvSpPr>
            <a:spLocks noGrp="1"/>
          </p:cNvSpPr>
          <p:nvPr>
            <p:ph type="sldNum" sz="quarter" idx="15"/>
          </p:nvPr>
        </p:nvSpPr>
        <p:spPr/>
        <p:txBody>
          <a:bodyPr/>
          <a:lstStyle>
            <a:lvl1pPr>
              <a:defRPr/>
            </a:lvl1pPr>
          </a:lstStyle>
          <a:p>
            <a:pPr>
              <a:defRPr/>
            </a:pPr>
            <a:fld id="{AD03E941-B105-3C4B-8276-A69F158E8364}" type="slidenum">
              <a:rPr lang="en-US" altLang="en-US"/>
              <a:pPr>
                <a:defRPr/>
              </a:pPr>
              <a:t>‹N°›</a:t>
            </a:fld>
            <a:endParaRPr lang="en-US" altLang="en-US"/>
          </a:p>
        </p:txBody>
      </p:sp>
      <p:sp>
        <p:nvSpPr>
          <p:cNvPr id="12" name="Footer">
            <a:extLst>
              <a:ext uri="{FF2B5EF4-FFF2-40B4-BE49-F238E27FC236}">
                <a16:creationId xmlns:a16="http://schemas.microsoft.com/office/drawing/2014/main" id="{6C234C62-4B89-B54E-A3FA-79C4E8917430}"/>
              </a:ext>
            </a:extLst>
          </p:cNvPr>
          <p:cNvSpPr>
            <a:spLocks noGrp="1"/>
          </p:cNvSpPr>
          <p:nvPr>
            <p:ph type="ftr" sz="quarter" idx="16"/>
          </p:nvPr>
        </p:nvSpPr>
        <p:spPr/>
        <p:txBody>
          <a:bodyPr/>
          <a:lstStyle>
            <a:lvl1pPr>
              <a:defRPr/>
            </a:lvl1pPr>
          </a:lstStyle>
          <a:p>
            <a:pPr>
              <a:defRPr/>
            </a:pPr>
            <a:r>
              <a:rPr lang="en-US" altLang="en-US"/>
              <a:t>Copyright © 2020, Oracle and/or its affiliates. All rights reserved.</a:t>
            </a:r>
          </a:p>
        </p:txBody>
      </p:sp>
    </p:spTree>
    <p:extLst>
      <p:ext uri="{BB962C8B-B14F-4D97-AF65-F5344CB8AC3E}">
        <p14:creationId xmlns:p14="http://schemas.microsoft.com/office/powerpoint/2010/main" val="3272358189"/>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Light - Closing Slide">
    <p:spTree>
      <p:nvGrpSpPr>
        <p:cNvPr id="1" name=""/>
        <p:cNvGrpSpPr/>
        <p:nvPr/>
      </p:nvGrpSpPr>
      <p:grpSpPr>
        <a:xfrm>
          <a:off x="0" y="0"/>
          <a:ext cx="0" cy="0"/>
          <a:chOff x="0" y="0"/>
          <a:chExt cx="0" cy="0"/>
        </a:xfrm>
      </p:grpSpPr>
      <p:pic>
        <p:nvPicPr>
          <p:cNvPr id="3" name="Oracle Logo" descr="Oracle Logo">
            <a:extLst>
              <a:ext uri="{FF2B5EF4-FFF2-40B4-BE49-F238E27FC236}">
                <a16:creationId xmlns:a16="http://schemas.microsoft.com/office/drawing/2014/main" id="{675A5E3C-9B7E-1248-9024-5EE790FC683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7854" y="2915192"/>
            <a:ext cx="4896293" cy="1027617"/>
          </a:xfrm>
          <a:prstGeom prst="rect">
            <a:avLst/>
          </a:prstGeom>
        </p:spPr>
      </p:pic>
      <p:pic>
        <p:nvPicPr>
          <p:cNvPr id="4" name="OTag">
            <a:extLst>
              <a:ext uri="{FF2B5EF4-FFF2-40B4-BE49-F238E27FC236}">
                <a16:creationId xmlns:a16="http://schemas.microsoft.com/office/drawing/2014/main" id="{938EEB79-EFA1-4711-804E-DFDFA3AE402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pic>
        <p:nvPicPr>
          <p:cNvPr id="5" name="Abstract Pattern Strip">
            <a:extLst>
              <a:ext uri="{FF2B5EF4-FFF2-40B4-BE49-F238E27FC236}">
                <a16:creationId xmlns:a16="http://schemas.microsoft.com/office/drawing/2014/main" id="{E8F815BD-D4B8-43AB-A648-178DE314462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87841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Light - Thank You">
    <p:bg>
      <p:bgRef idx="1001">
        <a:schemeClr val="bg1"/>
      </p:bgRef>
    </p:bg>
    <p:spTree>
      <p:nvGrpSpPr>
        <p:cNvPr id="1" name=""/>
        <p:cNvGrpSpPr/>
        <p:nvPr/>
      </p:nvGrpSpPr>
      <p:grpSpPr>
        <a:xfrm>
          <a:off x="0" y="0"/>
          <a:ext cx="0" cy="0"/>
          <a:chOff x="0" y="0"/>
          <a:chExt cx="0" cy="0"/>
        </a:xfrm>
      </p:grpSpPr>
      <p:pic>
        <p:nvPicPr>
          <p:cNvPr id="14" name="Abstract Illustration">
            <a:extLst>
              <a:ext uri="{FF2B5EF4-FFF2-40B4-BE49-F238E27FC236}">
                <a16:creationId xmlns:a16="http://schemas.microsoft.com/office/drawing/2014/main" id="{49F92AE8-C0F0-CF4B-B569-964245B00416}"/>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bwMode="ltGray">
          <a:xfrm>
            <a:off x="6096000" y="4898"/>
            <a:ext cx="6096000" cy="6858000"/>
          </a:xfrm>
          <a:prstGeom prst="rect">
            <a:avLst/>
          </a:prstGeom>
        </p:spPr>
      </p:pic>
      <p:pic>
        <p:nvPicPr>
          <p:cNvPr id="26" name="OTag">
            <a:extLst>
              <a:ext uri="{FF2B5EF4-FFF2-40B4-BE49-F238E27FC236}">
                <a16:creationId xmlns:a16="http://schemas.microsoft.com/office/drawing/2014/main" id="{42D6F87D-23AA-1D42-BDBA-F6833AC9A0E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sp>
        <p:nvSpPr>
          <p:cNvPr id="3" name="Thank You">
            <a:extLst>
              <a:ext uri="{FF2B5EF4-FFF2-40B4-BE49-F238E27FC236}">
                <a16:creationId xmlns:a16="http://schemas.microsoft.com/office/drawing/2014/main" id="{701BFB4F-AD1A-4B21-826E-A2F61F5D8AAB}"/>
              </a:ext>
            </a:extLst>
          </p:cNvPr>
          <p:cNvSpPr>
            <a:spLocks noGrp="1"/>
          </p:cNvSpPr>
          <p:nvPr>
            <p:ph type="title" hasCustomPrompt="1"/>
          </p:nvPr>
        </p:nvSpPr>
        <p:spPr>
          <a:xfrm>
            <a:off x="768875" y="3482230"/>
            <a:ext cx="5022325" cy="822960"/>
          </a:xfrm>
          <a:noFill/>
        </p:spPr>
        <p:txBody>
          <a:bodyPr vert="horz" lIns="0" tIns="0" rIns="0" bIns="0" rtlCol="0" anchor="b" anchorCtr="0">
            <a:noAutofit/>
          </a:bodyPr>
          <a:lstStyle>
            <a:lvl1pPr>
              <a:defRPr lang="en-US" sz="3200" b="0">
                <a:latin typeface="+mj-lt"/>
                <a:cs typeface="Oracle Sans" panose="020B0503020204020204" pitchFamily="34" charset="0"/>
              </a:defRPr>
            </a:lvl1pPr>
          </a:lstStyle>
          <a:p>
            <a:pPr marL="0" marR="0" lvl="0" indent="0" fontAlgn="t">
              <a:lnSpc>
                <a:spcPct val="100000"/>
              </a:lnSpc>
              <a:spcBef>
                <a:spcPct val="0"/>
              </a:spcBef>
              <a:spcAft>
                <a:spcPct val="0"/>
              </a:spcAft>
              <a:buClrTx/>
              <a:buSzTx/>
              <a:buFont typeface="System Font Regular"/>
            </a:pPr>
            <a:r>
              <a:rPr lang="en-US"/>
              <a:t>Thank you</a:t>
            </a:r>
          </a:p>
        </p:txBody>
      </p:sp>
      <p:cxnSp>
        <p:nvCxnSpPr>
          <p:cNvPr id="17" name="Accent Mark">
            <a:extLst>
              <a:ext uri="{FF2B5EF4-FFF2-40B4-BE49-F238E27FC236}">
                <a16:creationId xmlns:a16="http://schemas.microsoft.com/office/drawing/2014/main" id="{067F8F82-B054-48B8-A81C-65FC099A0B9D}"/>
              </a:ext>
              <a:ext uri="{C183D7F6-B498-43B3-948B-1728B52AA6E4}">
                <adec:decorative xmlns:adec="http://schemas.microsoft.com/office/drawing/2017/decorative" val="1"/>
              </a:ext>
            </a:extLst>
          </p:cNvPr>
          <p:cNvCxnSpPr/>
          <p:nvPr/>
        </p:nvCxnSpPr>
        <p:spPr>
          <a:xfrm flipH="1">
            <a:off x="768350" y="4508728"/>
            <a:ext cx="301752"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sp>
        <p:nvSpPr>
          <p:cNvPr id="11" name="Text Field">
            <a:extLst>
              <a:ext uri="{FF2B5EF4-FFF2-40B4-BE49-F238E27FC236}">
                <a16:creationId xmlns:a16="http://schemas.microsoft.com/office/drawing/2014/main" id="{F273E805-B8FF-F84B-99E6-4636F8BD3EBF}"/>
              </a:ext>
            </a:extLst>
          </p:cNvPr>
          <p:cNvSpPr>
            <a:spLocks noGrp="1"/>
          </p:cNvSpPr>
          <p:nvPr>
            <p:ph type="body" sz="quarter" idx="37"/>
          </p:nvPr>
        </p:nvSpPr>
        <p:spPr>
          <a:xfrm>
            <a:off x="762000" y="4773585"/>
            <a:ext cx="5029200" cy="266291"/>
          </a:xfrm>
          <a:prstGeom prst="rect">
            <a:avLst/>
          </a:prstGeom>
        </p:spPr>
        <p:txBody>
          <a:bodyPr>
            <a:noAutofit/>
          </a:bodyPr>
          <a:lstStyle>
            <a:lvl1pPr>
              <a:defRPr b="1"/>
            </a:lvl1pPr>
          </a:lstStyle>
          <a:p>
            <a:pPr lvl="0"/>
            <a:r>
              <a:rPr lang="en-GB"/>
              <a:t>Click to edit Master text styles</a:t>
            </a:r>
          </a:p>
        </p:txBody>
      </p:sp>
      <p:sp>
        <p:nvSpPr>
          <p:cNvPr id="10" name="Text Field 2">
            <a:extLst>
              <a:ext uri="{FF2B5EF4-FFF2-40B4-BE49-F238E27FC236}">
                <a16:creationId xmlns:a16="http://schemas.microsoft.com/office/drawing/2014/main" id="{283762D0-0D31-A347-AD9E-095398CD17C5}"/>
              </a:ext>
            </a:extLst>
          </p:cNvPr>
          <p:cNvSpPr>
            <a:spLocks noGrp="1"/>
          </p:cNvSpPr>
          <p:nvPr>
            <p:ph type="body" sz="quarter" idx="36"/>
          </p:nvPr>
        </p:nvSpPr>
        <p:spPr>
          <a:xfrm>
            <a:off x="762000" y="5111178"/>
            <a:ext cx="5029200" cy="895181"/>
          </a:xfrm>
          <a:prstGeom prst="rect">
            <a:avLst/>
          </a:prstGeom>
        </p:spPr>
        <p:txBody>
          <a:bodyPr>
            <a:noAutofit/>
          </a:bodyPr>
          <a:lstStyle>
            <a:lvl1pPr>
              <a:defRPr/>
            </a:lvl1pPr>
          </a:lstStyle>
          <a:p>
            <a:pPr lvl="0"/>
            <a:r>
              <a:rPr lang="en-GB"/>
              <a:t>Click to edit Master text styles</a:t>
            </a:r>
          </a:p>
        </p:txBody>
      </p:sp>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5" name="Footer">
            <a:extLst>
              <a:ext uri="{FF2B5EF4-FFF2-40B4-BE49-F238E27FC236}">
                <a16:creationId xmlns:a16="http://schemas.microsoft.com/office/drawing/2014/main" id="{AC796A58-6878-0644-885E-17721EE64E2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  Confidential: Internal/Restricted/Highly Restricted</a:t>
            </a:r>
          </a:p>
        </p:txBody>
      </p:sp>
      <p:sp>
        <p:nvSpPr>
          <p:cNvPr id="2" name="Date">
            <a:extLst>
              <a:ext uri="{FF2B5EF4-FFF2-40B4-BE49-F238E27FC236}">
                <a16:creationId xmlns:a16="http://schemas.microsoft.com/office/drawing/2014/main" id="{AB08051D-A8B9-4421-AD56-3FE2BA4234FE}"/>
              </a:ext>
            </a:extLst>
          </p:cNvPr>
          <p:cNvSpPr>
            <a:spLocks noGrp="1"/>
          </p:cNvSpPr>
          <p:nvPr>
            <p:ph type="dt" sz="half" idx="38"/>
          </p:nvPr>
        </p:nvSpPr>
        <p:spPr/>
        <p:txBody>
          <a:bodyPr/>
          <a:lstStyle/>
          <a:p>
            <a:r>
              <a:rPr lang="en-GB"/>
              <a:t>[Date]</a:t>
            </a:r>
            <a:endParaRPr lang="en-US"/>
          </a:p>
        </p:txBody>
      </p:sp>
    </p:spTree>
    <p:extLst>
      <p:ext uri="{BB962C8B-B14F-4D97-AF65-F5344CB8AC3E}">
        <p14:creationId xmlns:p14="http://schemas.microsoft.com/office/powerpoint/2010/main" val="1086296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Light - Blank">
    <p:spTree>
      <p:nvGrpSpPr>
        <p:cNvPr id="1" name=""/>
        <p:cNvGrpSpPr/>
        <p:nvPr/>
      </p:nvGrpSpPr>
      <p:grpSpPr>
        <a:xfrm>
          <a:off x="0" y="0"/>
          <a:ext cx="0" cy="0"/>
          <a:chOff x="0" y="0"/>
          <a:chExt cx="0" cy="0"/>
        </a:xfrm>
      </p:grpSpPr>
      <p:pic>
        <p:nvPicPr>
          <p:cNvPr id="12" name="Cloud">
            <a:extLst>
              <a:ext uri="{FF2B5EF4-FFF2-40B4-BE49-F238E27FC236}">
                <a16:creationId xmlns:a16="http://schemas.microsoft.com/office/drawing/2014/main" id="{8BD8F955-3E3E-4E6E-A650-C4E0C80495A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705731" y="269359"/>
            <a:ext cx="5080369" cy="1559442"/>
          </a:xfrm>
          <a:prstGeom prst="rect">
            <a:avLst/>
          </a:prstGeom>
        </p:spPr>
      </p:pic>
      <p:pic>
        <p:nvPicPr>
          <p:cNvPr id="6" name="OTag">
            <a:extLst>
              <a:ext uri="{FF2B5EF4-FFF2-40B4-BE49-F238E27FC236}">
                <a16:creationId xmlns:a16="http://schemas.microsoft.com/office/drawing/2014/main" id="{0F682282-A332-4D5C-89F4-38480EC33F4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pic>
        <p:nvPicPr>
          <p:cNvPr id="10" name="OTag">
            <a:extLst>
              <a:ext uri="{FF2B5EF4-FFF2-40B4-BE49-F238E27FC236}">
                <a16:creationId xmlns:a16="http://schemas.microsoft.com/office/drawing/2014/main" id="{00F1077A-D301-437A-8CE7-A0EA6CDECB51}"/>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3" name="Date Placeholder 2">
            <a:extLst>
              <a:ext uri="{FF2B5EF4-FFF2-40B4-BE49-F238E27FC236}">
                <a16:creationId xmlns:a16="http://schemas.microsoft.com/office/drawing/2014/main" id="{B6E29D2F-E9BE-442D-8048-30D82B0FA2D2}"/>
              </a:ext>
            </a:extLst>
          </p:cNvPr>
          <p:cNvSpPr>
            <a:spLocks noGrp="1"/>
          </p:cNvSpPr>
          <p:nvPr>
            <p:ph type="dt" sz="half" idx="10"/>
          </p:nvPr>
        </p:nvSpPr>
        <p:spPr/>
        <p:txBody>
          <a:bodyPr/>
          <a:lstStyle/>
          <a:p>
            <a:r>
              <a:rPr lang="en-US"/>
              <a:t>[Date]</a:t>
            </a:r>
            <a:endParaRPr lang="en-US" dirty="0"/>
          </a:p>
        </p:txBody>
      </p:sp>
      <p:sp>
        <p:nvSpPr>
          <p:cNvPr id="4" name="Footer Placeholder 3">
            <a:extLst>
              <a:ext uri="{FF2B5EF4-FFF2-40B4-BE49-F238E27FC236}">
                <a16:creationId xmlns:a16="http://schemas.microsoft.com/office/drawing/2014/main" id="{4249E66D-873C-4E3D-B665-952DA3AD6CCF}"/>
              </a:ext>
            </a:extLst>
          </p:cNvPr>
          <p:cNvSpPr>
            <a:spLocks noGrp="1"/>
          </p:cNvSpPr>
          <p:nvPr>
            <p:ph type="ftr" sz="quarter" idx="11"/>
          </p:nvPr>
        </p:nvSpPr>
        <p:spPr/>
        <p:txBody>
          <a:bodyPr/>
          <a:lstStyle/>
          <a:p>
            <a:r>
              <a:rPr lang="en-US"/>
              <a:t>Copyright © 2021, Oracle and/or its affiliates  |  Confidential: Internal/Restricted/Highly Restricted</a:t>
            </a:r>
            <a:endParaRPr lang="en-US" dirty="0"/>
          </a:p>
        </p:txBody>
      </p:sp>
      <p:sp>
        <p:nvSpPr>
          <p:cNvPr id="5" name="Slide Number Placeholder 4">
            <a:extLst>
              <a:ext uri="{FF2B5EF4-FFF2-40B4-BE49-F238E27FC236}">
                <a16:creationId xmlns:a16="http://schemas.microsoft.com/office/drawing/2014/main" id="{B52D4C26-D77F-4F76-BA95-32055FEC61F8}"/>
              </a:ext>
            </a:extLst>
          </p:cNvPr>
          <p:cNvSpPr>
            <a:spLocks noGrp="1"/>
          </p:cNvSpPr>
          <p:nvPr>
            <p:ph type="sldNum" sz="quarter" idx="12"/>
          </p:nvPr>
        </p:nvSpPr>
        <p:spPr/>
        <p:txBody>
          <a:bodyPr/>
          <a:lstStyle/>
          <a:p>
            <a:fld id="{345D60D9-5372-5F40-9443-0F9AE5BDC3C8}" type="slidenum">
              <a:rPr lang="en-US" smtClean="0"/>
              <a:pPr/>
              <a:t>‹N°›</a:t>
            </a:fld>
            <a:endParaRPr lang="en-US" dirty="0"/>
          </a:p>
        </p:txBody>
      </p:sp>
      <p:pic>
        <p:nvPicPr>
          <p:cNvPr id="8" name="Image 14">
            <a:extLst>
              <a:ext uri="{FF2B5EF4-FFF2-40B4-BE49-F238E27FC236}">
                <a16:creationId xmlns:a16="http://schemas.microsoft.com/office/drawing/2014/main" id="{7AC31C4B-CFC0-8344-95B0-820967A760F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20320"/>
            <a:ext cx="12192000" cy="365760"/>
          </a:xfrm>
          <a:prstGeom prst="rect">
            <a:avLst/>
          </a:prstGeom>
        </p:spPr>
      </p:pic>
    </p:spTree>
    <p:extLst>
      <p:ext uri="{BB962C8B-B14F-4D97-AF65-F5344CB8AC3E}">
        <p14:creationId xmlns:p14="http://schemas.microsoft.com/office/powerpoint/2010/main" val="404482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88D7A03-4A4B-46CD-B9AB-26F58A2534D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443EF581-77AC-4A41-9EF8-BDCF778A8F3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8C80CC60-79B3-4CD6-A6E6-A1CAD46BDBE3}"/>
              </a:ext>
            </a:extLst>
          </p:cNvPr>
          <p:cNvSpPr>
            <a:spLocks noGrp="1"/>
          </p:cNvSpPr>
          <p:nvPr>
            <p:ph type="dt" sz="half" idx="10"/>
          </p:nvPr>
        </p:nvSpPr>
        <p:spPr/>
        <p:txBody>
          <a:bodyPr/>
          <a:lstStyle/>
          <a:p>
            <a:fld id="{A22EA293-1502-480A-9886-A452DFDE31BD}" type="datetimeFigureOut">
              <a:rPr lang="fr-FR" smtClean="0"/>
              <a:t>20/06/2022</a:t>
            </a:fld>
            <a:endParaRPr lang="fr-FR"/>
          </a:p>
        </p:txBody>
      </p:sp>
      <p:sp>
        <p:nvSpPr>
          <p:cNvPr id="5" name="Espace réservé du pied de page 4">
            <a:extLst>
              <a:ext uri="{FF2B5EF4-FFF2-40B4-BE49-F238E27FC236}">
                <a16:creationId xmlns:a16="http://schemas.microsoft.com/office/drawing/2014/main" id="{34CFD6B9-0E26-44B6-9EF8-E44E90D1A03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ACE8CE0-47AB-462F-BF9A-D9ADF99E3CD4}"/>
              </a:ext>
            </a:extLst>
          </p:cNvPr>
          <p:cNvSpPr>
            <a:spLocks noGrp="1"/>
          </p:cNvSpPr>
          <p:nvPr>
            <p:ph type="sldNum" sz="quarter" idx="12"/>
          </p:nvPr>
        </p:nvSpPr>
        <p:spPr/>
        <p:txBody>
          <a:bodyPr/>
          <a:lstStyle/>
          <a:p>
            <a:fld id="{C35B868D-AA83-4E89-970C-E7916C2FF7E8}" type="slidenum">
              <a:rPr lang="fr-FR" smtClean="0"/>
              <a:t>‹N°›</a:t>
            </a:fld>
            <a:endParaRPr lang="fr-FR"/>
          </a:p>
        </p:txBody>
      </p:sp>
    </p:spTree>
    <p:extLst>
      <p:ext uri="{BB962C8B-B14F-4D97-AF65-F5344CB8AC3E}">
        <p14:creationId xmlns:p14="http://schemas.microsoft.com/office/powerpoint/2010/main" val="17784040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Light - Title/Subtitle 1 Column">
    <p:spTree>
      <p:nvGrpSpPr>
        <p:cNvPr id="1" name=""/>
        <p:cNvGrpSpPr/>
        <p:nvPr/>
      </p:nvGrpSpPr>
      <p:grpSpPr>
        <a:xfrm>
          <a:off x="0" y="0"/>
          <a:ext cx="0" cy="0"/>
          <a:chOff x="0" y="0"/>
          <a:chExt cx="0" cy="0"/>
        </a:xfrm>
      </p:grpSpPr>
      <p:pic>
        <p:nvPicPr>
          <p:cNvPr id="9" name="Cloud">
            <a:extLst>
              <a:ext uri="{FF2B5EF4-FFF2-40B4-BE49-F238E27FC236}">
                <a16:creationId xmlns:a16="http://schemas.microsoft.com/office/drawing/2014/main" id="{C4B9D6C0-2524-2D47-8A0E-258A2FB7DE5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705731" y="269359"/>
            <a:ext cx="5080369" cy="1559442"/>
          </a:xfrm>
          <a:prstGeom prst="rect">
            <a:avLst/>
          </a:prstGeom>
        </p:spPr>
      </p:pic>
      <p:sp>
        <p:nvSpPr>
          <p:cNvPr id="3" name="Subtitle">
            <a:extLst>
              <a:ext uri="{FF2B5EF4-FFF2-40B4-BE49-F238E27FC236}">
                <a16:creationId xmlns:a16="http://schemas.microsoft.com/office/drawing/2014/main" id="{46A3BF75-E03A-3149-A8B6-C22593F32B62}"/>
              </a:ext>
            </a:extLst>
          </p:cNvPr>
          <p:cNvSpPr>
            <a:spLocks noGrp="1"/>
          </p:cNvSpPr>
          <p:nvPr>
            <p:ph type="body" sz="quarter" idx="11" hasCustomPrompt="1"/>
          </p:nvPr>
        </p:nvSpPr>
        <p:spPr>
          <a:xfrm>
            <a:off x="766763" y="1014709"/>
            <a:ext cx="10671048" cy="330540"/>
          </a:xfrm>
          <a:prstGeom prst="rect">
            <a:avLst/>
          </a:prstGeom>
        </p:spPr>
        <p:txBody>
          <a:bodyPr lIns="0">
            <a:noAutofit/>
          </a:bodyPr>
          <a:lstStyle>
            <a:lvl1pPr marL="0" indent="0">
              <a:spcAft>
                <a:spcPts val="0"/>
              </a:spcAft>
              <a:buNone/>
              <a:defRPr sz="2000" b="0" i="0">
                <a:latin typeface="Oracle Sans Tab" panose="020B0503020204020204" pitchFamily="34" charset="0"/>
                <a:cs typeface="Oracle Sans Tab" panose="020B0503020204020204" pitchFamily="34" charset="0"/>
              </a:defRPr>
            </a:lvl1pPr>
          </a:lstStyle>
          <a:p>
            <a:pPr lvl="0"/>
            <a:r>
              <a:rPr lang="en-US" dirty="0"/>
              <a:t>Subtitle</a:t>
            </a:r>
          </a:p>
        </p:txBody>
      </p:sp>
      <p:sp>
        <p:nvSpPr>
          <p:cNvPr id="6" name="Content">
            <a:extLst>
              <a:ext uri="{FF2B5EF4-FFF2-40B4-BE49-F238E27FC236}">
                <a16:creationId xmlns:a16="http://schemas.microsoft.com/office/drawing/2014/main" id="{238CEDEE-F37B-4496-9270-0479A31C9762}"/>
              </a:ext>
            </a:extLst>
          </p:cNvPr>
          <p:cNvSpPr>
            <a:spLocks noGrp="1"/>
          </p:cNvSpPr>
          <p:nvPr>
            <p:ph sz="quarter" idx="14"/>
          </p:nvPr>
        </p:nvSpPr>
        <p:spPr>
          <a:xfrm>
            <a:off x="766763" y="1600201"/>
            <a:ext cx="10671175" cy="45069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EE4D9CD-CDC4-4642-8CDA-7351404FC2D2}"/>
              </a:ext>
            </a:extLst>
          </p:cNvPr>
          <p:cNvSpPr>
            <a:spLocks noGrp="1"/>
          </p:cNvSpPr>
          <p:nvPr>
            <p:ph type="title" hasCustomPrompt="1"/>
          </p:nvPr>
        </p:nvSpPr>
        <p:spPr/>
        <p:txBody>
          <a:bodyPr/>
          <a:lstStyle>
            <a:lvl1pPr>
              <a:defRPr/>
            </a:lvl1pPr>
          </a:lstStyle>
          <a:p>
            <a:r>
              <a:rPr lang="en-US" dirty="0"/>
              <a:t>Title</a:t>
            </a:r>
          </a:p>
        </p:txBody>
      </p:sp>
      <p:sp>
        <p:nvSpPr>
          <p:cNvPr id="5" name="Date Placeholder 4">
            <a:extLst>
              <a:ext uri="{FF2B5EF4-FFF2-40B4-BE49-F238E27FC236}">
                <a16:creationId xmlns:a16="http://schemas.microsoft.com/office/drawing/2014/main" id="{48C5C278-52DE-4C8A-933B-1109B3282E51}"/>
              </a:ext>
            </a:extLst>
          </p:cNvPr>
          <p:cNvSpPr>
            <a:spLocks noGrp="1"/>
          </p:cNvSpPr>
          <p:nvPr>
            <p:ph type="dt" sz="half" idx="15"/>
          </p:nvPr>
        </p:nvSpPr>
        <p:spPr/>
        <p:txBody>
          <a:bodyPr/>
          <a:lstStyle/>
          <a:p>
            <a:r>
              <a:rPr lang="en-US"/>
              <a:t>[Date]</a:t>
            </a:r>
            <a:endParaRPr lang="en-US" dirty="0"/>
          </a:p>
        </p:txBody>
      </p:sp>
      <p:sp>
        <p:nvSpPr>
          <p:cNvPr id="7" name="Footer Placeholder 6">
            <a:extLst>
              <a:ext uri="{FF2B5EF4-FFF2-40B4-BE49-F238E27FC236}">
                <a16:creationId xmlns:a16="http://schemas.microsoft.com/office/drawing/2014/main" id="{E2CE12F3-375D-4B05-A71D-DA14DF8ADB8E}"/>
              </a:ext>
            </a:extLst>
          </p:cNvPr>
          <p:cNvSpPr>
            <a:spLocks noGrp="1"/>
          </p:cNvSpPr>
          <p:nvPr>
            <p:ph type="ftr" sz="quarter" idx="16"/>
          </p:nvPr>
        </p:nvSpPr>
        <p:spPr/>
        <p:txBody>
          <a:bodyPr/>
          <a:lstStyle/>
          <a:p>
            <a:r>
              <a:rPr lang="en-US"/>
              <a:t>Copyright © 2021, Oracle and/or its affiliates  |  Confidential: Internal/Restricted/Highly Restricted</a:t>
            </a:r>
            <a:endParaRPr lang="en-US" dirty="0"/>
          </a:p>
        </p:txBody>
      </p:sp>
      <p:sp>
        <p:nvSpPr>
          <p:cNvPr id="8" name="Slide Number Placeholder 7">
            <a:extLst>
              <a:ext uri="{FF2B5EF4-FFF2-40B4-BE49-F238E27FC236}">
                <a16:creationId xmlns:a16="http://schemas.microsoft.com/office/drawing/2014/main" id="{7A59FA82-C146-45DF-AE7B-4B5698706BEA}"/>
              </a:ext>
            </a:extLst>
          </p:cNvPr>
          <p:cNvSpPr>
            <a:spLocks noGrp="1"/>
          </p:cNvSpPr>
          <p:nvPr>
            <p:ph type="sldNum" sz="quarter" idx="17"/>
          </p:nvPr>
        </p:nvSpPr>
        <p:spPr/>
        <p:txBody>
          <a:body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71538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_Light - Title Only">
    <p:bg>
      <p:bgPr>
        <a:solidFill>
          <a:schemeClr val="bg1"/>
        </a:solidFill>
        <a:effectLst/>
      </p:bgPr>
    </p:bg>
    <p:spTree>
      <p:nvGrpSpPr>
        <p:cNvPr id="1" name=""/>
        <p:cNvGrpSpPr/>
        <p:nvPr/>
      </p:nvGrpSpPr>
      <p:grpSpPr>
        <a:xfrm>
          <a:off x="0" y="0"/>
          <a:ext cx="0" cy="0"/>
          <a:chOff x="0" y="0"/>
          <a:chExt cx="0" cy="0"/>
        </a:xfrm>
      </p:grpSpPr>
      <p:pic>
        <p:nvPicPr>
          <p:cNvPr id="17" name="OTag">
            <a:extLst>
              <a:ext uri="{FF2B5EF4-FFF2-40B4-BE49-F238E27FC236}">
                <a16:creationId xmlns:a16="http://schemas.microsoft.com/office/drawing/2014/main" id="{E92E3AB4-CA2B-2947-A479-6006EC506B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83113" y="6355080"/>
            <a:ext cx="502920" cy="502920"/>
          </a:xfrm>
          <a:prstGeom prst="rect">
            <a:avLst/>
          </a:prstGeom>
        </p:spPr>
      </p:pic>
      <p:sp>
        <p:nvSpPr>
          <p:cNvPr id="12" name="Footer">
            <a:extLst>
              <a:ext uri="{FF2B5EF4-FFF2-40B4-BE49-F238E27FC236}">
                <a16:creationId xmlns:a16="http://schemas.microsoft.com/office/drawing/2014/main" id="{094BB478-39FC-BC45-B020-64CE083CBD80}"/>
              </a:ext>
            </a:extLst>
          </p:cNvPr>
          <p:cNvSpPr>
            <a:spLocks noGrp="1"/>
          </p:cNvSpPr>
          <p:nvPr>
            <p:ph type="ftr" sz="quarter" idx="3"/>
          </p:nvPr>
        </p:nvSpPr>
        <p:spPr>
          <a:xfrm>
            <a:off x="1127760" y="6423980"/>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a:t>
            </a:r>
            <a:endParaRPr lang="en-US" dirty="0"/>
          </a:p>
        </p:txBody>
      </p:sp>
    </p:spTree>
    <p:extLst>
      <p:ext uri="{BB962C8B-B14F-4D97-AF65-F5344CB8AC3E}">
        <p14:creationId xmlns:p14="http://schemas.microsoft.com/office/powerpoint/2010/main" val="12055430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ark - Thank You">
    <p:bg>
      <p:bgRef idx="1001">
        <a:schemeClr val="bg1"/>
      </p:bgRef>
    </p:bg>
    <p:spTree>
      <p:nvGrpSpPr>
        <p:cNvPr id="1" name=""/>
        <p:cNvGrpSpPr/>
        <p:nvPr/>
      </p:nvGrpSpPr>
      <p:grpSpPr>
        <a:xfrm>
          <a:off x="0" y="0"/>
          <a:ext cx="0" cy="0"/>
          <a:chOff x="0" y="0"/>
          <a:chExt cx="0" cy="0"/>
        </a:xfrm>
      </p:grpSpPr>
      <p:pic>
        <p:nvPicPr>
          <p:cNvPr id="14" name="Abstract Illustration">
            <a:extLst>
              <a:ext uri="{FF2B5EF4-FFF2-40B4-BE49-F238E27FC236}">
                <a16:creationId xmlns:a16="http://schemas.microsoft.com/office/drawing/2014/main" id="{49F92AE8-C0F0-CF4B-B569-964245B00416}"/>
              </a:ext>
              <a:ext uri="{C183D7F6-B498-43B3-948B-1728B52AA6E4}">
                <adec:decorative xmlns:adec="http://schemas.microsoft.com/office/drawing/2017/decorative" val="1"/>
              </a:ext>
            </a:extLst>
          </p:cNvPr>
          <p:cNvPicPr>
            <a:picLocks noChangeAspect="1"/>
          </p:cNvPicPr>
          <p:nvPr userDrawn="1">
            <p:custDataLst>
              <p:tags r:id="rId1"/>
            </p:custDataLst>
          </p:nvPr>
        </p:nvPicPr>
        <p:blipFill>
          <a:blip r:embed="rId11">
            <a:extLst>
              <a:ext uri="{28A0092B-C50C-407E-A947-70E740481C1C}">
                <a14:useLocalDpi xmlns:a14="http://schemas.microsoft.com/office/drawing/2010/main" val="0"/>
              </a:ext>
            </a:extLst>
          </a:blip>
          <a:stretch>
            <a:fillRect/>
          </a:stretch>
        </p:blipFill>
        <p:spPr bwMode="ltGray">
          <a:xfrm>
            <a:off x="6096000" y="4898"/>
            <a:ext cx="6096000" cy="6858000"/>
          </a:xfrm>
          <a:prstGeom prst="rect">
            <a:avLst/>
          </a:prstGeom>
        </p:spPr>
      </p:pic>
      <p:pic>
        <p:nvPicPr>
          <p:cNvPr id="26" name="OTag">
            <a:extLst>
              <a:ext uri="{FF2B5EF4-FFF2-40B4-BE49-F238E27FC236}">
                <a16:creationId xmlns:a16="http://schemas.microsoft.com/office/drawing/2014/main" id="{42D6F87D-23AA-1D42-BDBA-F6833AC9A0E3}"/>
              </a:ext>
              <a:ext uri="{C183D7F6-B498-43B3-948B-1728B52AA6E4}">
                <adec:decorative xmlns:adec="http://schemas.microsoft.com/office/drawing/2017/decorative" val="1"/>
              </a:ext>
            </a:extLst>
          </p:cNvPr>
          <p:cNvPicPr>
            <a:picLocks noChangeAspect="1"/>
          </p:cNvPicPr>
          <p:nvPr userDrawn="1">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3" name="Thank youi">
            <a:extLst>
              <a:ext uri="{FF2B5EF4-FFF2-40B4-BE49-F238E27FC236}">
                <a16:creationId xmlns:a16="http://schemas.microsoft.com/office/drawing/2014/main" id="{1F390879-C7C7-4224-97BB-1C165BFB5AA3}"/>
              </a:ext>
            </a:extLst>
          </p:cNvPr>
          <p:cNvSpPr>
            <a:spLocks noGrp="1"/>
          </p:cNvSpPr>
          <p:nvPr>
            <p:ph type="title" hasCustomPrompt="1"/>
            <p:custDataLst>
              <p:tags r:id="rId3"/>
            </p:custDataLst>
          </p:nvPr>
        </p:nvSpPr>
        <p:spPr>
          <a:xfrm>
            <a:off x="768875" y="3483973"/>
            <a:ext cx="5029200" cy="822960"/>
          </a:xfrm>
          <a:noFill/>
        </p:spPr>
        <p:txBody>
          <a:bodyPr vert="horz" lIns="0" tIns="0" rIns="0" bIns="0" rtlCol="0" anchor="b" anchorCtr="0">
            <a:noAutofit/>
          </a:bodyPr>
          <a:lstStyle>
            <a:lvl1pPr>
              <a:defRPr lang="en-US" sz="3200" b="0" i="0">
                <a:latin typeface="+mj-lt"/>
                <a:cs typeface="Oracle Sans" panose="020B0503020204020204" pitchFamily="34" charset="0"/>
              </a:defRPr>
            </a:lvl1pPr>
          </a:lstStyle>
          <a:p>
            <a:pPr marL="0" marR="0" lvl="0" indent="0" fontAlgn="t">
              <a:lnSpc>
                <a:spcPct val="100000"/>
              </a:lnSpc>
              <a:spcBef>
                <a:spcPct val="0"/>
              </a:spcBef>
              <a:spcAft>
                <a:spcPct val="0"/>
              </a:spcAft>
              <a:buClrTx/>
              <a:buSzTx/>
              <a:buFont typeface="System Font Regular"/>
            </a:pPr>
            <a:r>
              <a:rPr lang="en-US"/>
              <a:t>Thank you</a:t>
            </a:r>
          </a:p>
        </p:txBody>
      </p:sp>
      <p:cxnSp>
        <p:nvCxnSpPr>
          <p:cNvPr id="17" name="Accent Mark">
            <a:extLst>
              <a:ext uri="{FF2B5EF4-FFF2-40B4-BE49-F238E27FC236}">
                <a16:creationId xmlns:a16="http://schemas.microsoft.com/office/drawing/2014/main" id="{067F8F82-B054-48B8-A81C-65FC099A0B9D}"/>
              </a:ext>
              <a:ext uri="{C183D7F6-B498-43B3-948B-1728B52AA6E4}">
                <adec:decorative xmlns:adec="http://schemas.microsoft.com/office/drawing/2017/decorative" val="1"/>
              </a:ext>
            </a:extLst>
          </p:cNvPr>
          <p:cNvCxnSpPr/>
          <p:nvPr userDrawn="1">
            <p:custDataLst>
              <p:tags r:id="rId4"/>
            </p:custDataLst>
          </p:nvPr>
        </p:nvCxnSpPr>
        <p:spPr>
          <a:xfrm flipH="1">
            <a:off x="768350" y="4508728"/>
            <a:ext cx="301752"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sp>
        <p:nvSpPr>
          <p:cNvPr id="11" name="Text Field">
            <a:extLst>
              <a:ext uri="{FF2B5EF4-FFF2-40B4-BE49-F238E27FC236}">
                <a16:creationId xmlns:a16="http://schemas.microsoft.com/office/drawing/2014/main" id="{F273E805-B8FF-F84B-99E6-4636F8BD3EBF}"/>
              </a:ext>
            </a:extLst>
          </p:cNvPr>
          <p:cNvSpPr>
            <a:spLocks noGrp="1"/>
          </p:cNvSpPr>
          <p:nvPr>
            <p:ph type="body" sz="quarter" idx="37"/>
            <p:custDataLst>
              <p:tags r:id="rId5"/>
            </p:custDataLst>
          </p:nvPr>
        </p:nvSpPr>
        <p:spPr>
          <a:xfrm>
            <a:off x="762000" y="4773585"/>
            <a:ext cx="5029200" cy="266291"/>
          </a:xfrm>
          <a:prstGeom prst="rect">
            <a:avLst/>
          </a:prstGeom>
        </p:spPr>
        <p:txBody>
          <a:bodyPr>
            <a:noAutofit/>
          </a:bodyPr>
          <a:lstStyle>
            <a:lvl1pPr>
              <a:defRPr b="0" i="0">
                <a:latin typeface="Oracle Sans" panose="020B0503020204020204" pitchFamily="34" charset="0"/>
                <a:cs typeface="Oracle Sans" panose="020B0503020204020204" pitchFamily="34" charset="0"/>
              </a:defRPr>
            </a:lvl1pPr>
          </a:lstStyle>
          <a:p>
            <a:pPr lvl="0"/>
            <a:r>
              <a:rPr lang="en-GB"/>
              <a:t>Click to edit Master text styles</a:t>
            </a:r>
          </a:p>
        </p:txBody>
      </p:sp>
      <p:sp>
        <p:nvSpPr>
          <p:cNvPr id="10" name="Text Field 2">
            <a:extLst>
              <a:ext uri="{FF2B5EF4-FFF2-40B4-BE49-F238E27FC236}">
                <a16:creationId xmlns:a16="http://schemas.microsoft.com/office/drawing/2014/main" id="{283762D0-0D31-A347-AD9E-095398CD17C5}"/>
              </a:ext>
            </a:extLst>
          </p:cNvPr>
          <p:cNvSpPr>
            <a:spLocks noGrp="1"/>
          </p:cNvSpPr>
          <p:nvPr>
            <p:ph type="body" sz="quarter" idx="36"/>
            <p:custDataLst>
              <p:tags r:id="rId6"/>
            </p:custDataLst>
          </p:nvPr>
        </p:nvSpPr>
        <p:spPr>
          <a:xfrm>
            <a:off x="762000" y="5111178"/>
            <a:ext cx="5029200" cy="895181"/>
          </a:xfrm>
          <a:prstGeom prst="rect">
            <a:avLst/>
          </a:prstGeom>
        </p:spPr>
        <p:txBody>
          <a:bodyPr>
            <a:noAutofit/>
          </a:bodyPr>
          <a:lstStyle>
            <a:lvl1pPr>
              <a:defRPr b="0" i="0">
                <a:latin typeface="Oracle Sans" panose="020B0503020204020204" pitchFamily="34" charset="0"/>
                <a:cs typeface="Oracle Sans" panose="020B0503020204020204" pitchFamily="34" charset="0"/>
              </a:defRPr>
            </a:lvl1pPr>
          </a:lstStyle>
          <a:p>
            <a:pPr lvl="0"/>
            <a:r>
              <a:rPr lang="en-GB"/>
              <a:t>Click to edit Master text styles</a:t>
            </a:r>
          </a:p>
        </p:txBody>
      </p:sp>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custDataLst>
              <p:tags r:id="rId7"/>
            </p:custDataLst>
          </p:nvPr>
        </p:nvSpPr>
        <p:spPr>
          <a:xfrm>
            <a:off x="762000" y="6423660"/>
            <a:ext cx="365760" cy="365760"/>
          </a:xfrm>
          <a:prstGeom prst="rect">
            <a:avLst/>
          </a:prstGeom>
        </p:spPr>
        <p:txBody>
          <a:bodyPr vert="horz" lIns="0" tIns="0" rIns="0" bIns="0" rtlCol="0" anchor="ctr"/>
          <a:lstStyle>
            <a:lvl1pPr algn="l">
              <a:defRPr sz="1000" b="0" i="0">
                <a:solidFill>
                  <a:srgbClr val="8B8580"/>
                </a:solidFill>
                <a:latin typeface="Oracle Sans" panose="020B0503020204020204" pitchFamily="34" charset="0"/>
              </a:defRPr>
            </a:lvl1pPr>
          </a:lstStyle>
          <a:p>
            <a:fld id="{345D60D9-5372-5F40-9443-0F9AE5BDC3C8}" type="slidenum">
              <a:rPr lang="en-US" smtClean="0"/>
              <a:t>‹N°›</a:t>
            </a:fld>
            <a:endParaRPr lang="en-US"/>
          </a:p>
        </p:txBody>
      </p:sp>
      <p:sp>
        <p:nvSpPr>
          <p:cNvPr id="15" name="Footer">
            <a:extLst>
              <a:ext uri="{FF2B5EF4-FFF2-40B4-BE49-F238E27FC236}">
                <a16:creationId xmlns:a16="http://schemas.microsoft.com/office/drawing/2014/main" id="{AC796A58-6878-0644-885E-17721EE64E2C}"/>
              </a:ext>
            </a:extLst>
          </p:cNvPr>
          <p:cNvSpPr>
            <a:spLocks noGrp="1"/>
          </p:cNvSpPr>
          <p:nvPr>
            <p:ph type="ftr" sz="quarter" idx="3"/>
            <p:custDataLst>
              <p:tags r:id="rId8"/>
            </p:custDataLst>
          </p:nvPr>
        </p:nvSpPr>
        <p:spPr>
          <a:xfrm>
            <a:off x="1127759" y="6423978"/>
            <a:ext cx="5745379" cy="365125"/>
          </a:xfrm>
          <a:prstGeom prst="rect">
            <a:avLst/>
          </a:prstGeom>
        </p:spPr>
        <p:txBody>
          <a:bodyPr vert="horz" lIns="0" tIns="0" rIns="0" bIns="0" rtlCol="0" anchor="ctr"/>
          <a:lstStyle>
            <a:lvl1pPr algn="l">
              <a:defRPr sz="1000" b="0" i="0">
                <a:solidFill>
                  <a:srgbClr val="8B8580"/>
                </a:solidFill>
                <a:latin typeface="Oracle Sans" panose="020B0503020204020204" pitchFamily="34" charset="0"/>
              </a:defRPr>
            </a:lvl1pPr>
          </a:lstStyle>
          <a:p>
            <a:r>
              <a:rPr lang="en-US"/>
              <a:t>Copyright © 2020, Oracle and/or its affiliates. All rights reserved.</a:t>
            </a:r>
          </a:p>
        </p:txBody>
      </p:sp>
      <p:sp>
        <p:nvSpPr>
          <p:cNvPr id="2" name="Date">
            <a:extLst>
              <a:ext uri="{FF2B5EF4-FFF2-40B4-BE49-F238E27FC236}">
                <a16:creationId xmlns:a16="http://schemas.microsoft.com/office/drawing/2014/main" id="{AB08051D-A8B9-4421-AD56-3FE2BA4234FE}"/>
              </a:ext>
            </a:extLst>
          </p:cNvPr>
          <p:cNvSpPr>
            <a:spLocks noGrp="1"/>
          </p:cNvSpPr>
          <p:nvPr>
            <p:ph type="dt" sz="half" idx="38"/>
            <p:custDataLst>
              <p:tags r:id="rId9"/>
            </p:custDataLst>
          </p:nvPr>
        </p:nvSpPr>
        <p:spPr/>
        <p:txBody>
          <a:bodyPr/>
          <a:lstStyle>
            <a:lvl1pPr>
              <a:defRPr b="0" i="0">
                <a:latin typeface="Oracle Sans" panose="020B0503020204020204" pitchFamily="34" charset="0"/>
              </a:defRPr>
            </a:lvl1pPr>
          </a:lstStyle>
          <a:p>
            <a:r>
              <a:rPr lang="en-US"/>
              <a:t>[Date]</a:t>
            </a:r>
            <a:endParaRPr lang="en-GB"/>
          </a:p>
        </p:txBody>
      </p:sp>
    </p:spTree>
    <p:extLst>
      <p:ext uri="{BB962C8B-B14F-4D97-AF65-F5344CB8AC3E}">
        <p14:creationId xmlns:p14="http://schemas.microsoft.com/office/powerpoint/2010/main" val="1272072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ark - Title Only">
    <p:spTree>
      <p:nvGrpSpPr>
        <p:cNvPr id="1" name=""/>
        <p:cNvGrpSpPr/>
        <p:nvPr/>
      </p:nvGrpSpPr>
      <p:grpSpPr>
        <a:xfrm>
          <a:off x="0" y="0"/>
          <a:ext cx="0" cy="0"/>
          <a:chOff x="0" y="0"/>
          <a:chExt cx="0" cy="0"/>
        </a:xfrm>
      </p:grpSpPr>
      <p:pic>
        <p:nvPicPr>
          <p:cNvPr id="7" name="Cloud">
            <a:extLst>
              <a:ext uri="{FF2B5EF4-FFF2-40B4-BE49-F238E27FC236}">
                <a16:creationId xmlns:a16="http://schemas.microsoft.com/office/drawing/2014/main" id="{05859F96-E4B3-8747-B027-10CA6EDB3EE7}"/>
              </a:ext>
              <a:ext uri="{C183D7F6-B498-43B3-948B-1728B52AA6E4}">
                <adec:decorative xmlns:adec="http://schemas.microsoft.com/office/drawing/2017/decorative" val="1"/>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a:ext>
            </a:extLst>
          </a:blip>
          <a:stretch>
            <a:fillRect/>
          </a:stretch>
        </p:blipFill>
        <p:spPr>
          <a:xfrm>
            <a:off x="6705731" y="269359"/>
            <a:ext cx="5080369" cy="1559441"/>
          </a:xfrm>
          <a:prstGeom prst="rect">
            <a:avLst/>
          </a:prstGeom>
        </p:spPr>
      </p:pic>
      <p:sp>
        <p:nvSpPr>
          <p:cNvPr id="4" name="Title 3">
            <a:extLst>
              <a:ext uri="{FF2B5EF4-FFF2-40B4-BE49-F238E27FC236}">
                <a16:creationId xmlns:a16="http://schemas.microsoft.com/office/drawing/2014/main" id="{F495A570-6FAE-4393-89B0-E6BA7AC6B3F9}"/>
              </a:ext>
            </a:extLst>
          </p:cNvPr>
          <p:cNvSpPr>
            <a:spLocks noGrp="1"/>
          </p:cNvSpPr>
          <p:nvPr>
            <p:ph type="title" hasCustomPrompt="1"/>
            <p:custDataLst>
              <p:tags r:id="rId2"/>
            </p:custDataLst>
          </p:nvPr>
        </p:nvSpPr>
        <p:spPr/>
        <p:txBody>
          <a:bodyPr/>
          <a:lstStyle>
            <a:lvl1pPr>
              <a:defRPr/>
            </a:lvl1pPr>
          </a:lstStyle>
          <a:p>
            <a:r>
              <a:rPr lang="en-US"/>
              <a:t>Title</a:t>
            </a:r>
          </a:p>
        </p:txBody>
      </p:sp>
      <p:sp>
        <p:nvSpPr>
          <p:cNvPr id="2" name="Date Placeholder 1">
            <a:extLst>
              <a:ext uri="{FF2B5EF4-FFF2-40B4-BE49-F238E27FC236}">
                <a16:creationId xmlns:a16="http://schemas.microsoft.com/office/drawing/2014/main" id="{10792EEA-DB03-4E8E-B6AB-1122F317F95A}"/>
              </a:ext>
            </a:extLst>
          </p:cNvPr>
          <p:cNvSpPr>
            <a:spLocks noGrp="1"/>
          </p:cNvSpPr>
          <p:nvPr>
            <p:ph type="dt" sz="half" idx="10"/>
            <p:custDataLst>
              <p:tags r:id="rId3"/>
            </p:custDataLst>
          </p:nvPr>
        </p:nvSpPr>
        <p:spPr/>
        <p:txBody>
          <a:bodyPr/>
          <a:lstStyle/>
          <a:p>
            <a:r>
              <a:rPr lang="en-US"/>
              <a:t>[Date]</a:t>
            </a:r>
            <a:endParaRPr/>
          </a:p>
        </p:txBody>
      </p:sp>
      <p:sp>
        <p:nvSpPr>
          <p:cNvPr id="5" name="Footer Placeholder 4">
            <a:extLst>
              <a:ext uri="{FF2B5EF4-FFF2-40B4-BE49-F238E27FC236}">
                <a16:creationId xmlns:a16="http://schemas.microsoft.com/office/drawing/2014/main" id="{0EBB5D96-D6C9-4E8C-9D41-A28C7CED92F8}"/>
              </a:ext>
            </a:extLst>
          </p:cNvPr>
          <p:cNvSpPr>
            <a:spLocks noGrp="1"/>
          </p:cNvSpPr>
          <p:nvPr>
            <p:ph type="ftr" sz="quarter" idx="11"/>
            <p:custDataLst>
              <p:tags r:id="rId4"/>
            </p:custDataLst>
          </p:nvPr>
        </p:nvSpPr>
        <p:spPr/>
        <p:txBody>
          <a:bodyPr/>
          <a:lstStyle/>
          <a:p>
            <a:r>
              <a:rPr lang="en-US"/>
              <a:t>Copyright © 2020, Oracle and/or its affiliates. All rights reserved.</a:t>
            </a:r>
          </a:p>
        </p:txBody>
      </p:sp>
      <p:sp>
        <p:nvSpPr>
          <p:cNvPr id="6" name="Slide Number Placeholder 5">
            <a:extLst>
              <a:ext uri="{FF2B5EF4-FFF2-40B4-BE49-F238E27FC236}">
                <a16:creationId xmlns:a16="http://schemas.microsoft.com/office/drawing/2014/main" id="{D760D253-6DDA-4486-89F6-5D5732868115}"/>
              </a:ext>
            </a:extLst>
          </p:cNvPr>
          <p:cNvSpPr>
            <a:spLocks noGrp="1"/>
          </p:cNvSpPr>
          <p:nvPr>
            <p:ph type="sldNum" sz="quarter" idx="12"/>
            <p:custDataLst>
              <p:tags r:id="rId5"/>
            </p:custDataLst>
          </p:nvPr>
        </p:nvSpPr>
        <p:spPr/>
        <p:txBody>
          <a:bodyPr/>
          <a:lstStyle/>
          <a:p>
            <a:fld id="{345D60D9-5372-5F40-9443-0F9AE5BDC3C8}" type="slidenum">
              <a:rPr lang="en-US" smtClean="0"/>
              <a:t>‹N°›</a:t>
            </a:fld>
            <a:endParaRPr lang="en-US"/>
          </a:p>
        </p:txBody>
      </p:sp>
    </p:spTree>
    <p:extLst>
      <p:ext uri="{BB962C8B-B14F-4D97-AF65-F5344CB8AC3E}">
        <p14:creationId xmlns:p14="http://schemas.microsoft.com/office/powerpoint/2010/main" val="344741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OOW Title Slide">
    <p:spTree>
      <p:nvGrpSpPr>
        <p:cNvPr id="1" name=""/>
        <p:cNvGrpSpPr/>
        <p:nvPr/>
      </p:nvGrpSpPr>
      <p:grpSpPr>
        <a:xfrm>
          <a:off x="0" y="0"/>
          <a:ext cx="0" cy="0"/>
          <a:chOff x="0" y="0"/>
          <a:chExt cx="0" cy="0"/>
        </a:xfrm>
      </p:grpSpPr>
      <p:pic>
        <p:nvPicPr>
          <p:cNvPr id="12" name="Picture 11" descr="A picture containing container, basket&#10;&#10;Description automatically generated">
            <a:extLst>
              <a:ext uri="{FF2B5EF4-FFF2-40B4-BE49-F238E27FC236}">
                <a16:creationId xmlns:a16="http://schemas.microsoft.com/office/drawing/2014/main" id="{E41EF51B-5365-4A3A-A026-8C938E25026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098"/>
          <a:stretch/>
        </p:blipFill>
        <p:spPr>
          <a:xfrm>
            <a:off x="5660966" y="213908"/>
            <a:ext cx="6531034" cy="2938320"/>
          </a:xfrm>
          <a:prstGeom prst="rect">
            <a:avLst/>
          </a:prstGeom>
        </p:spPr>
      </p:pic>
      <p:sp>
        <p:nvSpPr>
          <p:cNvPr id="2" name="Title 1">
            <a:extLst>
              <a:ext uri="{FF2B5EF4-FFF2-40B4-BE49-F238E27FC236}">
                <a16:creationId xmlns:a16="http://schemas.microsoft.com/office/drawing/2014/main" id="{95A3AB21-237D-495E-B34C-C4FCEF0DECDA}"/>
              </a:ext>
            </a:extLst>
          </p:cNvPr>
          <p:cNvSpPr>
            <a:spLocks noGrp="1"/>
          </p:cNvSpPr>
          <p:nvPr>
            <p:ph type="ctrTitle" hasCustomPrompt="1"/>
          </p:nvPr>
        </p:nvSpPr>
        <p:spPr>
          <a:xfrm>
            <a:off x="767374" y="2610195"/>
            <a:ext cx="6706446" cy="1440729"/>
          </a:xfrm>
        </p:spPr>
        <p:txBody>
          <a:bodyPr anchor="b">
            <a:normAutofit/>
          </a:bodyPr>
          <a:lstStyle>
            <a:lvl1pPr algn="l">
              <a:lnSpc>
                <a:spcPts val="4000"/>
              </a:lnSpc>
              <a:defRPr sz="4000">
                <a:latin typeface="Georgia" panose="02040502050405020303" pitchFamily="18" charset="0"/>
              </a:defRPr>
            </a:lvl1pPr>
          </a:lstStyle>
          <a:p>
            <a:r>
              <a:rPr lang="en-US" dirty="0"/>
              <a:t>Future-Proof Your Business</a:t>
            </a:r>
            <a:br>
              <a:rPr lang="en-US" dirty="0"/>
            </a:br>
            <a:r>
              <a:rPr lang="en-US" dirty="0"/>
              <a:t>with Oracle Cloud Apps</a:t>
            </a:r>
          </a:p>
        </p:txBody>
      </p:sp>
      <p:sp>
        <p:nvSpPr>
          <p:cNvPr id="3" name="Subtitle 2">
            <a:extLst>
              <a:ext uri="{FF2B5EF4-FFF2-40B4-BE49-F238E27FC236}">
                <a16:creationId xmlns:a16="http://schemas.microsoft.com/office/drawing/2014/main" id="{A7C3AE17-476B-4287-B329-DBDFF3CB0A89}"/>
              </a:ext>
            </a:extLst>
          </p:cNvPr>
          <p:cNvSpPr>
            <a:spLocks noGrp="1"/>
          </p:cNvSpPr>
          <p:nvPr>
            <p:ph type="subTitle" idx="1" hasCustomPrompt="1"/>
          </p:nvPr>
        </p:nvSpPr>
        <p:spPr>
          <a:xfrm>
            <a:off x="767374" y="4624690"/>
            <a:ext cx="6706446" cy="365125"/>
          </a:xfrm>
        </p:spPr>
        <p:txBody>
          <a:bodyPr lIns="0" rIns="0">
            <a:normAutofit/>
          </a:bodyPr>
          <a:lstStyle>
            <a:lvl1pPr marL="0" indent="0" algn="l">
              <a:buNone/>
              <a:defRPr sz="1600">
                <a:latin typeface="Oracle Sans Extra Bold" panose="020B0803020204020204" pitchFamily="34" charset="0"/>
                <a:cs typeface="Oracle Sans Extra Bold" panose="020B08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teve Miranda</a:t>
            </a:r>
          </a:p>
        </p:txBody>
      </p:sp>
      <p:sp>
        <p:nvSpPr>
          <p:cNvPr id="5" name="Footer Placeholder 4">
            <a:extLst>
              <a:ext uri="{FF2B5EF4-FFF2-40B4-BE49-F238E27FC236}">
                <a16:creationId xmlns:a16="http://schemas.microsoft.com/office/drawing/2014/main" id="{F3D267BE-801B-437B-8EF3-68BD8F599805}"/>
              </a:ext>
            </a:extLst>
          </p:cNvPr>
          <p:cNvSpPr>
            <a:spLocks noGrp="1"/>
          </p:cNvSpPr>
          <p:nvPr>
            <p:ph type="ftr" sz="quarter" idx="11"/>
          </p:nvPr>
        </p:nvSpPr>
        <p:spPr/>
        <p:txBody>
          <a:bodyPr/>
          <a:lstStyle>
            <a:lvl1pPr>
              <a:defRPr/>
            </a:lvl1pPr>
          </a:lstStyle>
          <a:p>
            <a:r>
              <a:rPr lang="en-US" sz="700" dirty="0"/>
              <a:t>Copyright © 2019 Oracle and/or its affiliates.</a:t>
            </a:r>
          </a:p>
        </p:txBody>
      </p:sp>
      <p:sp>
        <p:nvSpPr>
          <p:cNvPr id="10" name="Text Placeholder 9">
            <a:extLst>
              <a:ext uri="{FF2B5EF4-FFF2-40B4-BE49-F238E27FC236}">
                <a16:creationId xmlns:a16="http://schemas.microsoft.com/office/drawing/2014/main" id="{AC9CEBEA-6D56-4EDE-A99A-2090EC12F782}"/>
              </a:ext>
            </a:extLst>
          </p:cNvPr>
          <p:cNvSpPr>
            <a:spLocks noGrp="1"/>
          </p:cNvSpPr>
          <p:nvPr>
            <p:ph type="body" sz="quarter" idx="13" hasCustomPrompt="1"/>
          </p:nvPr>
        </p:nvSpPr>
        <p:spPr>
          <a:xfrm>
            <a:off x="767374" y="5122053"/>
            <a:ext cx="6706446" cy="720725"/>
          </a:xfrm>
        </p:spPr>
        <p:txBody>
          <a:bodyPr lIns="0" rIns="0">
            <a:normAutofit/>
          </a:bodyPr>
          <a:lstStyle>
            <a:lvl1pPr marL="0" indent="0">
              <a:lnSpc>
                <a:spcPts val="1400"/>
              </a:lnSpc>
              <a:buFont typeface="+mj-lt"/>
              <a:buNone/>
              <a:defRPr sz="1600">
                <a:solidFill>
                  <a:schemeClr val="accent6">
                    <a:lumMod val="60000"/>
                    <a:lumOff val="40000"/>
                  </a:schemeClr>
                </a:solidFill>
              </a:defRPr>
            </a:lvl1pPr>
            <a:lvl5pPr>
              <a:defRPr/>
            </a:lvl5pPr>
          </a:lstStyle>
          <a:p>
            <a:pPr lvl="0"/>
            <a:r>
              <a:rPr lang="en-US" dirty="0"/>
              <a:t>Executive Vice President</a:t>
            </a:r>
          </a:p>
          <a:p>
            <a:pPr lvl="0"/>
            <a:r>
              <a:rPr lang="en-US" dirty="0"/>
              <a:t>Applications &amp; Product Development</a:t>
            </a:r>
          </a:p>
          <a:p>
            <a:pPr lvl="0"/>
            <a:endParaRPr lang="en-US" dirty="0"/>
          </a:p>
        </p:txBody>
      </p:sp>
      <p:pic>
        <p:nvPicPr>
          <p:cNvPr id="14" name="Picture 13" descr="A picture containing music, black&#10;&#10;Description automatically generated">
            <a:extLst>
              <a:ext uri="{FF2B5EF4-FFF2-40B4-BE49-F238E27FC236}">
                <a16:creationId xmlns:a16="http://schemas.microsoft.com/office/drawing/2014/main" id="{FA9D9C0C-1303-4BC2-865B-D87B14FAE18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5293"/>
          <a:stretch/>
        </p:blipFill>
        <p:spPr>
          <a:xfrm>
            <a:off x="-1" y="1040860"/>
            <a:ext cx="2864667" cy="1649788"/>
          </a:xfrm>
          <a:prstGeom prst="rect">
            <a:avLst/>
          </a:prstGeom>
        </p:spPr>
      </p:pic>
      <p:sp>
        <p:nvSpPr>
          <p:cNvPr id="15" name="Rectangle 14">
            <a:extLst>
              <a:ext uri="{FF2B5EF4-FFF2-40B4-BE49-F238E27FC236}">
                <a16:creationId xmlns:a16="http://schemas.microsoft.com/office/drawing/2014/main" id="{5D67E56D-4C0D-454A-AEE8-2349559EAAB5}"/>
              </a:ext>
            </a:extLst>
          </p:cNvPr>
          <p:cNvSpPr/>
          <p:nvPr userDrawn="1"/>
        </p:nvSpPr>
        <p:spPr>
          <a:xfrm>
            <a:off x="761287" y="4280089"/>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20CA049-1897-4D90-9AE0-24E2DD7B6708}"/>
              </a:ext>
            </a:extLst>
          </p:cNvPr>
          <p:cNvSpPr/>
          <p:nvPr userDrawn="1"/>
        </p:nvSpPr>
        <p:spPr>
          <a:xfrm>
            <a:off x="10266201" y="4884559"/>
            <a:ext cx="261122"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0F07EA7-8031-4F08-9F37-BB74DCEC1CDF}"/>
              </a:ext>
            </a:extLst>
          </p:cNvPr>
          <p:cNvSpPr/>
          <p:nvPr userDrawn="1"/>
        </p:nvSpPr>
        <p:spPr>
          <a:xfrm>
            <a:off x="11350323" y="5492391"/>
            <a:ext cx="100826" cy="57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D2F3B2F-BA9B-4050-8B8E-FEF77DEB4768}"/>
              </a:ext>
            </a:extLst>
          </p:cNvPr>
          <p:cNvSpPr/>
          <p:nvPr userDrawn="1"/>
        </p:nvSpPr>
        <p:spPr>
          <a:xfrm>
            <a:off x="10855632" y="4638361"/>
            <a:ext cx="643642" cy="57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F82DD56-E093-444B-B3D1-34399747448D}"/>
              </a:ext>
            </a:extLst>
          </p:cNvPr>
          <p:cNvSpPr/>
          <p:nvPr userDrawn="1"/>
        </p:nvSpPr>
        <p:spPr>
          <a:xfrm>
            <a:off x="10656361" y="4884559"/>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D9CD23F-B20E-499B-9C1E-B99F1B32803A}"/>
              </a:ext>
            </a:extLst>
          </p:cNvPr>
          <p:cNvSpPr/>
          <p:nvPr userDrawn="1"/>
        </p:nvSpPr>
        <p:spPr>
          <a:xfrm>
            <a:off x="11356270" y="54944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C55CC811-CD6D-584C-B918-7DD7AC1E50C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Tree>
    <p:extLst>
      <p:ext uri="{BB962C8B-B14F-4D97-AF65-F5344CB8AC3E}">
        <p14:creationId xmlns:p14="http://schemas.microsoft.com/office/powerpoint/2010/main" val="575377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OOW Agenda">
    <p:spTree>
      <p:nvGrpSpPr>
        <p:cNvPr id="1" name=""/>
        <p:cNvGrpSpPr/>
        <p:nvPr/>
      </p:nvGrpSpPr>
      <p:grpSpPr>
        <a:xfrm>
          <a:off x="0" y="0"/>
          <a:ext cx="0" cy="0"/>
          <a:chOff x="0" y="0"/>
          <a:chExt cx="0" cy="0"/>
        </a:xfrm>
      </p:grpSpPr>
      <p:pic>
        <p:nvPicPr>
          <p:cNvPr id="9" name="Picture 8" descr="A picture containing container, basket&#10;&#10;Description automatically generated">
            <a:extLst>
              <a:ext uri="{FF2B5EF4-FFF2-40B4-BE49-F238E27FC236}">
                <a16:creationId xmlns:a16="http://schemas.microsoft.com/office/drawing/2014/main" id="{854C4F1B-5FB4-8C48-B352-99B254FA249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098"/>
          <a:stretch/>
        </p:blipFill>
        <p:spPr>
          <a:xfrm>
            <a:off x="7080948" y="212826"/>
            <a:ext cx="5111051" cy="2299468"/>
          </a:xfrm>
          <a:prstGeom prst="rect">
            <a:avLst/>
          </a:prstGeom>
        </p:spPr>
      </p:pic>
      <p:grpSp>
        <p:nvGrpSpPr>
          <p:cNvPr id="4" name="Group 3">
            <a:extLst>
              <a:ext uri="{FF2B5EF4-FFF2-40B4-BE49-F238E27FC236}">
                <a16:creationId xmlns:a16="http://schemas.microsoft.com/office/drawing/2014/main" id="{F7DFBE94-74A2-954E-835D-D3A403750427}"/>
              </a:ext>
            </a:extLst>
          </p:cNvPr>
          <p:cNvGrpSpPr/>
          <p:nvPr userDrawn="1"/>
        </p:nvGrpSpPr>
        <p:grpSpPr>
          <a:xfrm>
            <a:off x="3281742" y="5775496"/>
            <a:ext cx="1233073" cy="299478"/>
            <a:chOff x="10266201" y="4638361"/>
            <a:chExt cx="1233073" cy="299478"/>
          </a:xfrm>
        </p:grpSpPr>
        <p:sp>
          <p:nvSpPr>
            <p:cNvPr id="10" name="Rectangle 9">
              <a:extLst>
                <a:ext uri="{FF2B5EF4-FFF2-40B4-BE49-F238E27FC236}">
                  <a16:creationId xmlns:a16="http://schemas.microsoft.com/office/drawing/2014/main" id="{2BA10860-07D3-1A4B-8B52-69FDEB228A00}"/>
                </a:ext>
              </a:extLst>
            </p:cNvPr>
            <p:cNvSpPr/>
            <p:nvPr userDrawn="1"/>
          </p:nvSpPr>
          <p:spPr>
            <a:xfrm>
              <a:off x="10266201" y="4884559"/>
              <a:ext cx="261122"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88CE354-4375-7947-A5F2-81A80C5EC1F7}"/>
                </a:ext>
              </a:extLst>
            </p:cNvPr>
            <p:cNvSpPr/>
            <p:nvPr userDrawn="1"/>
          </p:nvSpPr>
          <p:spPr>
            <a:xfrm>
              <a:off x="10855632" y="4638361"/>
              <a:ext cx="643642" cy="57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4331646-206C-584A-8040-FBE54C7289E1}"/>
                </a:ext>
              </a:extLst>
            </p:cNvPr>
            <p:cNvSpPr/>
            <p:nvPr userDrawn="1"/>
          </p:nvSpPr>
          <p:spPr>
            <a:xfrm>
              <a:off x="10656361" y="4884559"/>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5" y="783026"/>
            <a:ext cx="10669101"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Agenda</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2288558"/>
            <a:ext cx="5029200" cy="544527"/>
          </a:xfrm>
        </p:spPr>
        <p:txBody>
          <a:bodyPr lIns="0" rIns="0">
            <a:normAutofit/>
          </a:bodyPr>
          <a:lstStyle>
            <a:lvl1pPr marL="0" indent="0">
              <a:lnSpc>
                <a:spcPct val="100000"/>
              </a:lnSpc>
              <a:spcBef>
                <a:spcPts val="0"/>
              </a:spcBef>
              <a:spcAft>
                <a:spcPts val="1200"/>
              </a:spcAft>
              <a:buSzPct val="70000"/>
              <a:buFont typeface="Arial" panose="020B0604020202020204" pitchFamily="34" charset="0"/>
              <a:buNone/>
              <a:tabLst/>
              <a:defRPr sz="3000" b="1" i="0">
                <a:solidFill>
                  <a:schemeClr val="accent2"/>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Day</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00AD1749-1C8E-AD41-8D05-F1E78F61C9D5}"/>
              </a:ext>
            </a:extLst>
          </p:cNvPr>
          <p:cNvSpPr>
            <a:spLocks noGrp="1"/>
          </p:cNvSpPr>
          <p:nvPr>
            <p:ph type="body" sz="quarter" idx="10" hasCustomPrompt="1"/>
          </p:nvPr>
        </p:nvSpPr>
        <p:spPr>
          <a:xfrm>
            <a:off x="768095" y="2947988"/>
            <a:ext cx="822960" cy="3239072"/>
          </a:xfrm>
        </p:spPr>
        <p:txBody>
          <a:bodyPr lIns="0" rIns="0">
            <a:normAutofit/>
          </a:bodyPr>
          <a:lstStyle>
            <a:lvl1pPr>
              <a:lnSpc>
                <a:spcPts val="2500"/>
              </a:lnSpc>
              <a:spcBef>
                <a:spcPts val="0"/>
              </a:spcBef>
              <a:spcAft>
                <a:spcPts val="1200"/>
              </a:spcAft>
              <a:defRPr sz="1000" b="1" i="0">
                <a:latin typeface="Oracle Sans" panose="020B0503020204020204" pitchFamily="34" charset="0"/>
                <a:cs typeface="Oracle Sans" panose="020B0503020204020204" pitchFamily="34" charset="0"/>
              </a:defRPr>
            </a:lvl1pPr>
          </a:lstStyle>
          <a:p>
            <a:pPr lvl="0"/>
            <a:r>
              <a:rPr lang="en-US" dirty="0"/>
              <a:t>11:00-12:15</a:t>
            </a:r>
            <a:br>
              <a:rPr lang="en-US" dirty="0"/>
            </a:br>
            <a:endParaRPr lang="en-US" dirty="0"/>
          </a:p>
          <a:p>
            <a:pPr lvl="0"/>
            <a:r>
              <a:rPr lang="en-US" dirty="0"/>
              <a:t>4:45-6:00</a:t>
            </a:r>
            <a:br>
              <a:rPr lang="en-US" dirty="0"/>
            </a:br>
            <a:endParaRPr lang="en-US" dirty="0"/>
          </a:p>
          <a:p>
            <a:pPr lvl="0"/>
            <a:r>
              <a:rPr lang="en-US" dirty="0"/>
              <a:t>5:00-6:30</a:t>
            </a:r>
          </a:p>
        </p:txBody>
      </p:sp>
      <p:sp>
        <p:nvSpPr>
          <p:cNvPr id="18" name="Text Placeholder 17">
            <a:extLst>
              <a:ext uri="{FF2B5EF4-FFF2-40B4-BE49-F238E27FC236}">
                <a16:creationId xmlns:a16="http://schemas.microsoft.com/office/drawing/2014/main" id="{5A23BDF2-4CF1-B242-AF9C-FF0C2725A9C5}"/>
              </a:ext>
            </a:extLst>
          </p:cNvPr>
          <p:cNvSpPr>
            <a:spLocks noGrp="1"/>
          </p:cNvSpPr>
          <p:nvPr>
            <p:ph type="body" sz="quarter" idx="11" hasCustomPrompt="1"/>
          </p:nvPr>
        </p:nvSpPr>
        <p:spPr>
          <a:xfrm>
            <a:off x="1624519" y="2947988"/>
            <a:ext cx="4172776" cy="3239072"/>
          </a:xfrm>
        </p:spPr>
        <p:txBody>
          <a:bodyPr lIns="0" rIns="0">
            <a:noAutofit/>
          </a:bodyPr>
          <a:lstStyle>
            <a:lvl1pPr marL="0" marR="0" indent="0" algn="l" defTabSz="914400" rtl="0" eaLnBrk="1" fontAlgn="auto" latinLnBrk="0" hangingPunct="1">
              <a:lnSpc>
                <a:spcPts val="2500"/>
              </a:lnSpc>
              <a:spcBef>
                <a:spcPts val="0"/>
              </a:spcBef>
              <a:spcAft>
                <a:spcPts val="1200"/>
              </a:spcAft>
              <a:buClrTx/>
              <a:buSzTx/>
              <a:buFont typeface="Arial" panose="020B0604020202020204" pitchFamily="34" charset="0"/>
              <a:buNone/>
              <a:tabLst/>
              <a:defRPr lang="en-US" sz="1800" b="0" i="0" u="none" kern="1200" dirty="0" smtClean="0">
                <a:solidFill>
                  <a:schemeClr val="bg1">
                    <a:lumMod val="85000"/>
                  </a:schemeClr>
                </a:solidFill>
                <a:effectLst/>
                <a:latin typeface="Oracle Sans" panose="020B0503020204020204" pitchFamily="34" charset="0"/>
                <a:ea typeface="+mn-ea"/>
                <a:cs typeface="Oracle Sans" panose="020B0503020204020204" pitchFamily="34" charset="0"/>
              </a:defRPr>
            </a:lvl1pPr>
          </a:lstStyle>
          <a:p>
            <a:r>
              <a:rPr lang="en-US" dirty="0">
                <a:solidFill>
                  <a:srgbClr val="847B76"/>
                </a:solidFill>
                <a:effectLst/>
                <a:latin typeface="Oracle Sans Light" panose="020B0403020204020204" pitchFamily="34" charset="0"/>
              </a:rPr>
              <a:t>Enter Text Here</a:t>
            </a:r>
            <a:br>
              <a:rPr lang="en-US" dirty="0">
                <a:solidFill>
                  <a:srgbClr val="847B76"/>
                </a:solidFill>
                <a:effectLst/>
                <a:latin typeface="Oracle Sans Light" panose="020B0403020204020204" pitchFamily="34" charset="0"/>
              </a:rPr>
            </a:br>
            <a:r>
              <a:rPr lang="en-US" dirty="0" err="1">
                <a:solidFill>
                  <a:srgbClr val="847B76"/>
                </a:solidFill>
                <a:effectLst/>
                <a:latin typeface="Oracle Sans Light" panose="020B0403020204020204" pitchFamily="34" charset="0"/>
              </a:rPr>
              <a:t>Shift+Return</a:t>
            </a:r>
            <a:r>
              <a:rPr lang="en-US" dirty="0">
                <a:solidFill>
                  <a:srgbClr val="847B76"/>
                </a:solidFill>
                <a:effectLst/>
                <a:latin typeface="Oracle Sans Light" panose="020B0403020204020204" pitchFamily="34" charset="0"/>
              </a:rPr>
              <a:t> (Soft Return / Less Spacing)</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en-US" dirty="0">
                <a:solidFill>
                  <a:srgbClr val="847B76"/>
                </a:solidFill>
                <a:effectLst/>
                <a:latin typeface="Oracle Sans Light" panose="020B0403020204020204" pitchFamily="34" charset="0"/>
              </a:rPr>
              <a:t>Next Agenda Item</a:t>
            </a:r>
            <a:br>
              <a:rPr lang="en-US" dirty="0">
                <a:solidFill>
                  <a:srgbClr val="847B76"/>
                </a:solidFill>
                <a:effectLst/>
                <a:latin typeface="Oracle Sans Light" panose="020B0403020204020204" pitchFamily="34" charset="0"/>
              </a:rPr>
            </a:br>
            <a:r>
              <a:rPr lang="en-US" dirty="0" err="1">
                <a:solidFill>
                  <a:srgbClr val="847B76"/>
                </a:solidFill>
                <a:effectLst/>
                <a:latin typeface="Oracle Sans Light" panose="020B0403020204020204" pitchFamily="34" charset="0"/>
              </a:rPr>
              <a:t>Shift+Return</a:t>
            </a:r>
            <a:r>
              <a:rPr lang="en-US" dirty="0">
                <a:solidFill>
                  <a:srgbClr val="847B76"/>
                </a:solidFill>
                <a:effectLst/>
                <a:latin typeface="Oracle Sans Light" panose="020B0403020204020204" pitchFamily="34" charset="0"/>
              </a:rPr>
              <a:t> (Soft Return / Less Spacing)</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en-US" dirty="0">
                <a:solidFill>
                  <a:srgbClr val="847B76"/>
                </a:solidFill>
                <a:effectLst/>
                <a:latin typeface="Oracle Sans Light" panose="020B0403020204020204" pitchFamily="34" charset="0"/>
              </a:rPr>
              <a:t>Next Agenda Item</a:t>
            </a:r>
            <a:br>
              <a:rPr lang="en-US" dirty="0">
                <a:solidFill>
                  <a:srgbClr val="847B76"/>
                </a:solidFill>
                <a:effectLst/>
                <a:latin typeface="Oracle Sans Light" panose="020B0403020204020204" pitchFamily="34" charset="0"/>
              </a:rPr>
            </a:br>
            <a:r>
              <a:rPr lang="en-US" dirty="0" err="1">
                <a:solidFill>
                  <a:srgbClr val="847B76"/>
                </a:solidFill>
                <a:effectLst/>
                <a:latin typeface="Oracle Sans Light" panose="020B0403020204020204" pitchFamily="34" charset="0"/>
              </a:rPr>
              <a:t>Shift+Return</a:t>
            </a:r>
            <a:r>
              <a:rPr lang="en-US" dirty="0">
                <a:solidFill>
                  <a:srgbClr val="847B76"/>
                </a:solidFill>
                <a:effectLst/>
                <a:latin typeface="Oracle Sans Light" panose="020B0403020204020204" pitchFamily="34" charset="0"/>
              </a:rPr>
              <a:t> (Soft Return / Less Spacing)</a:t>
            </a:r>
          </a:p>
          <a:p>
            <a:endParaRPr lang="en-US" dirty="0">
              <a:solidFill>
                <a:srgbClr val="847B76"/>
              </a:solidFill>
              <a:effectLst/>
              <a:latin typeface="Oracle Sans Light" panose="020B0403020204020204" pitchFamily="34" charset="0"/>
            </a:endParaRPr>
          </a:p>
        </p:txBody>
      </p:sp>
      <p:sp>
        <p:nvSpPr>
          <p:cNvPr id="20" name="Text Placeholder 19">
            <a:extLst>
              <a:ext uri="{FF2B5EF4-FFF2-40B4-BE49-F238E27FC236}">
                <a16:creationId xmlns:a16="http://schemas.microsoft.com/office/drawing/2014/main" id="{9DAC5812-8F05-0440-9062-7A43B2DB6AA6}"/>
              </a:ext>
            </a:extLst>
          </p:cNvPr>
          <p:cNvSpPr>
            <a:spLocks noGrp="1"/>
          </p:cNvSpPr>
          <p:nvPr>
            <p:ph type="body" sz="quarter" idx="12" hasCustomPrompt="1"/>
          </p:nvPr>
        </p:nvSpPr>
        <p:spPr>
          <a:xfrm>
            <a:off x="6088270" y="2289175"/>
            <a:ext cx="5029200" cy="548640"/>
          </a:xfrm>
        </p:spPr>
        <p:txBody>
          <a:bodyPr vert="horz" lIns="0" tIns="45720" rIns="0" bIns="45720" rtlCol="0">
            <a:normAutofit/>
          </a:bodyPr>
          <a:lstStyle>
            <a:lvl1pPr>
              <a:defRPr lang="en-US" sz="3000" b="1" i="0" dirty="0">
                <a:solidFill>
                  <a:schemeClr val="accent2"/>
                </a:solidFill>
                <a:latin typeface="Oracle Sans" panose="020B0503020204020204" pitchFamily="34" charset="0"/>
                <a:ea typeface="Oracle Sans" panose="020B0503020204020204" pitchFamily="34" charset="0"/>
                <a:cs typeface="Oracle Sans" panose="020B0503020204020204" pitchFamily="34" charset="0"/>
              </a:defRPr>
            </a:lvl1pPr>
          </a:lstStyle>
          <a:p>
            <a:pPr lvl="0">
              <a:lnSpc>
                <a:spcPct val="100000"/>
              </a:lnSpc>
              <a:spcBef>
                <a:spcPts val="0"/>
              </a:spcBef>
              <a:spcAft>
                <a:spcPts val="1200"/>
              </a:spcAft>
              <a:buSzPct val="70000"/>
              <a:tabLst/>
            </a:pPr>
            <a:r>
              <a:rPr lang="en-US" dirty="0"/>
              <a:t>Day</a:t>
            </a:r>
          </a:p>
        </p:txBody>
      </p:sp>
      <p:sp>
        <p:nvSpPr>
          <p:cNvPr id="22" name="Text Placeholder 21">
            <a:extLst>
              <a:ext uri="{FF2B5EF4-FFF2-40B4-BE49-F238E27FC236}">
                <a16:creationId xmlns:a16="http://schemas.microsoft.com/office/drawing/2014/main" id="{2B9790FE-CFCA-0344-AFF7-854517B39753}"/>
              </a:ext>
            </a:extLst>
          </p:cNvPr>
          <p:cNvSpPr>
            <a:spLocks noGrp="1"/>
          </p:cNvSpPr>
          <p:nvPr>
            <p:ph type="body" sz="quarter" idx="13" hasCustomPrompt="1"/>
          </p:nvPr>
        </p:nvSpPr>
        <p:spPr>
          <a:xfrm>
            <a:off x="6088270" y="2947988"/>
            <a:ext cx="822960" cy="3236976"/>
          </a:xfrm>
        </p:spPr>
        <p:txBody>
          <a:bodyPr lIns="0" rIns="0">
            <a:normAutofit/>
          </a:bodyPr>
          <a:lstStyle>
            <a:lvl1pPr>
              <a:lnSpc>
                <a:spcPts val="2500"/>
              </a:lnSpc>
              <a:spcBef>
                <a:spcPts val="0"/>
              </a:spcBef>
              <a:spcAft>
                <a:spcPts val="1200"/>
              </a:spcAft>
              <a:defRPr sz="1000" b="1" i="0">
                <a:latin typeface="Oracle Sans" panose="020B0503020204020204" pitchFamily="34" charset="0"/>
                <a:cs typeface="Oracle Sans" panose="020B0503020204020204" pitchFamily="34" charset="0"/>
              </a:defRPr>
            </a:lvl1pPr>
          </a:lstStyle>
          <a:p>
            <a:pPr lvl="0"/>
            <a:r>
              <a:rPr lang="en-US" dirty="0"/>
              <a:t>11:00-12:15</a:t>
            </a:r>
            <a:br>
              <a:rPr lang="en-US" dirty="0"/>
            </a:br>
            <a:endParaRPr lang="en-US" dirty="0"/>
          </a:p>
          <a:p>
            <a:pPr lvl="0"/>
            <a:r>
              <a:rPr lang="en-US" dirty="0"/>
              <a:t>4:45-6:00</a:t>
            </a:r>
            <a:br>
              <a:rPr lang="en-US" dirty="0"/>
            </a:br>
            <a:endParaRPr lang="en-US" dirty="0"/>
          </a:p>
          <a:p>
            <a:pPr lvl="0"/>
            <a:r>
              <a:rPr lang="en-US" dirty="0"/>
              <a:t>5:00-6:30</a:t>
            </a:r>
          </a:p>
        </p:txBody>
      </p:sp>
      <p:sp>
        <p:nvSpPr>
          <p:cNvPr id="24" name="Text Placeholder 23">
            <a:extLst>
              <a:ext uri="{FF2B5EF4-FFF2-40B4-BE49-F238E27FC236}">
                <a16:creationId xmlns:a16="http://schemas.microsoft.com/office/drawing/2014/main" id="{2FF7732B-D608-9647-98B0-CFC063F3113A}"/>
              </a:ext>
            </a:extLst>
          </p:cNvPr>
          <p:cNvSpPr>
            <a:spLocks noGrp="1"/>
          </p:cNvSpPr>
          <p:nvPr>
            <p:ph type="body" sz="quarter" idx="14" hasCustomPrompt="1"/>
          </p:nvPr>
        </p:nvSpPr>
        <p:spPr>
          <a:xfrm>
            <a:off x="6946396" y="2947988"/>
            <a:ext cx="4169663" cy="3236976"/>
          </a:xfrm>
        </p:spPr>
        <p:txBody>
          <a:bodyPr vert="horz" lIns="0" tIns="45720" rIns="0" bIns="45720" rtlCol="0">
            <a:noAutofit/>
          </a:bodyPr>
          <a:lstStyle>
            <a:lvl1pPr marL="0" marR="0" indent="0" algn="l" defTabSz="914400" rtl="0" eaLnBrk="1" fontAlgn="auto" latinLnBrk="0" hangingPunct="1">
              <a:lnSpc>
                <a:spcPts val="2500"/>
              </a:lnSpc>
              <a:spcBef>
                <a:spcPts val="0"/>
              </a:spcBef>
              <a:spcAft>
                <a:spcPts val="1200"/>
              </a:spcAft>
              <a:buClrTx/>
              <a:buSzTx/>
              <a:buFont typeface="Arial" panose="020B0604020202020204" pitchFamily="34" charset="0"/>
              <a:buNone/>
              <a:tabLst/>
              <a:defRPr lang="en-US" sz="1800" u="none">
                <a:solidFill>
                  <a:schemeClr val="bg1">
                    <a:lumMod val="85000"/>
                  </a:schemeClr>
                </a:solidFill>
                <a:effectLst/>
                <a:cs typeface="Oracle Sans" panose="020B0503020204020204" pitchFamily="34" charset="0"/>
              </a:defRPr>
            </a:lvl1pPr>
          </a:lstStyle>
          <a:p>
            <a:r>
              <a:rPr lang="en-US" dirty="0">
                <a:solidFill>
                  <a:srgbClr val="847B76"/>
                </a:solidFill>
                <a:effectLst/>
                <a:latin typeface="Oracle Sans Light" panose="020B0403020204020204" pitchFamily="34" charset="0"/>
              </a:rPr>
              <a:t>Enter Text Here</a:t>
            </a:r>
            <a:br>
              <a:rPr lang="en-US" dirty="0">
                <a:solidFill>
                  <a:srgbClr val="847B76"/>
                </a:solidFill>
                <a:effectLst/>
                <a:latin typeface="Oracle Sans Light" panose="020B0403020204020204" pitchFamily="34" charset="0"/>
              </a:rPr>
            </a:br>
            <a:r>
              <a:rPr lang="en-US" dirty="0" err="1">
                <a:solidFill>
                  <a:srgbClr val="847B76"/>
                </a:solidFill>
                <a:effectLst/>
                <a:latin typeface="Oracle Sans Light" panose="020B0403020204020204" pitchFamily="34" charset="0"/>
              </a:rPr>
              <a:t>Shift+Return</a:t>
            </a:r>
            <a:r>
              <a:rPr lang="en-US" dirty="0">
                <a:solidFill>
                  <a:srgbClr val="847B76"/>
                </a:solidFill>
                <a:effectLst/>
                <a:latin typeface="Oracle Sans Light" panose="020B0403020204020204" pitchFamily="34" charset="0"/>
              </a:rPr>
              <a:t> (Soft Return / Less Spacing)</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en-US" dirty="0">
                <a:solidFill>
                  <a:srgbClr val="847B76"/>
                </a:solidFill>
                <a:effectLst/>
                <a:latin typeface="Oracle Sans Light" panose="020B0403020204020204" pitchFamily="34" charset="0"/>
              </a:rPr>
              <a:t>Next Agenda Item</a:t>
            </a:r>
            <a:br>
              <a:rPr lang="en-US" dirty="0">
                <a:solidFill>
                  <a:srgbClr val="847B76"/>
                </a:solidFill>
                <a:effectLst/>
                <a:latin typeface="Oracle Sans Light" panose="020B0403020204020204" pitchFamily="34" charset="0"/>
              </a:rPr>
            </a:br>
            <a:r>
              <a:rPr lang="en-US" dirty="0" err="1">
                <a:solidFill>
                  <a:srgbClr val="847B76"/>
                </a:solidFill>
                <a:effectLst/>
                <a:latin typeface="Oracle Sans Light" panose="020B0403020204020204" pitchFamily="34" charset="0"/>
              </a:rPr>
              <a:t>Shift+Return</a:t>
            </a:r>
            <a:r>
              <a:rPr lang="en-US" dirty="0">
                <a:solidFill>
                  <a:srgbClr val="847B76"/>
                </a:solidFill>
                <a:effectLst/>
                <a:latin typeface="Oracle Sans Light" panose="020B0403020204020204" pitchFamily="34" charset="0"/>
              </a:rPr>
              <a:t> (Soft Return / Less Spacing)</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en-US" dirty="0">
                <a:solidFill>
                  <a:srgbClr val="847B76"/>
                </a:solidFill>
                <a:effectLst/>
                <a:latin typeface="Oracle Sans Light" panose="020B0403020204020204" pitchFamily="34" charset="0"/>
              </a:rPr>
              <a:t>Next Agenda Item</a:t>
            </a:r>
            <a:br>
              <a:rPr lang="en-US" dirty="0">
                <a:solidFill>
                  <a:srgbClr val="847B76"/>
                </a:solidFill>
                <a:effectLst/>
                <a:latin typeface="Oracle Sans Light" panose="020B0403020204020204" pitchFamily="34" charset="0"/>
              </a:rPr>
            </a:br>
            <a:r>
              <a:rPr lang="en-US" dirty="0" err="1">
                <a:solidFill>
                  <a:srgbClr val="847B76"/>
                </a:solidFill>
                <a:effectLst/>
                <a:latin typeface="Oracle Sans Light" panose="020B0403020204020204" pitchFamily="34" charset="0"/>
              </a:rPr>
              <a:t>Shift+Return</a:t>
            </a:r>
            <a:r>
              <a:rPr lang="en-US" dirty="0">
                <a:solidFill>
                  <a:srgbClr val="847B76"/>
                </a:solidFill>
                <a:effectLst/>
                <a:latin typeface="Oracle Sans Light" panose="020B0403020204020204" pitchFamily="34" charset="0"/>
              </a:rPr>
              <a:t> (Soft Return / Less Spacing)</a:t>
            </a:r>
          </a:p>
        </p:txBody>
      </p:sp>
      <p:sp>
        <p:nvSpPr>
          <p:cNvPr id="5" name="Footer Placeholder 4">
            <a:extLst>
              <a:ext uri="{FF2B5EF4-FFF2-40B4-BE49-F238E27FC236}">
                <a16:creationId xmlns:a16="http://schemas.microsoft.com/office/drawing/2014/main" id="{D50B7B99-702B-234A-B657-DA4874CF332A}"/>
              </a:ext>
            </a:extLst>
          </p:cNvPr>
          <p:cNvSpPr>
            <a:spLocks noGrp="1"/>
          </p:cNvSpPr>
          <p:nvPr>
            <p:ph type="ftr" sz="quarter" idx="15"/>
          </p:nvPr>
        </p:nvSpPr>
        <p:spPr/>
        <p:txBody>
          <a:bodyPr/>
          <a:lstStyle/>
          <a:p>
            <a:r>
              <a:rPr lang="en-US" sz="700"/>
              <a:t>Copyright © 2019 Oracle and/or its affiliates.</a:t>
            </a:r>
            <a:endParaRPr lang="en-US" sz="700" dirty="0"/>
          </a:p>
        </p:txBody>
      </p:sp>
    </p:spTree>
    <p:extLst>
      <p:ext uri="{BB962C8B-B14F-4D97-AF65-F5344CB8AC3E}">
        <p14:creationId xmlns:p14="http://schemas.microsoft.com/office/powerpoint/2010/main" val="2735435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OOW Section Divider 1">
    <p:spTree>
      <p:nvGrpSpPr>
        <p:cNvPr id="1" name=""/>
        <p:cNvGrpSpPr/>
        <p:nvPr/>
      </p:nvGrpSpPr>
      <p:grpSpPr>
        <a:xfrm>
          <a:off x="0" y="0"/>
          <a:ext cx="0" cy="0"/>
          <a:chOff x="0" y="0"/>
          <a:chExt cx="0" cy="0"/>
        </a:xfrm>
      </p:grpSpPr>
      <p:pic>
        <p:nvPicPr>
          <p:cNvPr id="12" name="Picture 11" descr="A picture containing container, basket&#10;&#10;Description automatically generated">
            <a:extLst>
              <a:ext uri="{FF2B5EF4-FFF2-40B4-BE49-F238E27FC236}">
                <a16:creationId xmlns:a16="http://schemas.microsoft.com/office/drawing/2014/main" id="{C0780927-9945-EF47-8AE5-C4DBCA3023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133"/>
          <a:stretch/>
        </p:blipFill>
        <p:spPr>
          <a:xfrm flipH="1">
            <a:off x="7263302" y="224473"/>
            <a:ext cx="4928697" cy="2612033"/>
          </a:xfrm>
          <a:prstGeom prst="rect">
            <a:avLst/>
          </a:prstGeom>
        </p:spPr>
      </p:pic>
      <p:pic>
        <p:nvPicPr>
          <p:cNvPr id="13" name="Picture 12" descr="A picture containing music, black&#10;&#10;Description automatically generated">
            <a:extLst>
              <a:ext uri="{FF2B5EF4-FFF2-40B4-BE49-F238E27FC236}">
                <a16:creationId xmlns:a16="http://schemas.microsoft.com/office/drawing/2014/main" id="{0D44442F-9369-9B4E-B2F5-C37AD54E148E}"/>
              </a:ext>
            </a:extLst>
          </p:cNvPr>
          <p:cNvPicPr>
            <a:picLocks noChangeAspect="1"/>
          </p:cNvPicPr>
          <p:nvPr userDrawn="1"/>
        </p:nvPicPr>
        <p:blipFill>
          <a:blip r:embed="rId3" cstate="print">
            <a:alphaModFix amt="40000"/>
            <a:extLst>
              <a:ext uri="{28A0092B-C50C-407E-A947-70E740481C1C}">
                <a14:useLocalDpi xmlns:a14="http://schemas.microsoft.com/office/drawing/2010/main" val="0"/>
              </a:ext>
            </a:extLst>
          </a:blip>
          <a:stretch>
            <a:fillRect/>
          </a:stretch>
        </p:blipFill>
        <p:spPr>
          <a:xfrm>
            <a:off x="-620045" y="5667593"/>
            <a:ext cx="4427104" cy="1649788"/>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6705724"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6" y="2288559"/>
            <a:ext cx="6705724" cy="3360372"/>
          </a:xfrm>
        </p:spPr>
        <p:txBody>
          <a:bodyPr lIns="0" rIns="0">
            <a:normAutofit/>
          </a:bodyPr>
          <a:lstStyle>
            <a:lvl1pPr marL="0" indent="0">
              <a:lnSpc>
                <a:spcPct val="100000"/>
              </a:lnSpc>
              <a:spcBef>
                <a:spcPts val="0"/>
              </a:spcBef>
              <a:buNone/>
              <a:defRPr lang="en-US" sz="3000" b="0" i="0" kern="1200" dirty="0" err="1" smtClean="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 </a:t>
            </a:r>
            <a:r>
              <a:rPr lang="en-US" dirty="0" err="1"/>
              <a:t>Donec</a:t>
            </a:r>
            <a:r>
              <a:rPr lang="en-US" dirty="0"/>
              <a:t> </a:t>
            </a:r>
            <a:r>
              <a:rPr lang="en-US" dirty="0" err="1"/>
              <a:t>auctor</a:t>
            </a:r>
            <a:r>
              <a:rPr lang="en-US" dirty="0"/>
              <a:t> </a:t>
            </a:r>
            <a:r>
              <a:rPr lang="en-US" dirty="0" err="1"/>
              <a:t>metus</a:t>
            </a:r>
            <a:r>
              <a:rPr lang="en-US" dirty="0"/>
              <a:t> sed </a:t>
            </a:r>
            <a:r>
              <a:rPr lang="en-US" dirty="0" err="1"/>
              <a:t>velit</a:t>
            </a:r>
            <a:r>
              <a:rPr lang="en-US" dirty="0"/>
              <a:t> </a:t>
            </a:r>
            <a:r>
              <a:rPr lang="en-US" dirty="0" err="1"/>
              <a:t>imperdiet</a:t>
            </a:r>
            <a:r>
              <a:rPr lang="en-US" dirty="0"/>
              <a:t> </a:t>
            </a:r>
            <a:r>
              <a:rPr lang="en-US" dirty="0" err="1"/>
              <a:t>consectetur</a:t>
            </a:r>
            <a:r>
              <a:rPr lang="en-US" dirty="0"/>
              <a:t>. </a:t>
            </a:r>
            <a:r>
              <a:rPr lang="en-US" dirty="0" err="1"/>
              <a:t>Aenean</a:t>
            </a:r>
            <a:r>
              <a:rPr lang="en-US" dirty="0"/>
              <a:t> et </a:t>
            </a:r>
            <a:r>
              <a:rPr lang="en-US" dirty="0" err="1"/>
              <a:t>turpis</a:t>
            </a:r>
            <a:r>
              <a:rPr lang="en-US" dirty="0"/>
              <a:t> </a:t>
            </a:r>
            <a:r>
              <a:rPr lang="en-US" dirty="0" err="1"/>
              <a:t>sapien</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8D940EE1-A686-7D4D-8D49-9B18587F7932}"/>
              </a:ext>
            </a:extLst>
          </p:cNvPr>
          <p:cNvSpPr>
            <a:spLocks noGrp="1"/>
          </p:cNvSpPr>
          <p:nvPr>
            <p:ph type="ftr" sz="quarter" idx="10"/>
          </p:nvPr>
        </p:nvSpPr>
        <p:spPr>
          <a:xfrm>
            <a:off x="3984401" y="6514977"/>
            <a:ext cx="7703621" cy="365125"/>
          </a:xfrm>
        </p:spPr>
        <p:txBody>
          <a:bodyPr/>
          <a:lstStyle/>
          <a:p>
            <a:r>
              <a:rPr lang="en-US" sz="700"/>
              <a:t>Copyright © 2019 Oracle and/or its affiliates.</a:t>
            </a:r>
            <a:endParaRPr lang="en-US" sz="700" dirty="0"/>
          </a:p>
        </p:txBody>
      </p:sp>
    </p:spTree>
    <p:extLst>
      <p:ext uri="{BB962C8B-B14F-4D97-AF65-F5344CB8AC3E}">
        <p14:creationId xmlns:p14="http://schemas.microsoft.com/office/powerpoint/2010/main" val="2731334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OOW Large Bulleted List">
    <p:spTree>
      <p:nvGrpSpPr>
        <p:cNvPr id="1" name=""/>
        <p:cNvGrpSpPr/>
        <p:nvPr/>
      </p:nvGrpSpPr>
      <p:grpSpPr>
        <a:xfrm>
          <a:off x="0" y="0"/>
          <a:ext cx="0" cy="0"/>
          <a:chOff x="0" y="0"/>
          <a:chExt cx="0" cy="0"/>
        </a:xfrm>
      </p:grpSpPr>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29573"/>
          <a:stretch/>
        </p:blipFill>
        <p:spPr>
          <a:xfrm>
            <a:off x="6337183" y="565565"/>
            <a:ext cx="5854818" cy="3169433"/>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5" y="783026"/>
            <a:ext cx="10669101"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2288558"/>
            <a:ext cx="10669102" cy="4067791"/>
          </a:xfrm>
        </p:spPr>
        <p:txBody>
          <a:bodyPr lIns="0" rIns="0">
            <a:normAutofit/>
          </a:bodyPr>
          <a:lstStyle>
            <a:lvl1pPr marL="234950" indent="-234950">
              <a:lnSpc>
                <a:spcPct val="100000"/>
              </a:lnSpc>
              <a:spcBef>
                <a:spcPts val="0"/>
              </a:spcBef>
              <a:spcAft>
                <a:spcPts val="1200"/>
              </a:spcAft>
              <a:buSzPct val="70000"/>
              <a:buFont typeface="Arial" panose="020B0604020202020204" pitchFamily="34" charset="0"/>
              <a:buChar char="•"/>
              <a:tabLst/>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endParaRPr lang="en-US" dirty="0"/>
          </a:p>
          <a:p>
            <a:r>
              <a:rPr lang="en-US" dirty="0" err="1"/>
              <a:t>Consectetur</a:t>
            </a:r>
            <a:r>
              <a:rPr lang="en-US" dirty="0"/>
              <a:t> </a:t>
            </a:r>
            <a:r>
              <a:rPr lang="en-US" dirty="0" err="1"/>
              <a:t>adipiscing</a:t>
            </a:r>
            <a:r>
              <a:rPr lang="en-US" dirty="0"/>
              <a:t> </a:t>
            </a:r>
            <a:r>
              <a:rPr lang="en-US" dirty="0" err="1"/>
              <a:t>elit</a:t>
            </a:r>
            <a:r>
              <a:rPr lang="en-US" dirty="0"/>
              <a:t>.</a:t>
            </a:r>
          </a:p>
          <a:p>
            <a:r>
              <a:rPr lang="en-US" dirty="0"/>
              <a:t>Duis vitae </a:t>
            </a:r>
            <a:r>
              <a:rPr lang="en-US" dirty="0" err="1"/>
              <a:t>interdum</a:t>
            </a:r>
            <a:r>
              <a:rPr lang="en-US" dirty="0"/>
              <a:t> diam</a:t>
            </a:r>
          </a:p>
          <a:p>
            <a:r>
              <a:rPr lang="en-US" dirty="0"/>
              <a:t>Non </a:t>
            </a:r>
            <a:r>
              <a:rPr lang="en-US" dirty="0" err="1"/>
              <a:t>aliquet</a:t>
            </a:r>
            <a:r>
              <a:rPr lang="en-US" dirty="0"/>
              <a:t> </a:t>
            </a:r>
            <a:r>
              <a:rPr lang="en-US" dirty="0" err="1"/>
              <a:t>enim</a:t>
            </a:r>
            <a:r>
              <a:rPr lang="en-US" dirty="0"/>
              <a:t>.</a:t>
            </a:r>
          </a:p>
          <a:p>
            <a:r>
              <a:rPr lang="en-US" dirty="0" err="1"/>
              <a:t>Donec</a:t>
            </a:r>
            <a:r>
              <a:rPr lang="en-US" dirty="0"/>
              <a:t> </a:t>
            </a:r>
            <a:r>
              <a:rPr lang="en-US" dirty="0" err="1"/>
              <a:t>auctor</a:t>
            </a:r>
            <a:r>
              <a:rPr lang="en-US" dirty="0"/>
              <a:t> </a:t>
            </a:r>
            <a:r>
              <a:rPr lang="en-US" dirty="0" err="1"/>
              <a:t>metus</a:t>
            </a:r>
            <a:r>
              <a:rPr lang="en-US" dirty="0"/>
              <a:t> sed </a:t>
            </a:r>
            <a:r>
              <a:rPr lang="en-US" dirty="0" err="1"/>
              <a:t>velit</a:t>
            </a:r>
            <a:r>
              <a:rPr lang="en-US" dirty="0"/>
              <a:t> </a:t>
            </a:r>
            <a:r>
              <a:rPr lang="en-US" dirty="0" err="1"/>
              <a:t>imperdiet</a:t>
            </a:r>
            <a:r>
              <a:rPr lang="en-US" dirty="0"/>
              <a:t> </a:t>
            </a:r>
            <a:r>
              <a:rPr lang="en-US" dirty="0" err="1"/>
              <a:t>consectetur</a:t>
            </a:r>
            <a:r>
              <a:rPr lang="en-US" dirty="0"/>
              <a:t>.</a:t>
            </a:r>
          </a:p>
          <a:p>
            <a:r>
              <a:rPr lang="en-US" dirty="0" err="1"/>
              <a:t>Aenean</a:t>
            </a:r>
            <a:r>
              <a:rPr lang="en-US" dirty="0"/>
              <a:t> et </a:t>
            </a:r>
            <a:r>
              <a:rPr lang="en-US" dirty="0" err="1"/>
              <a:t>turpis</a:t>
            </a:r>
            <a:r>
              <a:rPr lang="en-US" dirty="0"/>
              <a:t> </a:t>
            </a:r>
            <a:r>
              <a:rPr lang="en-US" dirty="0" err="1"/>
              <a:t>sapien</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CBAAD4F8-9206-C547-B2D1-5B81C4DFA953}"/>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166872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OOW 4-Step Flow">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F0FCE765-22CA-7F4E-B5AF-ACFEA61115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19834" y="583943"/>
            <a:ext cx="2626460" cy="662990"/>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5" y="783026"/>
            <a:ext cx="10669101"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2288559"/>
            <a:ext cx="2331522" cy="330974"/>
          </a:xfrm>
        </p:spPr>
        <p:txBody>
          <a:bodyPr lIns="0" rIns="0">
            <a:normAutofit/>
          </a:bodyPr>
          <a:lstStyle>
            <a:lvl1pPr marL="0" indent="0">
              <a:lnSpc>
                <a:spcPct val="100000"/>
              </a:lnSpc>
              <a:spcBef>
                <a:spcPts val="0"/>
              </a:spcBef>
              <a:spcAft>
                <a:spcPts val="1200"/>
              </a:spcAft>
              <a:buSzPct val="70000"/>
              <a:buFont typeface="Arial" panose="020B0604020202020204" pitchFamily="34" charset="0"/>
              <a:buNone/>
              <a:tabLst/>
              <a:defRPr sz="1600" b="1" i="0">
                <a:solidFill>
                  <a:schemeClr val="bg1"/>
                </a:solidFill>
                <a:latin typeface="Oracle Sans" panose="020B0503020204020204" pitchFamily="34" charset="0"/>
                <a:ea typeface="Open Sans Light" panose="020B0306030504020204" pitchFamily="34" charset="0"/>
                <a:cs typeface="Oracle Sans"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EBEDDC8B-C3A4-8348-93A7-AD03E6959178}"/>
              </a:ext>
            </a:extLst>
          </p:cNvPr>
          <p:cNvSpPr>
            <a:spLocks noGrp="1"/>
          </p:cNvSpPr>
          <p:nvPr>
            <p:ph type="body" sz="quarter" idx="10" hasCustomPrompt="1"/>
          </p:nvPr>
        </p:nvSpPr>
        <p:spPr>
          <a:xfrm>
            <a:off x="768350" y="2716680"/>
            <a:ext cx="2340864" cy="2529712"/>
          </a:xfrm>
        </p:spPr>
        <p:txBody>
          <a:bodyPr lIns="0" rIns="0">
            <a:norm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lang="en-US" sz="1800" b="0" i="0" kern="1200" dirty="0">
                <a:solidFill>
                  <a:schemeClr val="bg1">
                    <a:lumMod val="85000"/>
                  </a:schemeClr>
                </a:solidFill>
                <a:latin typeface="Oracle Sans Light" panose="020B0403020204020204" pitchFamily="34" charset="0"/>
                <a:ea typeface="+mn-ea"/>
                <a:cs typeface="Oracle Sans Light" panose="020B0403020204020204" pitchFamily="34" charset="0"/>
              </a:defRPr>
            </a:lvl1pPr>
          </a:lstStyle>
          <a:p>
            <a:r>
              <a:rPr lang="en-US" dirty="0">
                <a:solidFill>
                  <a:srgbClr val="4A403E"/>
                </a:solidFill>
                <a:effectLst/>
                <a:latin typeface="Oracle Sans" panose="020B0503020204020204" pitchFamily="34" charset="0"/>
              </a:rPr>
              <a:t>Lorem ipsum dolor sit </a:t>
            </a:r>
            <a:r>
              <a:rPr lang="en-US" dirty="0" err="1">
                <a:solidFill>
                  <a:srgbClr val="4A403E"/>
                </a:solidFill>
                <a:effectLst/>
                <a:latin typeface="Oracle Sans" panose="020B0503020204020204" pitchFamily="34" charset="0"/>
              </a:rPr>
              <a:t>am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consectetur</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adipiscing</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lit</a:t>
            </a:r>
            <a:r>
              <a:rPr lang="en-US" dirty="0">
                <a:solidFill>
                  <a:srgbClr val="4A403E"/>
                </a:solidFill>
                <a:effectLst/>
                <a:latin typeface="Oracle Sans" panose="020B0503020204020204" pitchFamily="34" charset="0"/>
              </a:rPr>
              <a:t>. Duis vitae </a:t>
            </a:r>
            <a:r>
              <a:rPr lang="en-US" dirty="0" err="1">
                <a:solidFill>
                  <a:srgbClr val="4A403E"/>
                </a:solidFill>
                <a:effectLst/>
                <a:latin typeface="Oracle Sans" panose="020B0503020204020204" pitchFamily="34" charset="0"/>
              </a:rPr>
              <a:t>interdum</a:t>
            </a:r>
            <a:r>
              <a:rPr lang="en-US" dirty="0">
                <a:solidFill>
                  <a:srgbClr val="4A403E"/>
                </a:solidFill>
                <a:effectLst/>
                <a:latin typeface="Oracle Sans" panose="020B0503020204020204" pitchFamily="34" charset="0"/>
              </a:rPr>
              <a:t> diam, non </a:t>
            </a:r>
            <a:r>
              <a:rPr lang="en-US" dirty="0" err="1">
                <a:solidFill>
                  <a:srgbClr val="4A403E"/>
                </a:solidFill>
                <a:effectLst/>
                <a:latin typeface="Oracle Sans" panose="020B0503020204020204" pitchFamily="34" charset="0"/>
              </a:rPr>
              <a:t>aliqu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nim</a:t>
            </a:r>
            <a:r>
              <a:rPr lang="en-US" dirty="0">
                <a:solidFill>
                  <a:srgbClr val="4A403E"/>
                </a:solidFill>
                <a:effectLst/>
                <a:latin typeface="Oracle Sans" panose="020B0503020204020204" pitchFamily="34" charset="0"/>
              </a:rPr>
              <a:t>.</a:t>
            </a:r>
          </a:p>
        </p:txBody>
      </p:sp>
      <p:sp>
        <p:nvSpPr>
          <p:cNvPr id="16" name="Text Placeholder 15">
            <a:extLst>
              <a:ext uri="{FF2B5EF4-FFF2-40B4-BE49-F238E27FC236}">
                <a16:creationId xmlns:a16="http://schemas.microsoft.com/office/drawing/2014/main" id="{FC2A71D9-E249-2D48-9BF8-D6293AE64F2C}"/>
              </a:ext>
            </a:extLst>
          </p:cNvPr>
          <p:cNvSpPr>
            <a:spLocks noGrp="1"/>
          </p:cNvSpPr>
          <p:nvPr>
            <p:ph type="body" sz="quarter" idx="11" hasCustomPrompt="1"/>
          </p:nvPr>
        </p:nvSpPr>
        <p:spPr>
          <a:xfrm>
            <a:off x="3537946" y="2288559"/>
            <a:ext cx="2340864" cy="332038"/>
          </a:xfrm>
        </p:spPr>
        <p:txBody>
          <a:bodyPr lIns="0" rIns="0">
            <a:normAutofit/>
          </a:bodyPr>
          <a:lstStyle>
            <a:lvl1pPr>
              <a:defRPr sz="1600" b="1" i="0">
                <a:latin typeface="Oracle Sans" panose="020B0503020204020204" pitchFamily="34" charset="0"/>
                <a:cs typeface="Oracle Sans" panose="020B0503020204020204" pitchFamily="34" charset="0"/>
              </a:defRPr>
            </a:lvl1pPr>
          </a:lstStyle>
          <a:p>
            <a:r>
              <a:rPr lang="en-US" dirty="0"/>
              <a:t>Lorem ipsum dolor</a:t>
            </a:r>
          </a:p>
        </p:txBody>
      </p:sp>
      <p:sp>
        <p:nvSpPr>
          <p:cNvPr id="18" name="Text Placeholder 17">
            <a:extLst>
              <a:ext uri="{FF2B5EF4-FFF2-40B4-BE49-F238E27FC236}">
                <a16:creationId xmlns:a16="http://schemas.microsoft.com/office/drawing/2014/main" id="{1C572955-9B3D-8A48-9080-5D5AF185DFDE}"/>
              </a:ext>
            </a:extLst>
          </p:cNvPr>
          <p:cNvSpPr>
            <a:spLocks noGrp="1"/>
          </p:cNvSpPr>
          <p:nvPr>
            <p:ph type="body" sz="quarter" idx="12" hasCustomPrompt="1"/>
          </p:nvPr>
        </p:nvSpPr>
        <p:spPr>
          <a:xfrm>
            <a:off x="3544344" y="2716680"/>
            <a:ext cx="2340864" cy="2529712"/>
          </a:xfrm>
        </p:spPr>
        <p:txBody>
          <a:bodyPr lIns="0" rIns="0">
            <a:normAutofit/>
          </a:bodyPr>
          <a:lstStyle>
            <a:lvl1pPr>
              <a:lnSpc>
                <a:spcPts val="2200"/>
              </a:lnSpc>
              <a:spcBef>
                <a:spcPts val="0"/>
              </a:spcBef>
              <a:spcAft>
                <a:spcPts val="600"/>
              </a:spcAft>
              <a:defRPr sz="1800" b="0" i="0">
                <a:solidFill>
                  <a:schemeClr val="bg1">
                    <a:lumMod val="85000"/>
                  </a:schemeClr>
                </a:solidFill>
                <a:latin typeface="Oracle Sans Light" panose="020B0403020204020204" pitchFamily="34" charset="0"/>
                <a:cs typeface="Oracle Sans Light" panose="020B0403020204020204" pitchFamily="34" charset="0"/>
              </a:defRPr>
            </a:lvl1pPr>
          </a:lstStyle>
          <a:p>
            <a:r>
              <a:rPr lang="en-US" dirty="0">
                <a:solidFill>
                  <a:srgbClr val="4A403E"/>
                </a:solidFill>
                <a:effectLst/>
                <a:latin typeface="Oracle Sans" panose="020B0503020204020204" pitchFamily="34" charset="0"/>
              </a:rPr>
              <a:t>Lorem ipsum dolor sit </a:t>
            </a:r>
            <a:r>
              <a:rPr lang="en-US" dirty="0" err="1">
                <a:solidFill>
                  <a:srgbClr val="4A403E"/>
                </a:solidFill>
                <a:effectLst/>
                <a:latin typeface="Oracle Sans" panose="020B0503020204020204" pitchFamily="34" charset="0"/>
              </a:rPr>
              <a:t>am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consectetur</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adipiscing</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lit</a:t>
            </a:r>
            <a:r>
              <a:rPr lang="en-US" dirty="0">
                <a:solidFill>
                  <a:srgbClr val="4A403E"/>
                </a:solidFill>
                <a:effectLst/>
                <a:latin typeface="Oracle Sans" panose="020B0503020204020204" pitchFamily="34" charset="0"/>
              </a:rPr>
              <a:t>. Duis vitae </a:t>
            </a:r>
            <a:r>
              <a:rPr lang="en-US" dirty="0" err="1">
                <a:solidFill>
                  <a:srgbClr val="4A403E"/>
                </a:solidFill>
                <a:effectLst/>
                <a:latin typeface="Oracle Sans" panose="020B0503020204020204" pitchFamily="34" charset="0"/>
              </a:rPr>
              <a:t>interdum</a:t>
            </a:r>
            <a:r>
              <a:rPr lang="en-US" dirty="0">
                <a:solidFill>
                  <a:srgbClr val="4A403E"/>
                </a:solidFill>
                <a:effectLst/>
                <a:latin typeface="Oracle Sans" panose="020B0503020204020204" pitchFamily="34" charset="0"/>
              </a:rPr>
              <a:t> diam, non </a:t>
            </a:r>
            <a:r>
              <a:rPr lang="en-US" dirty="0" err="1">
                <a:solidFill>
                  <a:srgbClr val="4A403E"/>
                </a:solidFill>
                <a:effectLst/>
                <a:latin typeface="Oracle Sans" panose="020B0503020204020204" pitchFamily="34" charset="0"/>
              </a:rPr>
              <a:t>aliqu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nim</a:t>
            </a:r>
            <a:r>
              <a:rPr lang="en-US" dirty="0">
                <a:solidFill>
                  <a:srgbClr val="4A403E"/>
                </a:solidFill>
                <a:effectLst/>
                <a:latin typeface="Oracle Sans" panose="020B0503020204020204" pitchFamily="34" charset="0"/>
              </a:rPr>
              <a:t>.</a:t>
            </a:r>
          </a:p>
        </p:txBody>
      </p:sp>
      <p:sp>
        <p:nvSpPr>
          <p:cNvPr id="20" name="Text Placeholder 19">
            <a:extLst>
              <a:ext uri="{FF2B5EF4-FFF2-40B4-BE49-F238E27FC236}">
                <a16:creationId xmlns:a16="http://schemas.microsoft.com/office/drawing/2014/main" id="{D15D195D-008C-7E45-9912-16E0FCFDC09E}"/>
              </a:ext>
            </a:extLst>
          </p:cNvPr>
          <p:cNvSpPr>
            <a:spLocks noGrp="1"/>
          </p:cNvSpPr>
          <p:nvPr>
            <p:ph type="body" sz="quarter" idx="13" hasCustomPrompt="1"/>
          </p:nvPr>
        </p:nvSpPr>
        <p:spPr>
          <a:xfrm>
            <a:off x="6317139" y="2288559"/>
            <a:ext cx="2340864" cy="332038"/>
          </a:xfrm>
        </p:spPr>
        <p:txBody>
          <a:bodyPr lIns="0" rIns="0">
            <a:normAutofit/>
          </a:bodyPr>
          <a:lstStyle>
            <a:lvl1pPr>
              <a:defRPr sz="1600" b="1" i="0">
                <a:latin typeface="Oracle Sans" panose="020B0503020204020204" pitchFamily="34" charset="0"/>
                <a:cs typeface="Oracle Sans" panose="020B0503020204020204" pitchFamily="34" charset="0"/>
              </a:defRPr>
            </a:lvl1pPr>
          </a:lstStyle>
          <a:p>
            <a:r>
              <a:rPr lang="en-US" dirty="0"/>
              <a:t>Lorem ipsum dolor</a:t>
            </a:r>
          </a:p>
        </p:txBody>
      </p:sp>
      <p:sp>
        <p:nvSpPr>
          <p:cNvPr id="22" name="Text Placeholder 21">
            <a:extLst>
              <a:ext uri="{FF2B5EF4-FFF2-40B4-BE49-F238E27FC236}">
                <a16:creationId xmlns:a16="http://schemas.microsoft.com/office/drawing/2014/main" id="{A952A602-4A8F-FE40-A776-A78CC665DE51}"/>
              </a:ext>
            </a:extLst>
          </p:cNvPr>
          <p:cNvSpPr>
            <a:spLocks noGrp="1"/>
          </p:cNvSpPr>
          <p:nvPr>
            <p:ph type="body" sz="quarter" idx="14" hasCustomPrompt="1"/>
          </p:nvPr>
        </p:nvSpPr>
        <p:spPr>
          <a:xfrm>
            <a:off x="6320338" y="2716680"/>
            <a:ext cx="2340864" cy="2529712"/>
          </a:xfrm>
        </p:spPr>
        <p:txBody>
          <a:bodyPr lIns="0" rIns="0">
            <a:normAutofit/>
          </a:bodyPr>
          <a:lstStyle>
            <a:lvl1pPr>
              <a:lnSpc>
                <a:spcPts val="2200"/>
              </a:lnSpc>
              <a:spcBef>
                <a:spcPts val="0"/>
              </a:spcBef>
              <a:spcAft>
                <a:spcPts val="600"/>
              </a:spcAft>
              <a:defRPr sz="1800" b="0" i="0">
                <a:solidFill>
                  <a:schemeClr val="bg1">
                    <a:lumMod val="95000"/>
                  </a:schemeClr>
                </a:solidFill>
                <a:latin typeface="Oracle Sans Light" panose="020B0403020204020204" pitchFamily="34" charset="0"/>
                <a:cs typeface="Oracle Sans Light" panose="020B0403020204020204" pitchFamily="34" charset="0"/>
              </a:defRPr>
            </a:lvl1pPr>
          </a:lstStyle>
          <a:p>
            <a:r>
              <a:rPr lang="en-US" dirty="0">
                <a:solidFill>
                  <a:srgbClr val="4A403E"/>
                </a:solidFill>
                <a:effectLst/>
                <a:latin typeface="Oracle Sans" panose="020B0503020204020204" pitchFamily="34" charset="0"/>
              </a:rPr>
              <a:t>Lorem ipsum dolor sit </a:t>
            </a:r>
            <a:r>
              <a:rPr lang="en-US" dirty="0" err="1">
                <a:solidFill>
                  <a:srgbClr val="4A403E"/>
                </a:solidFill>
                <a:effectLst/>
                <a:latin typeface="Oracle Sans" panose="020B0503020204020204" pitchFamily="34" charset="0"/>
              </a:rPr>
              <a:t>am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consectetur</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adipiscing</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lit</a:t>
            </a:r>
            <a:r>
              <a:rPr lang="en-US" dirty="0">
                <a:solidFill>
                  <a:srgbClr val="4A403E"/>
                </a:solidFill>
                <a:effectLst/>
                <a:latin typeface="Oracle Sans" panose="020B0503020204020204" pitchFamily="34" charset="0"/>
              </a:rPr>
              <a:t>. Duis vitae </a:t>
            </a:r>
            <a:r>
              <a:rPr lang="en-US" dirty="0" err="1">
                <a:solidFill>
                  <a:srgbClr val="4A403E"/>
                </a:solidFill>
                <a:effectLst/>
                <a:latin typeface="Oracle Sans" panose="020B0503020204020204" pitchFamily="34" charset="0"/>
              </a:rPr>
              <a:t>interdum</a:t>
            </a:r>
            <a:r>
              <a:rPr lang="en-US" dirty="0">
                <a:solidFill>
                  <a:srgbClr val="4A403E"/>
                </a:solidFill>
                <a:effectLst/>
                <a:latin typeface="Oracle Sans" panose="020B0503020204020204" pitchFamily="34" charset="0"/>
              </a:rPr>
              <a:t> diam, non </a:t>
            </a:r>
            <a:r>
              <a:rPr lang="en-US" dirty="0" err="1">
                <a:solidFill>
                  <a:srgbClr val="4A403E"/>
                </a:solidFill>
                <a:effectLst/>
                <a:latin typeface="Oracle Sans" panose="020B0503020204020204" pitchFamily="34" charset="0"/>
              </a:rPr>
              <a:t>aliqu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nim</a:t>
            </a:r>
            <a:r>
              <a:rPr lang="en-US" dirty="0">
                <a:solidFill>
                  <a:srgbClr val="4A403E"/>
                </a:solidFill>
                <a:effectLst/>
                <a:latin typeface="Oracle Sans" panose="020B0503020204020204" pitchFamily="34" charset="0"/>
              </a:rPr>
              <a:t>.</a:t>
            </a:r>
          </a:p>
        </p:txBody>
      </p:sp>
      <p:sp>
        <p:nvSpPr>
          <p:cNvPr id="24" name="Text Placeholder 23">
            <a:extLst>
              <a:ext uri="{FF2B5EF4-FFF2-40B4-BE49-F238E27FC236}">
                <a16:creationId xmlns:a16="http://schemas.microsoft.com/office/drawing/2014/main" id="{621E2FD4-9288-1040-B4E7-308D67D835FB}"/>
              </a:ext>
            </a:extLst>
          </p:cNvPr>
          <p:cNvSpPr>
            <a:spLocks noGrp="1"/>
          </p:cNvSpPr>
          <p:nvPr>
            <p:ph type="body" sz="quarter" idx="15" hasCustomPrompt="1"/>
          </p:nvPr>
        </p:nvSpPr>
        <p:spPr>
          <a:xfrm>
            <a:off x="9096332" y="2288559"/>
            <a:ext cx="2340864" cy="332038"/>
          </a:xfrm>
        </p:spPr>
        <p:txBody>
          <a:bodyPr lIns="0" rIns="0">
            <a:normAutofit/>
          </a:bodyPr>
          <a:lstStyle>
            <a:lvl1pPr>
              <a:defRPr sz="1600" b="1" i="0">
                <a:latin typeface="Oracle Sans" panose="020B0503020204020204" pitchFamily="34" charset="0"/>
                <a:cs typeface="Oracle Sans" panose="020B0503020204020204" pitchFamily="34" charset="0"/>
              </a:defRPr>
            </a:lvl1pPr>
          </a:lstStyle>
          <a:p>
            <a:r>
              <a:rPr lang="en-US" dirty="0"/>
              <a:t>Lorem ipsum dolor</a:t>
            </a:r>
          </a:p>
        </p:txBody>
      </p:sp>
      <p:sp>
        <p:nvSpPr>
          <p:cNvPr id="26" name="Text Placeholder 25">
            <a:extLst>
              <a:ext uri="{FF2B5EF4-FFF2-40B4-BE49-F238E27FC236}">
                <a16:creationId xmlns:a16="http://schemas.microsoft.com/office/drawing/2014/main" id="{825A92B5-EC38-2544-A3A4-C45371748140}"/>
              </a:ext>
            </a:extLst>
          </p:cNvPr>
          <p:cNvSpPr>
            <a:spLocks noGrp="1"/>
          </p:cNvSpPr>
          <p:nvPr>
            <p:ph type="body" sz="quarter" idx="16" hasCustomPrompt="1"/>
          </p:nvPr>
        </p:nvSpPr>
        <p:spPr>
          <a:xfrm>
            <a:off x="9096332" y="2716680"/>
            <a:ext cx="2340864" cy="2529712"/>
          </a:xfrm>
        </p:spPr>
        <p:txBody>
          <a:bodyPr lIns="0" rIns="0">
            <a:normAutofit/>
          </a:bodyPr>
          <a:lstStyle>
            <a:lvl1pPr>
              <a:lnSpc>
                <a:spcPts val="2200"/>
              </a:lnSpc>
              <a:spcBef>
                <a:spcPts val="0"/>
              </a:spcBef>
              <a:spcAft>
                <a:spcPts val="600"/>
              </a:spcAft>
              <a:defRPr sz="1800" b="0" i="0">
                <a:solidFill>
                  <a:schemeClr val="bg1">
                    <a:lumMod val="85000"/>
                  </a:schemeClr>
                </a:solidFill>
                <a:latin typeface="Oracle Sans Light" panose="020B0403020204020204" pitchFamily="34" charset="0"/>
                <a:cs typeface="Oracle Sans Light" panose="020B0403020204020204" pitchFamily="34" charset="0"/>
              </a:defRPr>
            </a:lvl1pPr>
          </a:lstStyle>
          <a:p>
            <a:r>
              <a:rPr lang="en-US" dirty="0">
                <a:solidFill>
                  <a:srgbClr val="4A403E"/>
                </a:solidFill>
                <a:effectLst/>
                <a:latin typeface="Oracle Sans" panose="020B0503020204020204" pitchFamily="34" charset="0"/>
              </a:rPr>
              <a:t>Lorem ipsum dolor sit </a:t>
            </a:r>
            <a:r>
              <a:rPr lang="en-US" dirty="0" err="1">
                <a:solidFill>
                  <a:srgbClr val="4A403E"/>
                </a:solidFill>
                <a:effectLst/>
                <a:latin typeface="Oracle Sans" panose="020B0503020204020204" pitchFamily="34" charset="0"/>
              </a:rPr>
              <a:t>am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consectetur</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adipiscing</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lit</a:t>
            </a:r>
            <a:r>
              <a:rPr lang="en-US" dirty="0">
                <a:solidFill>
                  <a:srgbClr val="4A403E"/>
                </a:solidFill>
                <a:effectLst/>
                <a:latin typeface="Oracle Sans" panose="020B0503020204020204" pitchFamily="34" charset="0"/>
              </a:rPr>
              <a:t>. Duis vitae </a:t>
            </a:r>
            <a:r>
              <a:rPr lang="en-US" dirty="0" err="1">
                <a:solidFill>
                  <a:srgbClr val="4A403E"/>
                </a:solidFill>
                <a:effectLst/>
                <a:latin typeface="Oracle Sans" panose="020B0503020204020204" pitchFamily="34" charset="0"/>
              </a:rPr>
              <a:t>interdum</a:t>
            </a:r>
            <a:r>
              <a:rPr lang="en-US" dirty="0">
                <a:solidFill>
                  <a:srgbClr val="4A403E"/>
                </a:solidFill>
                <a:effectLst/>
                <a:latin typeface="Oracle Sans" panose="020B0503020204020204" pitchFamily="34" charset="0"/>
              </a:rPr>
              <a:t> diam, non </a:t>
            </a:r>
            <a:r>
              <a:rPr lang="en-US" dirty="0" err="1">
                <a:solidFill>
                  <a:srgbClr val="4A403E"/>
                </a:solidFill>
                <a:effectLst/>
                <a:latin typeface="Oracle Sans" panose="020B0503020204020204" pitchFamily="34" charset="0"/>
              </a:rPr>
              <a:t>aliquet</a:t>
            </a:r>
            <a:r>
              <a:rPr lang="en-US" dirty="0">
                <a:solidFill>
                  <a:srgbClr val="4A403E"/>
                </a:solidFill>
                <a:effectLst/>
                <a:latin typeface="Oracle Sans" panose="020B0503020204020204" pitchFamily="34" charset="0"/>
              </a:rPr>
              <a:t> </a:t>
            </a:r>
            <a:r>
              <a:rPr lang="en-US" dirty="0" err="1">
                <a:solidFill>
                  <a:srgbClr val="4A403E"/>
                </a:solidFill>
                <a:effectLst/>
                <a:latin typeface="Oracle Sans" panose="020B0503020204020204" pitchFamily="34" charset="0"/>
              </a:rPr>
              <a:t>enim</a:t>
            </a:r>
            <a:r>
              <a:rPr lang="en-US" dirty="0">
                <a:solidFill>
                  <a:srgbClr val="4A403E"/>
                </a:solidFill>
                <a:effectLst/>
                <a:latin typeface="Oracle Sans" panose="020B0503020204020204" pitchFamily="34" charset="0"/>
              </a:rPr>
              <a:t>.</a:t>
            </a:r>
          </a:p>
        </p:txBody>
      </p:sp>
      <p:pic>
        <p:nvPicPr>
          <p:cNvPr id="35" name="Picture 34">
            <a:extLst>
              <a:ext uri="{FF2B5EF4-FFF2-40B4-BE49-F238E27FC236}">
                <a16:creationId xmlns:a16="http://schemas.microsoft.com/office/drawing/2014/main" id="{55337613-929D-9A40-90FE-FD9484924F90}"/>
              </a:ext>
            </a:extLst>
          </p:cNvPr>
          <p:cNvPicPr>
            <a:picLocks noChangeAspect="1"/>
          </p:cNvPicPr>
          <p:nvPr userDrawn="1"/>
        </p:nvPicPr>
        <p:blipFill rotWithShape="1">
          <a:blip r:embed="rId5">
            <a:alphaModFix amt="70000"/>
            <a:extLst>
              <a:ext uri="{28A0092B-C50C-407E-A947-70E740481C1C}">
                <a14:useLocalDpi xmlns:a14="http://schemas.microsoft.com/office/drawing/2010/main" val="0"/>
              </a:ext>
            </a:extLst>
          </a:blip>
          <a:srcRect l="-277" r="1"/>
          <a:stretch/>
        </p:blipFill>
        <p:spPr>
          <a:xfrm>
            <a:off x="6373090" y="557050"/>
            <a:ext cx="6719455" cy="1413489"/>
          </a:xfrm>
          <a:prstGeom prst="rect">
            <a:avLst/>
          </a:prstGeom>
        </p:spPr>
      </p:pic>
      <p:sp>
        <p:nvSpPr>
          <p:cNvPr id="4" name="Footer Placeholder 3">
            <a:extLst>
              <a:ext uri="{FF2B5EF4-FFF2-40B4-BE49-F238E27FC236}">
                <a16:creationId xmlns:a16="http://schemas.microsoft.com/office/drawing/2014/main" id="{BE457EB8-22DE-334D-96C0-3E9E911AAF41}"/>
              </a:ext>
            </a:extLst>
          </p:cNvPr>
          <p:cNvSpPr>
            <a:spLocks noGrp="1"/>
          </p:cNvSpPr>
          <p:nvPr>
            <p:ph type="ftr" sz="quarter" idx="17"/>
          </p:nvPr>
        </p:nvSpPr>
        <p:spPr/>
        <p:txBody>
          <a:bodyPr/>
          <a:lstStyle>
            <a:lvl1pPr>
              <a:defRPr/>
            </a:lvl1pPr>
          </a:lstStyle>
          <a:p>
            <a:r>
              <a:rPr lang="en-US" sz="700" dirty="0"/>
              <a:t>Copyright © 2019 Oracle and/or its affiliates.</a:t>
            </a:r>
          </a:p>
        </p:txBody>
      </p:sp>
      <p:cxnSp>
        <p:nvCxnSpPr>
          <p:cNvPr id="9" name="Straight Connector 8">
            <a:extLst>
              <a:ext uri="{FF2B5EF4-FFF2-40B4-BE49-F238E27FC236}">
                <a16:creationId xmlns:a16="http://schemas.microsoft.com/office/drawing/2014/main" id="{06DA2591-58CC-9445-8BC8-D9DF80A1C707}"/>
              </a:ext>
            </a:extLst>
          </p:cNvPr>
          <p:cNvCxnSpPr/>
          <p:nvPr userDrawn="1"/>
        </p:nvCxnSpPr>
        <p:spPr>
          <a:xfrm>
            <a:off x="3332480" y="2485185"/>
            <a:ext cx="0" cy="237744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744A1A-477F-974F-8D28-2F2C628054EB}"/>
              </a:ext>
            </a:extLst>
          </p:cNvPr>
          <p:cNvCxnSpPr/>
          <p:nvPr userDrawn="1"/>
        </p:nvCxnSpPr>
        <p:spPr>
          <a:xfrm>
            <a:off x="6096000" y="2485185"/>
            <a:ext cx="0" cy="237744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904C98-FFD5-B34F-BD70-A3DC2CB0CF48}"/>
              </a:ext>
            </a:extLst>
          </p:cNvPr>
          <p:cNvCxnSpPr/>
          <p:nvPr userDrawn="1"/>
        </p:nvCxnSpPr>
        <p:spPr>
          <a:xfrm>
            <a:off x="8884421" y="2485185"/>
            <a:ext cx="0" cy="237744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257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500" fill="hold"/>
                                        <p:tgtEl>
                                          <p:spTgt spid="37"/>
                                        </p:tgtEl>
                                        <p:attrNameLst>
                                          <p:attrName>ppt_x</p:attrName>
                                        </p:attrNameLst>
                                      </p:cBhvr>
                                      <p:tavLst>
                                        <p:tav tm="0">
                                          <p:val>
                                            <p:strVal val="0-#ppt_w/2"/>
                                          </p:val>
                                        </p:tav>
                                        <p:tav tm="100000">
                                          <p:val>
                                            <p:strVal val="#ppt_x"/>
                                          </p:val>
                                        </p:tav>
                                      </p:tavLst>
                                    </p:anim>
                                    <p:anim calcmode="lin" valueType="num">
                                      <p:cBhvr additive="base">
                                        <p:cTn id="12"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OOW Section Divid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2232447"/>
            <a:ext cx="4951768"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3737980"/>
            <a:ext cx="4951769" cy="2336749"/>
          </a:xfrm>
        </p:spPr>
        <p:txBody>
          <a:bodyPr lIns="0" rIns="0">
            <a:normAutofit/>
          </a:bodyPr>
          <a:lstStyle>
            <a:lvl1pPr marL="0" indent="0">
              <a:lnSpc>
                <a:spcPct val="100000"/>
              </a:lnSpc>
              <a:spcBef>
                <a:spcPts val="0"/>
              </a:spcBef>
              <a:buNone/>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342484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9C814F52-666B-2547-843C-F9EB3A18700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353" b="8879"/>
          <a:stretch/>
        </p:blipFill>
        <p:spPr>
          <a:xfrm>
            <a:off x="6096000" y="754384"/>
            <a:ext cx="5327904" cy="5320590"/>
          </a:xfrm>
          <a:prstGeom prst="rect">
            <a:avLst/>
          </a:prstGeom>
        </p:spPr>
      </p:pic>
      <p:pic>
        <p:nvPicPr>
          <p:cNvPr id="12" name="Picture 11" descr="A picture containing indoor&#10;&#10;Description automatically generated">
            <a:extLst>
              <a:ext uri="{FF2B5EF4-FFF2-40B4-BE49-F238E27FC236}">
                <a16:creationId xmlns:a16="http://schemas.microsoft.com/office/drawing/2014/main" id="{4FF255F3-4129-CE4F-90F1-22B18F2738D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3548" y="290683"/>
            <a:ext cx="5327903" cy="1968827"/>
          </a:xfrm>
          <a:prstGeom prst="rect">
            <a:avLst/>
          </a:prstGeom>
        </p:spPr>
      </p:pic>
      <p:sp>
        <p:nvSpPr>
          <p:cNvPr id="4" name="Footer Placeholder 3">
            <a:extLst>
              <a:ext uri="{FF2B5EF4-FFF2-40B4-BE49-F238E27FC236}">
                <a16:creationId xmlns:a16="http://schemas.microsoft.com/office/drawing/2014/main" id="{297CEDDF-8AA1-9B4F-92EB-BE9C5E9238AC}"/>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3976097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ark Cover ">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AA8E5EA-5030-48C4-99E7-E61D164BD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85429" y="3138723"/>
            <a:ext cx="4421144" cy="580554"/>
          </a:xfrm>
          <a:prstGeom prst="rect">
            <a:avLst/>
          </a:prstGeom>
        </p:spPr>
      </p:pic>
      <p:pic>
        <p:nvPicPr>
          <p:cNvPr id="25" name="Picture 24">
            <a:extLst>
              <a:ext uri="{FF2B5EF4-FFF2-40B4-BE49-F238E27FC236}">
                <a16:creationId xmlns:a16="http://schemas.microsoft.com/office/drawing/2014/main" id="{F198333D-FF3E-E64D-8889-26B8EFCA2684}"/>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58371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1_OOW Section Divid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2232447"/>
            <a:ext cx="4951768"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3737980"/>
            <a:ext cx="4951769" cy="2336749"/>
          </a:xfrm>
        </p:spPr>
        <p:txBody>
          <a:bodyPr lIns="0" rIns="0">
            <a:normAutofit/>
          </a:bodyPr>
          <a:lstStyle>
            <a:lvl1pPr marL="0" indent="0">
              <a:lnSpc>
                <a:spcPct val="100000"/>
              </a:lnSpc>
              <a:spcBef>
                <a:spcPts val="0"/>
              </a:spcBef>
              <a:buNone/>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342484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indoor&#10;&#10;Description automatically generated">
            <a:extLst>
              <a:ext uri="{FF2B5EF4-FFF2-40B4-BE49-F238E27FC236}">
                <a16:creationId xmlns:a16="http://schemas.microsoft.com/office/drawing/2014/main" id="{4FF255F3-4129-CE4F-90F1-22B18F2738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73548" y="290683"/>
            <a:ext cx="5327903" cy="1968827"/>
          </a:xfrm>
          <a:prstGeom prst="rect">
            <a:avLst/>
          </a:prstGeom>
        </p:spPr>
      </p:pic>
      <p:sp>
        <p:nvSpPr>
          <p:cNvPr id="4" name="Footer Placeholder 3">
            <a:extLst>
              <a:ext uri="{FF2B5EF4-FFF2-40B4-BE49-F238E27FC236}">
                <a16:creationId xmlns:a16="http://schemas.microsoft.com/office/drawing/2014/main" id="{297CEDDF-8AA1-9B4F-92EB-BE9C5E9238AC}"/>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545346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2_OOW Section Divid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2232447"/>
            <a:ext cx="4951768"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3737980"/>
            <a:ext cx="4951769" cy="2336749"/>
          </a:xfrm>
        </p:spPr>
        <p:txBody>
          <a:bodyPr lIns="0" rIns="0">
            <a:normAutofit/>
          </a:bodyPr>
          <a:lstStyle>
            <a:lvl1pPr marL="0" indent="0">
              <a:lnSpc>
                <a:spcPct val="100000"/>
              </a:lnSpc>
              <a:spcBef>
                <a:spcPts val="0"/>
              </a:spcBef>
              <a:buNone/>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342484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indoor&#10;&#10;Description automatically generated">
            <a:extLst>
              <a:ext uri="{FF2B5EF4-FFF2-40B4-BE49-F238E27FC236}">
                <a16:creationId xmlns:a16="http://schemas.microsoft.com/office/drawing/2014/main" id="{4FF255F3-4129-CE4F-90F1-22B18F2738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73548" y="290683"/>
            <a:ext cx="5327903" cy="1968827"/>
          </a:xfrm>
          <a:prstGeom prst="rect">
            <a:avLst/>
          </a:prstGeom>
        </p:spPr>
      </p:pic>
      <p:sp>
        <p:nvSpPr>
          <p:cNvPr id="4" name="Footer Placeholder 3">
            <a:extLst>
              <a:ext uri="{FF2B5EF4-FFF2-40B4-BE49-F238E27FC236}">
                <a16:creationId xmlns:a16="http://schemas.microsoft.com/office/drawing/2014/main" id="{297CEDDF-8AA1-9B4F-92EB-BE9C5E9238AC}"/>
              </a:ext>
            </a:extLst>
          </p:cNvPr>
          <p:cNvSpPr>
            <a:spLocks noGrp="1"/>
          </p:cNvSpPr>
          <p:nvPr>
            <p:ph type="ftr" sz="quarter" idx="10"/>
          </p:nvPr>
        </p:nvSpPr>
        <p:spPr/>
        <p:txBody>
          <a:bodyPr/>
          <a:lstStyle>
            <a:lvl1pPr>
              <a:defRPr/>
            </a:lvl1pPr>
          </a:lstStyle>
          <a:p>
            <a:r>
              <a:rPr lang="en-US" sz="700" dirty="0"/>
              <a:t>Copyright © 2019 Oracle and/or its affiliates.</a:t>
            </a:r>
          </a:p>
        </p:txBody>
      </p:sp>
      <p:pic>
        <p:nvPicPr>
          <p:cNvPr id="8" name="Picture 7">
            <a:extLst>
              <a:ext uri="{FF2B5EF4-FFF2-40B4-BE49-F238E27FC236}">
                <a16:creationId xmlns:a16="http://schemas.microsoft.com/office/drawing/2014/main" id="{40E847AE-6410-4778-A2EF-12B4EA3D9A8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20904" y="2200377"/>
            <a:ext cx="5517943" cy="3112686"/>
          </a:xfrm>
          <a:prstGeom prst="rect">
            <a:avLst/>
          </a:prstGeom>
        </p:spPr>
      </p:pic>
    </p:spTree>
    <p:extLst>
      <p:ext uri="{BB962C8B-B14F-4D97-AF65-F5344CB8AC3E}">
        <p14:creationId xmlns:p14="http://schemas.microsoft.com/office/powerpoint/2010/main" val="396230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3_OOW Section Divi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2A9641-0516-4D9F-829D-D6E009E5127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68850" y="1493148"/>
            <a:ext cx="4801705" cy="4801705"/>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2232447"/>
            <a:ext cx="4951768"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3737980"/>
            <a:ext cx="4951769" cy="2336749"/>
          </a:xfrm>
        </p:spPr>
        <p:txBody>
          <a:bodyPr lIns="0" rIns="0">
            <a:normAutofit/>
          </a:bodyPr>
          <a:lstStyle>
            <a:lvl1pPr marL="0" indent="0">
              <a:lnSpc>
                <a:spcPct val="100000"/>
              </a:lnSpc>
              <a:spcBef>
                <a:spcPts val="0"/>
              </a:spcBef>
              <a:buNone/>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342484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indoor&#10;&#10;Description automatically generated">
            <a:extLst>
              <a:ext uri="{FF2B5EF4-FFF2-40B4-BE49-F238E27FC236}">
                <a16:creationId xmlns:a16="http://schemas.microsoft.com/office/drawing/2014/main" id="{4FF255F3-4129-CE4F-90F1-22B18F2738D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3548" y="290683"/>
            <a:ext cx="5327903" cy="1968827"/>
          </a:xfrm>
          <a:prstGeom prst="rect">
            <a:avLst/>
          </a:prstGeom>
        </p:spPr>
      </p:pic>
      <p:sp>
        <p:nvSpPr>
          <p:cNvPr id="4" name="Footer Placeholder 3">
            <a:extLst>
              <a:ext uri="{FF2B5EF4-FFF2-40B4-BE49-F238E27FC236}">
                <a16:creationId xmlns:a16="http://schemas.microsoft.com/office/drawing/2014/main" id="{297CEDDF-8AA1-9B4F-92EB-BE9C5E9238AC}"/>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1795962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4_OOW Section Divi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D19C16-5C21-4980-B711-A9B538B0B3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2806" y="1061164"/>
            <a:ext cx="4501098" cy="4501098"/>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2232447"/>
            <a:ext cx="4951768"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3737980"/>
            <a:ext cx="4951769" cy="2336749"/>
          </a:xfrm>
        </p:spPr>
        <p:txBody>
          <a:bodyPr lIns="0" rIns="0">
            <a:normAutofit/>
          </a:bodyPr>
          <a:lstStyle>
            <a:lvl1pPr marL="0" indent="0">
              <a:lnSpc>
                <a:spcPct val="100000"/>
              </a:lnSpc>
              <a:spcBef>
                <a:spcPts val="0"/>
              </a:spcBef>
              <a:buNone/>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342484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indoor&#10;&#10;Description automatically generated">
            <a:extLst>
              <a:ext uri="{FF2B5EF4-FFF2-40B4-BE49-F238E27FC236}">
                <a16:creationId xmlns:a16="http://schemas.microsoft.com/office/drawing/2014/main" id="{4FF255F3-4129-CE4F-90F1-22B18F2738D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3548" y="290683"/>
            <a:ext cx="5327903" cy="1968827"/>
          </a:xfrm>
          <a:prstGeom prst="rect">
            <a:avLst/>
          </a:prstGeom>
        </p:spPr>
      </p:pic>
      <p:sp>
        <p:nvSpPr>
          <p:cNvPr id="4" name="Footer Placeholder 3">
            <a:extLst>
              <a:ext uri="{FF2B5EF4-FFF2-40B4-BE49-F238E27FC236}">
                <a16:creationId xmlns:a16="http://schemas.microsoft.com/office/drawing/2014/main" id="{297CEDDF-8AA1-9B4F-92EB-BE9C5E9238AC}"/>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3928006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5_OOW Section Divi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9A0191-1ABA-4ECB-8B7E-9F3CC1A0A8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93832" y="1250049"/>
            <a:ext cx="4826141" cy="482468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2232447"/>
            <a:ext cx="4951768" cy="844095"/>
          </a:xfrm>
        </p:spPr>
        <p:txBody>
          <a:bodyPr vert="horz" lIns="0" tIns="45720" rIns="0" bIns="45720" rtlCol="0" anchor="b">
            <a:normAutofit/>
          </a:bodyPr>
          <a:lstStyle>
            <a:lvl1pPr>
              <a:defRPr lang="en-US" sz="1600">
                <a:latin typeface="Oracle Sans Extra Bold" panose="020B0803020204020204" pitchFamily="34" charset="0"/>
                <a:ea typeface="+mn-ea"/>
                <a:cs typeface="Oracle Sans Extra Bold" panose="020B0803020204020204" pitchFamily="34" charset="0"/>
              </a:defRPr>
            </a:lvl1pPr>
          </a:lstStyle>
          <a:p>
            <a:pPr marL="0" lvl="0" indent="0">
              <a:spcBef>
                <a:spcPts val="1000"/>
              </a:spcBef>
              <a:buFont typeface="Arial" panose="020B0604020202020204" pitchFamily="34" charset="0"/>
            </a:pPr>
            <a:r>
              <a:rPr lang="en-US" dirty="0"/>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3737980"/>
            <a:ext cx="4951769" cy="2336749"/>
          </a:xfrm>
        </p:spPr>
        <p:txBody>
          <a:bodyPr lIns="0" rIns="0">
            <a:normAutofit/>
          </a:bodyPr>
          <a:lstStyle>
            <a:lvl1pPr marL="0" indent="0">
              <a:lnSpc>
                <a:spcPct val="100000"/>
              </a:lnSpc>
              <a:spcBef>
                <a:spcPts val="0"/>
              </a:spcBef>
              <a:buNone/>
              <a:defRPr sz="3000" b="0" i="0">
                <a:solidFill>
                  <a:schemeClr val="bg1">
                    <a:lumMod val="85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342484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indoor&#10;&#10;Description automatically generated">
            <a:extLst>
              <a:ext uri="{FF2B5EF4-FFF2-40B4-BE49-F238E27FC236}">
                <a16:creationId xmlns:a16="http://schemas.microsoft.com/office/drawing/2014/main" id="{4FF255F3-4129-CE4F-90F1-22B18F2738D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3548" y="290683"/>
            <a:ext cx="5327903" cy="1968827"/>
          </a:xfrm>
          <a:prstGeom prst="rect">
            <a:avLst/>
          </a:prstGeom>
        </p:spPr>
      </p:pic>
      <p:sp>
        <p:nvSpPr>
          <p:cNvPr id="4" name="Footer Placeholder 3">
            <a:extLst>
              <a:ext uri="{FF2B5EF4-FFF2-40B4-BE49-F238E27FC236}">
                <a16:creationId xmlns:a16="http://schemas.microsoft.com/office/drawing/2014/main" id="{297CEDDF-8AA1-9B4F-92EB-BE9C5E9238AC}"/>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182102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afe Harbor RevRec Star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85F8D10-D7C7-384F-BEF4-6699AC6D6831}"/>
              </a:ext>
            </a:extLst>
          </p:cNvPr>
          <p:cNvSpPr txBox="1"/>
          <p:nvPr userDrawn="1"/>
        </p:nvSpPr>
        <p:spPr>
          <a:xfrm>
            <a:off x="761287" y="2302160"/>
            <a:ext cx="10675910" cy="3693319"/>
          </a:xfrm>
          <a:prstGeom prst="rect">
            <a:avLst/>
          </a:prstGeom>
          <a:noFill/>
        </p:spPr>
        <p:txBody>
          <a:bodyPr wrap="square" rtlCol="0">
            <a:spAutoFit/>
          </a:bodyPr>
          <a:lstStyle/>
          <a:p>
            <a:pPr marL="0" indent="0">
              <a:buNone/>
            </a:pPr>
            <a:r>
              <a:rPr lang="en-US" sz="1800" b="0" i="0" dirty="0">
                <a:solidFill>
                  <a:schemeClr val="bg1"/>
                </a:solidFill>
                <a:latin typeface="Oracle Sans Light" panose="020B0403020204020204" pitchFamily="34" charset="0"/>
                <a:cs typeface="Oracle Sans Light" panose="020B0403020204020204" pitchFamily="34" charset="0"/>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a:p>
            <a:pPr marL="0" indent="0">
              <a:buNone/>
            </a:pPr>
            <a:endParaRPr lang="en-US" sz="1800" b="0" i="0" dirty="0">
              <a:solidFill>
                <a:schemeClr val="bg1"/>
              </a:solidFill>
              <a:latin typeface="Oracle Sans Light" panose="020B0403020204020204" pitchFamily="34" charset="0"/>
              <a:cs typeface="Oracle Sans Light" panose="020B0403020204020204" pitchFamily="34" charset="0"/>
            </a:endParaRPr>
          </a:p>
          <a:p>
            <a:r>
              <a:rPr lang="en-US" sz="1800" b="0" i="0" kern="1200" dirty="0">
                <a:solidFill>
                  <a:schemeClr val="bg1"/>
                </a:solidFill>
                <a:latin typeface="Oracle Sans Light" panose="020B0403020204020204" pitchFamily="34" charset="0"/>
                <a:ea typeface="+mn-ea"/>
                <a:cs typeface="Oracle Sans Light" panose="020B0403020204020204" pitchFamily="34" charset="0"/>
              </a:rPr>
              <a:t>Statements in this presentation relating to Oracle’s future plans, expectations, beliefs, intentions and prospects are “forward-looking statements” and are subject to material risks and uncertainties. A detailed discussion of these factors and other risks that affect our business is contained in Oracle’s Securities and Exchange Commission (SEC) filings, including our most recent reports on Form 10-K and Form 10-Q under the heading “Risk Factors.” These filings are available on the SEC’s website or on Oracle’s website at </a:t>
            </a:r>
            <a:r>
              <a:rPr lang="en-US" sz="1800" b="0" i="0" kern="1200" dirty="0">
                <a:solidFill>
                  <a:schemeClr val="bg1"/>
                </a:solidFill>
                <a:latin typeface="Oracle Sans Light" panose="020B0403020204020204" pitchFamily="34" charset="0"/>
                <a:ea typeface="+mn-ea"/>
                <a:cs typeface="Oracle Sans Light" panose="020B0403020204020204" pitchFamily="34" charset="0"/>
                <a:hlinkClick r:id="rId2">
                  <a:extLst>
                    <a:ext uri="{A12FA001-AC4F-418D-AE19-62706E023703}">
                      <ahyp:hlinkClr xmlns:ahyp="http://schemas.microsoft.com/office/drawing/2018/hyperlinkcolor" val="tx"/>
                    </a:ext>
                  </a:extLst>
                </a:hlinkClick>
              </a:rPr>
              <a:t>http://www.oracle.com/investor</a:t>
            </a:r>
            <a:r>
              <a:rPr lang="en-US" sz="1800" b="0" i="0" kern="1200" dirty="0">
                <a:solidFill>
                  <a:schemeClr val="bg1"/>
                </a:solidFill>
                <a:latin typeface="Oracle Sans Light" panose="020B0403020204020204" pitchFamily="34" charset="0"/>
                <a:ea typeface="+mn-ea"/>
                <a:cs typeface="Oracle Sans Light" panose="020B0403020204020204" pitchFamily="34" charset="0"/>
              </a:rPr>
              <a:t>. All information in this presentation is current as of September 2019 and Oracle undertakes no duty to update any statement in light of new information or future events.</a:t>
            </a:r>
          </a:p>
        </p:txBody>
      </p:sp>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9573"/>
          <a:stretch/>
        </p:blipFill>
        <p:spPr>
          <a:xfrm>
            <a:off x="6337183" y="565565"/>
            <a:ext cx="5854818" cy="3169433"/>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30C5EC1D-19D0-DE44-8368-6C242495923F}"/>
              </a:ext>
            </a:extLst>
          </p:cNvPr>
          <p:cNvSpPr txBox="1"/>
          <p:nvPr userDrawn="1"/>
        </p:nvSpPr>
        <p:spPr>
          <a:xfrm>
            <a:off x="678195" y="1267796"/>
            <a:ext cx="6034295" cy="369332"/>
          </a:xfrm>
          <a:prstGeom prst="rect">
            <a:avLst/>
          </a:prstGeom>
          <a:noFill/>
        </p:spPr>
        <p:txBody>
          <a:bodyPr wrap="square" rtlCol="0">
            <a:spAutoFit/>
          </a:bodyPr>
          <a:lstStyle/>
          <a:p>
            <a:r>
              <a:rPr lang="en-US" b="1" i="0" dirty="0">
                <a:solidFill>
                  <a:schemeClr val="bg1"/>
                </a:solidFill>
                <a:latin typeface="Oracle Sans" panose="020B0503020204020204" pitchFamily="34" charset="0"/>
                <a:cs typeface="Oracle Sans" panose="020B0503020204020204" pitchFamily="34" charset="0"/>
              </a:rPr>
              <a:t>Safe Harbor</a:t>
            </a:r>
          </a:p>
        </p:txBody>
      </p:sp>
      <p:sp>
        <p:nvSpPr>
          <p:cNvPr id="11" name="Footer Placeholder 10">
            <a:extLst>
              <a:ext uri="{FF2B5EF4-FFF2-40B4-BE49-F238E27FC236}">
                <a16:creationId xmlns:a16="http://schemas.microsoft.com/office/drawing/2014/main" id="{A436E821-D632-CA47-BF56-8B7E41D65641}"/>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3335668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afe Harbor RevRec En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85F8D10-D7C7-384F-BEF4-6699AC6D6831}"/>
              </a:ext>
            </a:extLst>
          </p:cNvPr>
          <p:cNvSpPr txBox="1"/>
          <p:nvPr userDrawn="1"/>
        </p:nvSpPr>
        <p:spPr>
          <a:xfrm>
            <a:off x="761287" y="2302160"/>
            <a:ext cx="10675910" cy="3693319"/>
          </a:xfrm>
          <a:prstGeom prst="rect">
            <a:avLst/>
          </a:prstGeom>
          <a:noFill/>
        </p:spPr>
        <p:txBody>
          <a:bodyPr wrap="square" rtlCol="0">
            <a:spAutoFit/>
          </a:bodyPr>
          <a:lstStyle/>
          <a:p>
            <a:pPr marL="0" indent="0">
              <a:buNone/>
            </a:pPr>
            <a:r>
              <a:rPr lang="en-US" sz="1800" b="0" i="0" dirty="0">
                <a:solidFill>
                  <a:schemeClr val="bg1"/>
                </a:solidFill>
                <a:latin typeface="Oracle Sans Light" panose="020B0403020204020204" pitchFamily="34" charset="0"/>
                <a:cs typeface="Oracle Sans Light" panose="020B0403020204020204" pitchFamily="34" charset="0"/>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a:p>
            <a:pPr marL="0" indent="0">
              <a:buNone/>
            </a:pPr>
            <a:endParaRPr lang="en-US" sz="1800" b="0" i="0" dirty="0">
              <a:solidFill>
                <a:schemeClr val="bg1"/>
              </a:solidFill>
              <a:latin typeface="Oracle Sans Light" panose="020B0403020204020204" pitchFamily="34" charset="0"/>
              <a:cs typeface="Oracle Sans Light" panose="020B0403020204020204" pitchFamily="34" charset="0"/>
            </a:endParaRPr>
          </a:p>
          <a:p>
            <a:r>
              <a:rPr lang="en-US" sz="1800" b="0" i="0" kern="1200" dirty="0">
                <a:solidFill>
                  <a:schemeClr val="bg1"/>
                </a:solidFill>
                <a:latin typeface="Oracle Sans Light" panose="020B0403020204020204" pitchFamily="34" charset="0"/>
                <a:ea typeface="+mn-ea"/>
                <a:cs typeface="Oracle Sans Light" panose="020B0403020204020204" pitchFamily="34" charset="0"/>
              </a:rPr>
              <a:t>Statements in this presentation relating to Oracle’s future plans, expectations, beliefs, intentions and prospects are “forward-looking statements” and are subject to material risks and uncertainties. A detailed discussion of these factors and other risks that affect our business is contained in Oracle’s Securities and Exchange Commission (SEC) filings, including our most recent reports on Form 10-K and Form 10-Q under the heading “Risk Factors.” These filings are available on the SEC’s website or on Oracle’s website at </a:t>
            </a:r>
            <a:r>
              <a:rPr lang="en-US" sz="1800" b="0" i="0" kern="1200" dirty="0">
                <a:solidFill>
                  <a:schemeClr val="bg1"/>
                </a:solidFill>
                <a:latin typeface="Oracle Sans Light" panose="020B0403020204020204" pitchFamily="34" charset="0"/>
                <a:ea typeface="+mn-ea"/>
                <a:cs typeface="Oracle Sans Light" panose="020B0403020204020204" pitchFamily="34" charset="0"/>
                <a:hlinkClick r:id="rId2">
                  <a:extLst>
                    <a:ext uri="{A12FA001-AC4F-418D-AE19-62706E023703}">
                      <ahyp:hlinkClr xmlns:ahyp="http://schemas.microsoft.com/office/drawing/2018/hyperlinkcolor" val="tx"/>
                    </a:ext>
                  </a:extLst>
                </a:hlinkClick>
              </a:rPr>
              <a:t>http://www.oracle.com/investor</a:t>
            </a:r>
            <a:r>
              <a:rPr lang="en-US" sz="1800" b="0" i="0" kern="1200" dirty="0">
                <a:solidFill>
                  <a:schemeClr val="bg1"/>
                </a:solidFill>
                <a:latin typeface="Oracle Sans Light" panose="020B0403020204020204" pitchFamily="34" charset="0"/>
                <a:ea typeface="+mn-ea"/>
                <a:cs typeface="Oracle Sans Light" panose="020B0403020204020204" pitchFamily="34" charset="0"/>
              </a:rPr>
              <a:t>. All information in this presentation is current as of September 2019 and Oracle undertakes no duty to update any statement in light of new information or future events.</a:t>
            </a:r>
          </a:p>
        </p:txBody>
      </p:sp>
      <p:pic>
        <p:nvPicPr>
          <p:cNvPr id="5" name="Picture 4" descr="A close up of an animal&#10;&#10;Description automatically generated">
            <a:extLst>
              <a:ext uri="{FF2B5EF4-FFF2-40B4-BE49-F238E27FC236}">
                <a16:creationId xmlns:a16="http://schemas.microsoft.com/office/drawing/2014/main" id="{EFB9E9CD-D1E8-2941-B6E9-04C71E3BFC82}"/>
              </a:ext>
            </a:extLst>
          </p:cNvPr>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9573"/>
          <a:stretch/>
        </p:blipFill>
        <p:spPr>
          <a:xfrm>
            <a:off x="6337183" y="565565"/>
            <a:ext cx="5854818" cy="3169433"/>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7" name="Picture 6">
            <a:extLst>
              <a:ext uri="{FF2B5EF4-FFF2-40B4-BE49-F238E27FC236}">
                <a16:creationId xmlns:a16="http://schemas.microsoft.com/office/drawing/2014/main" id="{4A563633-5831-8F48-954F-223FF83AEDF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sp>
        <p:nvSpPr>
          <p:cNvPr id="14" name="Rectangle 13">
            <a:extLst>
              <a:ext uri="{FF2B5EF4-FFF2-40B4-BE49-F238E27FC236}">
                <a16:creationId xmlns:a16="http://schemas.microsoft.com/office/drawing/2014/main" id="{05D2C10D-F209-B443-9F3C-0B55EDFF601F}"/>
              </a:ext>
            </a:extLst>
          </p:cNvPr>
          <p:cNvSpPr/>
          <p:nvPr userDrawn="1"/>
        </p:nvSpPr>
        <p:spPr>
          <a:xfrm>
            <a:off x="761287" y="1975427"/>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30C5EC1D-19D0-DE44-8368-6C242495923F}"/>
              </a:ext>
            </a:extLst>
          </p:cNvPr>
          <p:cNvSpPr txBox="1"/>
          <p:nvPr userDrawn="1"/>
        </p:nvSpPr>
        <p:spPr>
          <a:xfrm>
            <a:off x="678195" y="1267796"/>
            <a:ext cx="6034295" cy="369332"/>
          </a:xfrm>
          <a:prstGeom prst="rect">
            <a:avLst/>
          </a:prstGeom>
          <a:noFill/>
        </p:spPr>
        <p:txBody>
          <a:bodyPr wrap="square" rtlCol="0">
            <a:spAutoFit/>
          </a:bodyPr>
          <a:lstStyle/>
          <a:p>
            <a:r>
              <a:rPr lang="en-US" b="1" i="0" dirty="0">
                <a:solidFill>
                  <a:schemeClr val="bg1"/>
                </a:solidFill>
                <a:latin typeface="Oracle Sans" panose="020B0503020204020204" pitchFamily="34" charset="0"/>
                <a:cs typeface="Oracle Sans" panose="020B0503020204020204" pitchFamily="34" charset="0"/>
              </a:rPr>
              <a:t>Safe Harbor</a:t>
            </a:r>
          </a:p>
        </p:txBody>
      </p:sp>
      <p:sp>
        <p:nvSpPr>
          <p:cNvPr id="2" name="Footer Placeholder 1">
            <a:extLst>
              <a:ext uri="{FF2B5EF4-FFF2-40B4-BE49-F238E27FC236}">
                <a16:creationId xmlns:a16="http://schemas.microsoft.com/office/drawing/2014/main" id="{9847BD50-7E05-E342-A011-841DC569C1A8}"/>
              </a:ext>
            </a:extLst>
          </p:cNvPr>
          <p:cNvSpPr>
            <a:spLocks noGrp="1"/>
          </p:cNvSpPr>
          <p:nvPr>
            <p:ph type="ftr" sz="quarter" idx="10"/>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1198025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5DC53-8C9C-498E-B290-9D8A7BD5A31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D105AED-E6F9-4B30-BC23-9D196F400F88}"/>
              </a:ext>
            </a:extLst>
          </p:cNvPr>
          <p:cNvSpPr>
            <a:spLocks noGrp="1"/>
          </p:cNvSpPr>
          <p:nvPr>
            <p:ph type="ftr" sz="quarter" idx="11"/>
          </p:nvPr>
        </p:nvSpPr>
        <p:spPr/>
        <p:txBody>
          <a:bodyPr/>
          <a:lstStyle>
            <a:lvl1pPr>
              <a:defRPr/>
            </a:lvl1pPr>
          </a:lstStyle>
          <a:p>
            <a:r>
              <a:rPr lang="en-US" sz="700" dirty="0"/>
              <a:t>Copyright © 2019 Oracle and/or its affiliates.</a:t>
            </a:r>
          </a:p>
        </p:txBody>
      </p:sp>
    </p:spTree>
    <p:extLst>
      <p:ext uri="{BB962C8B-B14F-4D97-AF65-F5344CB8AC3E}">
        <p14:creationId xmlns:p14="http://schemas.microsoft.com/office/powerpoint/2010/main" val="41993412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Dark Title-only NOCLOU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9887834"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Only Layout </a:t>
            </a:r>
          </a:p>
        </p:txBody>
      </p:sp>
      <p:sp>
        <p:nvSpPr>
          <p:cNvPr id="10" name="Rectangle 9">
            <a:extLst>
              <a:ext uri="{FF2B5EF4-FFF2-40B4-BE49-F238E27FC236}">
                <a16:creationId xmlns:a16="http://schemas.microsoft.com/office/drawing/2014/main" id="{324354AA-8715-3B44-8031-FEACECD4374F}"/>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AD0E89AB-6D7B-49FA-ADF8-AEB0F9FA1872}"/>
              </a:ext>
            </a:extLst>
          </p:cNvPr>
          <p:cNvSpPr>
            <a:spLocks noGrp="1"/>
          </p:cNvSpPr>
          <p:nvPr>
            <p:ph type="ftr" sz="quarter" idx="10"/>
          </p:nvPr>
        </p:nvSpPr>
        <p:spPr/>
        <p:txBody>
          <a:bodyPr/>
          <a:lstStyle/>
          <a:p>
            <a:r>
              <a:rPr lang="en-US"/>
              <a:t>Copyright © 2019 Oracle and/or its affiliates</a:t>
            </a:r>
          </a:p>
        </p:txBody>
      </p:sp>
      <p:sp>
        <p:nvSpPr>
          <p:cNvPr id="4" name="Slide Number Placeholder 3">
            <a:extLst>
              <a:ext uri="{FF2B5EF4-FFF2-40B4-BE49-F238E27FC236}">
                <a16:creationId xmlns:a16="http://schemas.microsoft.com/office/drawing/2014/main" id="{EE2E12AE-F7AF-4B88-AFCF-500337337FB2}"/>
              </a:ext>
            </a:extLst>
          </p:cNvPr>
          <p:cNvSpPr>
            <a:spLocks noGrp="1"/>
          </p:cNvSpPr>
          <p:nvPr>
            <p:ph type="sldNum" sz="quarter" idx="11"/>
          </p:nvPr>
        </p:nvSpPr>
        <p:spPr/>
        <p:txBody>
          <a:bodyPr/>
          <a:lstStyle/>
          <a:p>
            <a:fld id="{7C371504-33D9-B044-8C50-620C44A06CB1}" type="slidenum">
              <a:rPr lang="en-US" smtClean="0"/>
              <a:t>‹N°›</a:t>
            </a:fld>
            <a:endParaRPr lang="en-US"/>
          </a:p>
        </p:txBody>
      </p:sp>
      <p:pic>
        <p:nvPicPr>
          <p:cNvPr id="11" name="Picture 10">
            <a:extLst>
              <a:ext uri="{FF2B5EF4-FFF2-40B4-BE49-F238E27FC236}">
                <a16:creationId xmlns:a16="http://schemas.microsoft.com/office/drawing/2014/main" id="{BD1F90A9-2038-B444-ACBD-5BD407CDED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93379" y="6361756"/>
            <a:ext cx="502920" cy="502920"/>
          </a:xfrm>
          <a:prstGeom prst="rect">
            <a:avLst/>
          </a:prstGeom>
        </p:spPr>
      </p:pic>
    </p:spTree>
    <p:extLst>
      <p:ext uri="{BB962C8B-B14F-4D97-AF65-F5344CB8AC3E}">
        <p14:creationId xmlns:p14="http://schemas.microsoft.com/office/powerpoint/2010/main" val="161340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OOW Graph 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B258AE-BFEF-C643-A62B-173052FD92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0" y="0"/>
            <a:ext cx="6096000" cy="6858000"/>
          </a:xfrm>
          <a:prstGeom prst="rect">
            <a:avLst/>
          </a:prstGeom>
        </p:spPr>
      </p:pic>
      <p:sp>
        <p:nvSpPr>
          <p:cNvPr id="8" name="Rectangle 7">
            <a:extLst>
              <a:ext uri="{FF2B5EF4-FFF2-40B4-BE49-F238E27FC236}">
                <a16:creationId xmlns:a16="http://schemas.microsoft.com/office/drawing/2014/main" id="{FEAC4957-F41E-854A-AB85-0544B81A6E78}"/>
              </a:ext>
            </a:extLst>
          </p:cNvPr>
          <p:cNvSpPr/>
          <p:nvPr userDrawn="1"/>
        </p:nvSpPr>
        <p:spPr>
          <a:xfrm>
            <a:off x="6352162" y="238328"/>
            <a:ext cx="5586685" cy="63813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1643974" y="1680579"/>
            <a:ext cx="3919981" cy="914400"/>
          </a:xfrm>
        </p:spPr>
        <p:txBody>
          <a:bodyPr lIns="0" rIns="0">
            <a:normAutofit/>
          </a:bodyPr>
          <a:lstStyle>
            <a:lvl1pPr marL="0" indent="0">
              <a:lnSpc>
                <a:spcPct val="100000"/>
              </a:lnSpc>
              <a:spcBef>
                <a:spcPts val="0"/>
              </a:spcBef>
              <a:buNone/>
              <a:defRPr sz="1800" b="0" i="0">
                <a:solidFill>
                  <a:schemeClr val="bg2">
                    <a:lumMod val="50000"/>
                  </a:schemeClr>
                </a:solidFill>
                <a:latin typeface="Oracle Sans Light" panose="020B0403020204020204" pitchFamily="34" charset="0"/>
                <a:ea typeface="Open Sans Light" panose="020B0306030504020204" pitchFamily="34" charset="0"/>
                <a:cs typeface="Oracle Sans Light" panose="020B04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sp>
        <p:nvSpPr>
          <p:cNvPr id="6" name="Text Placeholder 5">
            <a:extLst>
              <a:ext uri="{FF2B5EF4-FFF2-40B4-BE49-F238E27FC236}">
                <a16:creationId xmlns:a16="http://schemas.microsoft.com/office/drawing/2014/main" id="{551BF5A4-B977-EB48-81E0-C8EBEE287EE9}"/>
              </a:ext>
            </a:extLst>
          </p:cNvPr>
          <p:cNvSpPr>
            <a:spLocks noGrp="1"/>
          </p:cNvSpPr>
          <p:nvPr>
            <p:ph type="body" sz="quarter" idx="10" hasCustomPrompt="1"/>
          </p:nvPr>
        </p:nvSpPr>
        <p:spPr>
          <a:xfrm>
            <a:off x="584199" y="1680858"/>
            <a:ext cx="977564" cy="914400"/>
          </a:xfrm>
        </p:spPr>
        <p:txBody>
          <a:bodyPr lIns="0" rIns="0">
            <a:noAutofit/>
          </a:bodyPr>
          <a:lstStyle>
            <a:lvl1pPr>
              <a:defRPr sz="6000">
                <a:solidFill>
                  <a:schemeClr val="tx2"/>
                </a:solidFill>
                <a:latin typeface="Georgia" panose="02040502050405020303" pitchFamily="18" charset="0"/>
              </a:defRPr>
            </a:lvl1pPr>
          </a:lstStyle>
          <a:p>
            <a:pPr lvl="0"/>
            <a:r>
              <a:rPr lang="en-US" dirty="0"/>
              <a:t>12</a:t>
            </a:r>
          </a:p>
        </p:txBody>
      </p:sp>
      <p:sp>
        <p:nvSpPr>
          <p:cNvPr id="11" name="Text Placeholder 10">
            <a:extLst>
              <a:ext uri="{FF2B5EF4-FFF2-40B4-BE49-F238E27FC236}">
                <a16:creationId xmlns:a16="http://schemas.microsoft.com/office/drawing/2014/main" id="{419713BA-76C9-7441-BFD8-06338497DEDD}"/>
              </a:ext>
            </a:extLst>
          </p:cNvPr>
          <p:cNvSpPr>
            <a:spLocks noGrp="1"/>
          </p:cNvSpPr>
          <p:nvPr>
            <p:ph type="body" sz="quarter" idx="11" hasCustomPrompt="1"/>
          </p:nvPr>
        </p:nvSpPr>
        <p:spPr>
          <a:xfrm>
            <a:off x="584199" y="3015946"/>
            <a:ext cx="977564" cy="914400"/>
          </a:xfrm>
        </p:spPr>
        <p:txBody>
          <a:bodyPr lIns="0" rIns="0">
            <a:noAutofit/>
          </a:bodyPr>
          <a:lstStyle>
            <a:lvl1pPr>
              <a:defRPr sz="6000">
                <a:solidFill>
                  <a:schemeClr val="tx2"/>
                </a:solidFill>
                <a:latin typeface="Georgia" panose="02040502050405020303" pitchFamily="18" charset="0"/>
              </a:defRPr>
            </a:lvl1pPr>
          </a:lstStyle>
          <a:p>
            <a:pPr lvl="0"/>
            <a:r>
              <a:rPr lang="en-US" dirty="0"/>
              <a:t>24</a:t>
            </a:r>
          </a:p>
        </p:txBody>
      </p:sp>
      <p:sp>
        <p:nvSpPr>
          <p:cNvPr id="13" name="Text Placeholder 12">
            <a:extLst>
              <a:ext uri="{FF2B5EF4-FFF2-40B4-BE49-F238E27FC236}">
                <a16:creationId xmlns:a16="http://schemas.microsoft.com/office/drawing/2014/main" id="{184EF418-466C-C145-A453-ECA354E34C40}"/>
              </a:ext>
            </a:extLst>
          </p:cNvPr>
          <p:cNvSpPr>
            <a:spLocks noGrp="1"/>
          </p:cNvSpPr>
          <p:nvPr>
            <p:ph type="body" sz="quarter" idx="12" hasCustomPrompt="1"/>
          </p:nvPr>
        </p:nvSpPr>
        <p:spPr>
          <a:xfrm>
            <a:off x="584199" y="4351034"/>
            <a:ext cx="977564" cy="914400"/>
          </a:xfrm>
        </p:spPr>
        <p:txBody>
          <a:bodyPr lIns="0" rIns="0">
            <a:noAutofit/>
          </a:bodyPr>
          <a:lstStyle>
            <a:lvl1pPr>
              <a:defRPr sz="6000">
                <a:solidFill>
                  <a:schemeClr val="tx2"/>
                </a:solidFill>
                <a:latin typeface="Georgia" panose="02040502050405020303" pitchFamily="18" charset="0"/>
              </a:defRPr>
            </a:lvl1pPr>
          </a:lstStyle>
          <a:p>
            <a:pPr lvl="0"/>
            <a:r>
              <a:rPr lang="en-US" dirty="0"/>
              <a:t>65</a:t>
            </a:r>
          </a:p>
        </p:txBody>
      </p:sp>
      <p:sp>
        <p:nvSpPr>
          <p:cNvPr id="16" name="Text Placeholder 15">
            <a:extLst>
              <a:ext uri="{FF2B5EF4-FFF2-40B4-BE49-F238E27FC236}">
                <a16:creationId xmlns:a16="http://schemas.microsoft.com/office/drawing/2014/main" id="{DF17DBF2-F042-D24C-8260-F4B9A54608F1}"/>
              </a:ext>
            </a:extLst>
          </p:cNvPr>
          <p:cNvSpPr>
            <a:spLocks noGrp="1"/>
          </p:cNvSpPr>
          <p:nvPr>
            <p:ph type="body" sz="quarter" idx="13" hasCustomPrompt="1"/>
          </p:nvPr>
        </p:nvSpPr>
        <p:spPr>
          <a:xfrm>
            <a:off x="1643974" y="3015946"/>
            <a:ext cx="3919981" cy="914400"/>
          </a:xfrm>
        </p:spPr>
        <p:txBody>
          <a:bodyPr lIns="0" rIns="0">
            <a:noAutofit/>
          </a:bodyPr>
          <a:lstStyle>
            <a:lvl1pPr>
              <a:defRPr sz="1800">
                <a:solidFill>
                  <a:schemeClr val="bg2">
                    <a:lumMod val="50000"/>
                  </a:schemeClr>
                </a:solidFill>
              </a:defRPr>
            </a:lvl1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sp>
        <p:nvSpPr>
          <p:cNvPr id="18" name="Text Placeholder 17">
            <a:extLst>
              <a:ext uri="{FF2B5EF4-FFF2-40B4-BE49-F238E27FC236}">
                <a16:creationId xmlns:a16="http://schemas.microsoft.com/office/drawing/2014/main" id="{08B71C2C-BBDD-DF4A-8320-A5BAAC9D8469}"/>
              </a:ext>
            </a:extLst>
          </p:cNvPr>
          <p:cNvSpPr>
            <a:spLocks noGrp="1"/>
          </p:cNvSpPr>
          <p:nvPr>
            <p:ph type="body" sz="quarter" idx="14" hasCustomPrompt="1"/>
          </p:nvPr>
        </p:nvSpPr>
        <p:spPr>
          <a:xfrm>
            <a:off x="1643974" y="4351313"/>
            <a:ext cx="3919981" cy="914400"/>
          </a:xfrm>
        </p:spPr>
        <p:txBody>
          <a:bodyPr lIns="0" rIns="0">
            <a:noAutofit/>
          </a:bodyPr>
          <a:lstStyle>
            <a:lvl1pPr>
              <a:defRPr sz="1800">
                <a:solidFill>
                  <a:schemeClr val="bg2">
                    <a:lumMod val="50000"/>
                  </a:schemeClr>
                </a:solidFill>
              </a:defRPr>
            </a:lvl1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uis vitae </a:t>
            </a:r>
            <a:r>
              <a:rPr lang="en-US" dirty="0" err="1"/>
              <a:t>interdum</a:t>
            </a:r>
            <a:r>
              <a:rPr lang="en-US" dirty="0"/>
              <a:t> diam, non </a:t>
            </a:r>
            <a:r>
              <a:rPr lang="en-US" dirty="0" err="1"/>
              <a:t>aliquet</a:t>
            </a:r>
            <a:r>
              <a:rPr lang="en-US" dirty="0"/>
              <a:t> </a:t>
            </a:r>
            <a:r>
              <a:rPr lang="en-US" dirty="0" err="1"/>
              <a:t>enim</a:t>
            </a:r>
            <a:r>
              <a:rPr lang="en-US" dirty="0"/>
              <a:t>.</a:t>
            </a:r>
          </a:p>
        </p:txBody>
      </p:sp>
      <p:pic>
        <p:nvPicPr>
          <p:cNvPr id="12" name="Picture 11">
            <a:extLst>
              <a:ext uri="{FF2B5EF4-FFF2-40B4-BE49-F238E27FC236}">
                <a16:creationId xmlns:a16="http://schemas.microsoft.com/office/drawing/2014/main" id="{E57D00BA-0877-AA4B-9D8D-7FA9EB72425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437197" y="6356350"/>
            <a:ext cx="501650" cy="501650"/>
          </a:xfrm>
          <a:prstGeom prst="rect">
            <a:avLst/>
          </a:prstGeom>
        </p:spPr>
      </p:pic>
      <p:sp>
        <p:nvSpPr>
          <p:cNvPr id="14" name="Footer Placeholder 3">
            <a:extLst>
              <a:ext uri="{FF2B5EF4-FFF2-40B4-BE49-F238E27FC236}">
                <a16:creationId xmlns:a16="http://schemas.microsoft.com/office/drawing/2014/main" id="{9DFA8B3E-366E-FE40-A42F-DA21F5331B61}"/>
              </a:ext>
            </a:extLst>
          </p:cNvPr>
          <p:cNvSpPr>
            <a:spLocks noGrp="1"/>
          </p:cNvSpPr>
          <p:nvPr>
            <p:ph type="ftr" sz="quarter" idx="15"/>
          </p:nvPr>
        </p:nvSpPr>
        <p:spPr>
          <a:xfrm>
            <a:off x="1339850" y="6514977"/>
            <a:ext cx="3792589" cy="365125"/>
          </a:xfrm>
        </p:spPr>
        <p:txBody>
          <a:bodyPr/>
          <a:lstStyle/>
          <a:p>
            <a:r>
              <a:rPr lang="en-US" sz="800"/>
              <a:t>Copyright © 2019 Oracle and/or its affiliates.</a:t>
            </a:r>
            <a:endParaRPr lang="en-US" sz="800" dirty="0"/>
          </a:p>
        </p:txBody>
      </p:sp>
      <p:sp>
        <p:nvSpPr>
          <p:cNvPr id="17" name="Slide Number Placeholder 3">
            <a:extLst>
              <a:ext uri="{FF2B5EF4-FFF2-40B4-BE49-F238E27FC236}">
                <a16:creationId xmlns:a16="http://schemas.microsoft.com/office/drawing/2014/main" id="{2B329E8B-B27D-4C46-A234-2375444B9465}"/>
              </a:ext>
            </a:extLst>
          </p:cNvPr>
          <p:cNvSpPr>
            <a:spLocks noGrp="1"/>
          </p:cNvSpPr>
          <p:nvPr>
            <p:ph type="sldNum" sz="quarter" idx="4"/>
          </p:nvPr>
        </p:nvSpPr>
        <p:spPr>
          <a:xfrm>
            <a:off x="761287" y="6507623"/>
            <a:ext cx="578563"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a:solidFill>
                  <a:schemeClr val="tx1">
                    <a:tint val="75000"/>
                  </a:schemeClr>
                </a:solidFill>
                <a:latin typeface="Oracle Sans" panose="020B0503020204020204" pitchFamily="34" charset="0"/>
                <a:cs typeface="Oracle Sans" panose="020B0503020204020204" pitchFamily="34" charset="0"/>
              </a:defRPr>
            </a:lvl1pPr>
          </a:lstStyle>
          <a:p>
            <a:fld id="{D440507A-669E-A943-A4A7-E531D638091A}" type="slidenum">
              <a:rPr lang="en-US" smtClean="0">
                <a:solidFill>
                  <a:srgbClr val="4E3629">
                    <a:tint val="75000"/>
                  </a:srgbClr>
                </a:solidFill>
              </a:rPr>
              <a:pPr/>
              <a:t>‹N°›</a:t>
            </a:fld>
            <a:endParaRPr lang="en-US" dirty="0">
              <a:solidFill>
                <a:srgbClr val="4E3629">
                  <a:tint val="75000"/>
                </a:srgbClr>
              </a:solidFill>
            </a:endParaRPr>
          </a:p>
        </p:txBody>
      </p:sp>
    </p:spTree>
    <p:extLst>
      <p:ext uri="{BB962C8B-B14F-4D97-AF65-F5344CB8AC3E}">
        <p14:creationId xmlns:p14="http://schemas.microsoft.com/office/powerpoint/2010/main" val="2276932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rk Title slide with picture border">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5A834A-43F9-4474-9552-1B566FAA27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16" y="834553"/>
            <a:ext cx="1325468" cy="174051"/>
          </a:xfrm>
          <a:prstGeom prst="rect">
            <a:avLst/>
          </a:prstGeom>
        </p:spPr>
      </p:pic>
      <p:pic>
        <p:nvPicPr>
          <p:cNvPr id="14" name="Picture 13" descr="A picture containing table, elephant, clothing&#10;&#10;Description automatically generated">
            <a:extLst>
              <a:ext uri="{FF2B5EF4-FFF2-40B4-BE49-F238E27FC236}">
                <a16:creationId xmlns:a16="http://schemas.microsoft.com/office/drawing/2014/main" id="{7C1B8942-1252-40E6-8C4B-37AD51638E26}"/>
              </a:ext>
            </a:extLst>
          </p:cNvPr>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a:xfrm>
            <a:off x="-1" y="0"/>
            <a:ext cx="12192000" cy="6858000"/>
          </a:xfrm>
          <a:custGeom>
            <a:avLst/>
            <a:gdLst>
              <a:gd name="connsiteX0" fmla="*/ 722372 w 12192000"/>
              <a:gd name="connsiteY0" fmla="*/ 587874 h 6858000"/>
              <a:gd name="connsiteX1" fmla="*/ 722372 w 12192000"/>
              <a:gd name="connsiteY1" fmla="*/ 6270127 h 6858000"/>
              <a:gd name="connsiteX2" fmla="*/ 11469630 w 12192000"/>
              <a:gd name="connsiteY2" fmla="*/ 6270127 h 6858000"/>
              <a:gd name="connsiteX3" fmla="*/ 1146963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22372" y="587874"/>
                </a:moveTo>
                <a:lnTo>
                  <a:pt x="722372" y="6270127"/>
                </a:lnTo>
                <a:lnTo>
                  <a:pt x="11469630" y="6270127"/>
                </a:lnTo>
                <a:lnTo>
                  <a:pt x="11469630" y="587874"/>
                </a:lnTo>
                <a:close/>
                <a:moveTo>
                  <a:pt x="0" y="0"/>
                </a:moveTo>
                <a:lnTo>
                  <a:pt x="12192000" y="0"/>
                </a:lnTo>
                <a:lnTo>
                  <a:pt x="12192000" y="6858000"/>
                </a:lnTo>
                <a:lnTo>
                  <a:pt x="0" y="6858000"/>
                </a:lnTo>
                <a:close/>
              </a:path>
            </a:pathLst>
          </a:custGeom>
        </p:spPr>
      </p:pic>
      <p:sp>
        <p:nvSpPr>
          <p:cNvPr id="20" name="Rectangle 19">
            <a:extLst>
              <a:ext uri="{FF2B5EF4-FFF2-40B4-BE49-F238E27FC236}">
                <a16:creationId xmlns:a16="http://schemas.microsoft.com/office/drawing/2014/main" id="{DD9CD23F-B20E-499B-9C1E-B99F1B32803A}"/>
              </a:ext>
            </a:extLst>
          </p:cNvPr>
          <p:cNvSpPr/>
          <p:nvPr userDrawn="1"/>
        </p:nvSpPr>
        <p:spPr>
          <a:xfrm>
            <a:off x="11356270" y="54944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9">
            <a:extLst>
              <a:ext uri="{FF2B5EF4-FFF2-40B4-BE49-F238E27FC236}">
                <a16:creationId xmlns:a16="http://schemas.microsoft.com/office/drawing/2014/main" id="{C08E0869-9921-1B40-A001-9F36EFAFD21B}"/>
              </a:ext>
            </a:extLst>
          </p:cNvPr>
          <p:cNvSpPr>
            <a:spLocks noGrp="1"/>
          </p:cNvSpPr>
          <p:nvPr>
            <p:ph type="body" sz="quarter" idx="13" hasCustomPrompt="1"/>
          </p:nvPr>
        </p:nvSpPr>
        <p:spPr>
          <a:xfrm>
            <a:off x="1053611" y="3892527"/>
            <a:ext cx="10073301" cy="1830180"/>
          </a:xfrm>
        </p:spPr>
        <p:txBody>
          <a:bodyPr lIns="0" rIns="0">
            <a:noAutofit/>
          </a:bodyPr>
          <a:lstStyle>
            <a:lvl1pPr marL="0" indent="0">
              <a:lnSpc>
                <a:spcPts val="1400"/>
              </a:lnSpc>
              <a:buFont typeface="+mj-lt"/>
              <a:buNone/>
              <a:defRPr sz="1600" b="0" i="0">
                <a:solidFill>
                  <a:srgbClr val="ECB85A"/>
                </a:solidFill>
                <a:latin typeface="Oracle Sans" panose="020B0503020204020204" pitchFamily="34" charset="0"/>
                <a:cs typeface="Oracle Sans" panose="020B0503020204020204" pitchFamily="34" charset="0"/>
              </a:defRPr>
            </a:lvl1pPr>
            <a:lvl5pPr>
              <a:defRPr/>
            </a:lvl5pPr>
          </a:lstStyle>
          <a:p>
            <a:pPr lvl="0"/>
            <a:r>
              <a:rPr lang="en-US" dirty="0"/>
              <a:t>Click to add presenter’s name, title, division/business unit/organization and date</a:t>
            </a:r>
          </a:p>
          <a:p>
            <a:pPr lvl="0"/>
            <a:endParaRPr lang="en-US" dirty="0"/>
          </a:p>
        </p:txBody>
      </p:sp>
      <p:sp>
        <p:nvSpPr>
          <p:cNvPr id="34" name="Title 10">
            <a:extLst>
              <a:ext uri="{FF2B5EF4-FFF2-40B4-BE49-F238E27FC236}">
                <a16:creationId xmlns:a16="http://schemas.microsoft.com/office/drawing/2014/main" id="{10C122FE-A35D-4D48-9A96-B6651F81A0F0}"/>
              </a:ext>
            </a:extLst>
          </p:cNvPr>
          <p:cNvSpPr>
            <a:spLocks noGrp="1"/>
          </p:cNvSpPr>
          <p:nvPr>
            <p:ph type="title"/>
          </p:nvPr>
        </p:nvSpPr>
        <p:spPr>
          <a:xfrm>
            <a:off x="1050568" y="2268194"/>
            <a:ext cx="10076344" cy="909981"/>
          </a:xfrm>
        </p:spPr>
        <p:txBody>
          <a:bodyPr/>
          <a:lstStyle/>
          <a:p>
            <a:r>
              <a:rPr lang="en-US"/>
              <a:t>Click to edit Master title style</a:t>
            </a:r>
            <a:endParaRPr lang="en-US" dirty="0"/>
          </a:p>
        </p:txBody>
      </p:sp>
      <p:sp>
        <p:nvSpPr>
          <p:cNvPr id="35" name="Text Placeholder 10">
            <a:extLst>
              <a:ext uri="{FF2B5EF4-FFF2-40B4-BE49-F238E27FC236}">
                <a16:creationId xmlns:a16="http://schemas.microsoft.com/office/drawing/2014/main" id="{A6301C15-7797-A94F-B73F-2D2FFD904608}"/>
              </a:ext>
            </a:extLst>
          </p:cNvPr>
          <p:cNvSpPr>
            <a:spLocks noGrp="1"/>
          </p:cNvSpPr>
          <p:nvPr>
            <p:ph type="body" sz="quarter" idx="15" hasCustomPrompt="1"/>
          </p:nvPr>
        </p:nvSpPr>
        <p:spPr>
          <a:xfrm>
            <a:off x="1050568" y="3214300"/>
            <a:ext cx="10076344" cy="416073"/>
          </a:xfrm>
        </p:spPr>
        <p:txBody>
          <a:bodyPr wrap="none" lIns="0">
            <a:noAutofit/>
          </a:bodyPr>
          <a:lstStyle>
            <a:lvl1pPr marL="0" indent="0">
              <a:spcBef>
                <a:spcPts val="0"/>
              </a:spcBef>
              <a:buNone/>
              <a:defRPr sz="2400" b="1" i="0">
                <a:latin typeface="Oracle Sans" panose="020B0503020204020204" pitchFamily="34" charset="0"/>
                <a:cs typeface="Oracle Sans" panose="020B0503020204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subtitle</a:t>
            </a:r>
          </a:p>
        </p:txBody>
      </p:sp>
      <p:pic>
        <p:nvPicPr>
          <p:cNvPr id="12" name="Picture 11">
            <a:extLst>
              <a:ext uri="{FF2B5EF4-FFF2-40B4-BE49-F238E27FC236}">
                <a16:creationId xmlns:a16="http://schemas.microsoft.com/office/drawing/2014/main" id="{89BCFA5F-5611-BA47-A551-0D3BA36CA75C}"/>
              </a:ext>
            </a:extLst>
          </p:cNvPr>
          <p:cNvPicPr>
            <a:picLocks noChangeAspect="1"/>
          </p:cNvPicPr>
          <p:nvPr userDrawn="1"/>
        </p:nvPicPr>
        <p:blipFill>
          <a:blip r:embed="rId5"/>
          <a:stretch>
            <a:fillRect/>
          </a:stretch>
        </p:blipFill>
        <p:spPr>
          <a:xfrm>
            <a:off x="11437197" y="6356350"/>
            <a:ext cx="501650" cy="501650"/>
          </a:xfrm>
          <a:prstGeom prst="rect">
            <a:avLst/>
          </a:prstGeom>
        </p:spPr>
      </p:pic>
      <p:sp>
        <p:nvSpPr>
          <p:cNvPr id="3" name="Footer Placeholder 2">
            <a:extLst>
              <a:ext uri="{FF2B5EF4-FFF2-40B4-BE49-F238E27FC236}">
                <a16:creationId xmlns:a16="http://schemas.microsoft.com/office/drawing/2014/main" id="{70ADB96B-56B7-46AB-80A5-E740BBCB8B19}"/>
              </a:ext>
            </a:extLst>
          </p:cNvPr>
          <p:cNvSpPr>
            <a:spLocks noGrp="1"/>
          </p:cNvSpPr>
          <p:nvPr>
            <p:ph type="ftr" sz="quarter" idx="16"/>
          </p:nvPr>
        </p:nvSpPr>
        <p:spPr/>
        <p:txBody>
          <a:bodyPr/>
          <a:lstStyle>
            <a:lvl1pPr>
              <a:defRPr>
                <a:solidFill>
                  <a:schemeClr val="bg1"/>
                </a:solidFill>
              </a:defRPr>
            </a:lvl1pPr>
          </a:lstStyle>
          <a:p>
            <a:r>
              <a:rPr lang="en-US"/>
              <a:t>Confidential – © 2019 Oracle Internal/Restricted/Highly Restricted</a:t>
            </a:r>
            <a:endParaRPr lang="en-US" dirty="0"/>
          </a:p>
        </p:txBody>
      </p:sp>
      <p:sp>
        <p:nvSpPr>
          <p:cNvPr id="4" name="Slide Number Placeholder 3">
            <a:extLst>
              <a:ext uri="{FF2B5EF4-FFF2-40B4-BE49-F238E27FC236}">
                <a16:creationId xmlns:a16="http://schemas.microsoft.com/office/drawing/2014/main" id="{1B40259F-EE98-4E77-9839-4C299CEA3019}"/>
              </a:ext>
            </a:extLst>
          </p:cNvPr>
          <p:cNvSpPr>
            <a:spLocks noGrp="1"/>
          </p:cNvSpPr>
          <p:nvPr>
            <p:ph type="sldNum" sz="quarter" idx="17"/>
          </p:nvPr>
        </p:nvSpPr>
        <p:spPr/>
        <p:txBody>
          <a:bodyPr/>
          <a:lstStyle>
            <a:lvl1pPr>
              <a:defRPr>
                <a:solidFill>
                  <a:schemeClr val="bg1"/>
                </a:solidFill>
              </a:defRPr>
            </a:lvl1p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44331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0_Text Page_Blue">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2394AD5B-EDB1-1C41-9293-C1EF57CACA72}"/>
              </a:ext>
            </a:extLst>
          </p:cNvPr>
          <p:cNvSpPr>
            <a:spLocks noGrp="1"/>
          </p:cNvSpPr>
          <p:nvPr>
            <p:ph type="title"/>
          </p:nvPr>
        </p:nvSpPr>
        <p:spPr>
          <a:xfrm>
            <a:off x="531950" y="548640"/>
            <a:ext cx="11128098" cy="889000"/>
          </a:xfrm>
        </p:spPr>
        <p:txBody>
          <a:bodyPr anchor="b"/>
          <a:lstStyle>
            <a:lvl1pPr>
              <a:defRPr>
                <a:solidFill>
                  <a:srgbClr val="4E5052"/>
                </a:solidFill>
              </a:defRPr>
            </a:lvl1pPr>
          </a:lstStyle>
          <a:p>
            <a:r>
              <a:rPr lang="en-US"/>
              <a:t>Click to edit Master title style</a:t>
            </a:r>
            <a:endParaRPr dirty="0"/>
          </a:p>
        </p:txBody>
      </p:sp>
      <p:sp>
        <p:nvSpPr>
          <p:cNvPr id="5" name="Slide Number Placeholder 4"/>
          <p:cNvSpPr>
            <a:spLocks noGrp="1"/>
          </p:cNvSpPr>
          <p:nvPr>
            <p:ph type="sldNum" sz="quarter" idx="12"/>
          </p:nvPr>
        </p:nvSpPr>
        <p:spPr/>
        <p:txBody>
          <a:bodyPr/>
          <a:lstStyle>
            <a:lvl1pPr>
              <a:defRPr>
                <a:solidFill>
                  <a:srgbClr val="4E5052"/>
                </a:solidFill>
              </a:defRPr>
            </a:lvl1pPr>
          </a:lstStyle>
          <a:p>
            <a:fld id="{C51EAA63-D034-42AE-91FA-B13B9518C7BE}" type="slidenum">
              <a:rPr lang="en-US" smtClean="0"/>
              <a:pPr/>
              <a:t>‹N°›</a:t>
            </a:fld>
            <a:endParaRPr lang="en-US" dirty="0"/>
          </a:p>
        </p:txBody>
      </p:sp>
      <p:sp>
        <p:nvSpPr>
          <p:cNvPr id="17" name="Footer Placeholder 16">
            <a:extLst>
              <a:ext uri="{FF2B5EF4-FFF2-40B4-BE49-F238E27FC236}">
                <a16:creationId xmlns:a16="http://schemas.microsoft.com/office/drawing/2014/main" id="{9B59A3FD-949D-CC4A-8AA9-F99C1A50D3FD}"/>
              </a:ext>
            </a:extLst>
          </p:cNvPr>
          <p:cNvSpPr>
            <a:spLocks noGrp="1"/>
          </p:cNvSpPr>
          <p:nvPr>
            <p:ph type="ftr" sz="quarter" idx="15"/>
          </p:nvPr>
        </p:nvSpPr>
        <p:spPr>
          <a:xfrm>
            <a:off x="3009027" y="6556248"/>
            <a:ext cx="8232396" cy="182880"/>
          </a:xfrm>
        </p:spPr>
        <p:txBody>
          <a:bodyPr/>
          <a:lstStyle>
            <a:lvl1pPr>
              <a:defRPr>
                <a:solidFill>
                  <a:srgbClr val="4E5052"/>
                </a:solidFill>
              </a:defRPr>
            </a:lvl1pPr>
          </a:lstStyle>
          <a:p>
            <a:r>
              <a:rPr lang="en-IN" dirty="0"/>
              <a:t>Copyright © 2019, Oracle and/or its affiliates. All rights reserved.</a:t>
            </a:r>
            <a:endParaRPr lang="en-US" dirty="0"/>
          </a:p>
        </p:txBody>
      </p:sp>
      <p:sp>
        <p:nvSpPr>
          <p:cNvPr id="10" name="Text Placeholder 11">
            <a:extLst>
              <a:ext uri="{FF2B5EF4-FFF2-40B4-BE49-F238E27FC236}">
                <a16:creationId xmlns:a16="http://schemas.microsoft.com/office/drawing/2014/main" id="{406AF51B-3909-2240-A3B4-A3E714163FB5}"/>
              </a:ext>
            </a:extLst>
          </p:cNvPr>
          <p:cNvSpPr>
            <a:spLocks noGrp="1"/>
          </p:cNvSpPr>
          <p:nvPr>
            <p:ph type="body" sz="quarter" idx="14"/>
          </p:nvPr>
        </p:nvSpPr>
        <p:spPr>
          <a:xfrm>
            <a:off x="531953" y="2362201"/>
            <a:ext cx="11128096" cy="3696445"/>
          </a:xfrm>
          <a:prstGeom prst="rect">
            <a:avLst/>
          </a:prstGeom>
        </p:spPr>
        <p:txBody>
          <a:bodyPr/>
          <a:lstStyle>
            <a:lvl1pPr>
              <a:defRPr sz="2399">
                <a:solidFill>
                  <a:srgbClr val="4E5052"/>
                </a:solidFill>
              </a:defRPr>
            </a:lvl1pPr>
            <a:lvl2pPr>
              <a:defRPr sz="1999">
                <a:solidFill>
                  <a:srgbClr val="4E5052"/>
                </a:solidFill>
              </a:defRPr>
            </a:lvl2pPr>
            <a:lvl3pPr>
              <a:defRPr sz="1999">
                <a:solidFill>
                  <a:srgbClr val="4E5052"/>
                </a:solidFill>
              </a:defRPr>
            </a:lvl3pPr>
            <a:lvl4pPr>
              <a:defRPr sz="1799">
                <a:solidFill>
                  <a:srgbClr val="4E5052"/>
                </a:solidFill>
              </a:defRPr>
            </a:lvl4pPr>
            <a:lvl5pPr>
              <a:defRPr sz="1600">
                <a:solidFill>
                  <a:srgbClr val="4E505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Oracle logo in white on red staging background" title="Oracle red badge logo">
            <a:extLst>
              <a:ext uri="{FF2B5EF4-FFF2-40B4-BE49-F238E27FC236}">
                <a16:creationId xmlns:a16="http://schemas.microsoft.com/office/drawing/2014/main" id="{2BA8DA30-EB1E-EF41-ACA4-21FC7D1F7D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0490" y="6263640"/>
            <a:ext cx="1625561" cy="594360"/>
          </a:xfrm>
          <a:prstGeom prst="rect">
            <a:avLst/>
          </a:prstGeom>
        </p:spPr>
      </p:pic>
      <p:sp>
        <p:nvSpPr>
          <p:cNvPr id="9" name="Text Placeholder 16">
            <a:extLst>
              <a:ext uri="{FF2B5EF4-FFF2-40B4-BE49-F238E27FC236}">
                <a16:creationId xmlns:a16="http://schemas.microsoft.com/office/drawing/2014/main" id="{196C59FC-3B84-8E48-BB6D-FE8F4B09729E}"/>
              </a:ext>
            </a:extLst>
          </p:cNvPr>
          <p:cNvSpPr>
            <a:spLocks noGrp="1"/>
          </p:cNvSpPr>
          <p:nvPr>
            <p:ph type="body" sz="quarter" idx="16"/>
          </p:nvPr>
        </p:nvSpPr>
        <p:spPr>
          <a:xfrm>
            <a:off x="530362" y="1616076"/>
            <a:ext cx="11146519" cy="487044"/>
          </a:xfrm>
        </p:spPr>
        <p:txBody>
          <a:bodyPr lIns="0" tIns="0" rIns="0" bIns="0" anchor="t"/>
          <a:lstStyle>
            <a:lvl1pPr marL="0" indent="0">
              <a:buNone/>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p:txBody>
      </p:sp>
      <p:pic>
        <p:nvPicPr>
          <p:cNvPr id="11" name="Picture 10" descr="A close up of a logo&#10;&#10;Description automatically generated">
            <a:extLst>
              <a:ext uri="{FF2B5EF4-FFF2-40B4-BE49-F238E27FC236}">
                <a16:creationId xmlns:a16="http://schemas.microsoft.com/office/drawing/2014/main" id="{4CA71067-212F-3C47-910E-2E1BF8C786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1326" y="2946400"/>
            <a:ext cx="1422771" cy="3911600"/>
          </a:xfrm>
          <a:prstGeom prst="rect">
            <a:avLst/>
          </a:prstGeom>
        </p:spPr>
      </p:pic>
      <p:pic>
        <p:nvPicPr>
          <p:cNvPr id="14" name="Picture 13" descr="A close up of a logo&#10;&#10;Description automatically generated">
            <a:extLst>
              <a:ext uri="{FF2B5EF4-FFF2-40B4-BE49-F238E27FC236}">
                <a16:creationId xmlns:a16="http://schemas.microsoft.com/office/drawing/2014/main" id="{41A17C9A-F670-5942-B596-C763E9B6E3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6050"/>
            <a:ext cx="1283034" cy="2552700"/>
          </a:xfrm>
          <a:prstGeom prst="rect">
            <a:avLst/>
          </a:prstGeom>
        </p:spPr>
      </p:pic>
    </p:spTree>
    <p:extLst>
      <p:ext uri="{BB962C8B-B14F-4D97-AF65-F5344CB8AC3E}">
        <p14:creationId xmlns:p14="http://schemas.microsoft.com/office/powerpoint/2010/main" val="226407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33832A-BA28-D545-97CB-A0C106311216}" type="datetimeFigureOut">
              <a:rPr lang="fr-FR" smtClean="0"/>
              <a:t>20/06/2022</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97D2C188-96E9-C44C-82E0-D036C3F27D8F}" type="slidenum">
              <a:rPr lang="fr-FR" smtClean="0"/>
              <a:t>‹N°›</a:t>
            </a:fld>
            <a:endParaRPr lang="fr-FR"/>
          </a:p>
        </p:txBody>
      </p:sp>
    </p:spTree>
    <p:extLst>
      <p:ext uri="{BB962C8B-B14F-4D97-AF65-F5344CB8AC3E}">
        <p14:creationId xmlns:p14="http://schemas.microsoft.com/office/powerpoint/2010/main" val="37357765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Light - Title Only">
    <p:spTree>
      <p:nvGrpSpPr>
        <p:cNvPr id="1" name=""/>
        <p:cNvGrpSpPr/>
        <p:nvPr/>
      </p:nvGrpSpPr>
      <p:grpSpPr>
        <a:xfrm>
          <a:off x="0" y="0"/>
          <a:ext cx="0" cy="0"/>
          <a:chOff x="0" y="0"/>
          <a:chExt cx="0" cy="0"/>
        </a:xfrm>
      </p:grpSpPr>
      <p:pic>
        <p:nvPicPr>
          <p:cNvPr id="7" name="Cloud">
            <a:extLst>
              <a:ext uri="{FF2B5EF4-FFF2-40B4-BE49-F238E27FC236}">
                <a16:creationId xmlns:a16="http://schemas.microsoft.com/office/drawing/2014/main" id="{A52109B5-4152-894B-9BF6-17B5458CC9C7}"/>
              </a:ext>
              <a:ext uri="{C183D7F6-B498-43B3-948B-1728B52AA6E4}">
                <adec:decorative xmlns:adec="http://schemas.microsoft.com/office/drawing/2017/decorative" val="1"/>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Lst>
          </a:blip>
          <a:stretch>
            <a:fillRect/>
          </a:stretch>
        </p:blipFill>
        <p:spPr>
          <a:xfrm>
            <a:off x="6705731" y="269359"/>
            <a:ext cx="5080369" cy="1559442"/>
          </a:xfrm>
          <a:prstGeom prst="rect">
            <a:avLst/>
          </a:prstGeom>
        </p:spPr>
      </p:pic>
      <p:sp>
        <p:nvSpPr>
          <p:cNvPr id="4" name="Title 3">
            <a:extLst>
              <a:ext uri="{FF2B5EF4-FFF2-40B4-BE49-F238E27FC236}">
                <a16:creationId xmlns:a16="http://schemas.microsoft.com/office/drawing/2014/main" id="{F5090641-BB3E-479D-A754-1B2B6F37AEB9}"/>
              </a:ext>
            </a:extLst>
          </p:cNvPr>
          <p:cNvSpPr>
            <a:spLocks noGrp="1"/>
          </p:cNvSpPr>
          <p:nvPr>
            <p:ph type="title" hasCustomPrompt="1"/>
            <p:custDataLst>
              <p:tags r:id="rId2"/>
            </p:custDataLst>
          </p:nvPr>
        </p:nvSpPr>
        <p:spPr/>
        <p:txBody>
          <a:bodyPr/>
          <a:lstStyle>
            <a:lvl1pPr>
              <a:defRPr/>
            </a:lvl1pPr>
          </a:lstStyle>
          <a:p>
            <a:r>
              <a:rPr lang="en-US"/>
              <a:t>Title</a:t>
            </a:r>
          </a:p>
        </p:txBody>
      </p:sp>
      <p:sp>
        <p:nvSpPr>
          <p:cNvPr id="2" name="Date Placeholder 1">
            <a:extLst>
              <a:ext uri="{FF2B5EF4-FFF2-40B4-BE49-F238E27FC236}">
                <a16:creationId xmlns:a16="http://schemas.microsoft.com/office/drawing/2014/main" id="{1153D77D-CD9E-445C-8F26-904F65B519A3}"/>
              </a:ext>
            </a:extLst>
          </p:cNvPr>
          <p:cNvSpPr>
            <a:spLocks noGrp="1"/>
          </p:cNvSpPr>
          <p:nvPr>
            <p:ph type="dt" sz="half" idx="10"/>
            <p:custDataLst>
              <p:tags r:id="rId3"/>
            </p:custDataLst>
          </p:nvPr>
        </p:nvSpPr>
        <p:spPr/>
        <p:txBody>
          <a:bodyPr/>
          <a:lstStyle/>
          <a:p>
            <a:r>
              <a:rPr lang="en-US"/>
              <a:t>[Date]</a:t>
            </a:r>
          </a:p>
        </p:txBody>
      </p:sp>
      <p:sp>
        <p:nvSpPr>
          <p:cNvPr id="5" name="Footer Placeholder 4">
            <a:extLst>
              <a:ext uri="{FF2B5EF4-FFF2-40B4-BE49-F238E27FC236}">
                <a16:creationId xmlns:a16="http://schemas.microsoft.com/office/drawing/2014/main" id="{50DAEFA0-C12C-4365-A532-D29F819542E1}"/>
              </a:ext>
            </a:extLst>
          </p:cNvPr>
          <p:cNvSpPr>
            <a:spLocks noGrp="1"/>
          </p:cNvSpPr>
          <p:nvPr>
            <p:ph type="ftr" sz="quarter" idx="11"/>
            <p:custDataLst>
              <p:tags r:id="rId4"/>
            </p:custDataLst>
          </p:nvPr>
        </p:nvSpPr>
        <p:spPr/>
        <p:txBody>
          <a:bodyPr/>
          <a:lstStyle/>
          <a:p>
            <a:r>
              <a:rPr lang="en-US"/>
              <a:t>Copyright © 2020, Oracle and/or its affiliates  |  Confidential: Internal/Restricted/Highly Restricted</a:t>
            </a:r>
          </a:p>
        </p:txBody>
      </p:sp>
      <p:sp>
        <p:nvSpPr>
          <p:cNvPr id="6" name="Slide Number Placeholder 5">
            <a:extLst>
              <a:ext uri="{FF2B5EF4-FFF2-40B4-BE49-F238E27FC236}">
                <a16:creationId xmlns:a16="http://schemas.microsoft.com/office/drawing/2014/main" id="{9E6038FD-33E0-4C25-AC00-13FEB177A45C}"/>
              </a:ext>
            </a:extLst>
          </p:cNvPr>
          <p:cNvSpPr>
            <a:spLocks noGrp="1"/>
          </p:cNvSpPr>
          <p:nvPr>
            <p:ph type="sldNum" sz="quarter" idx="12"/>
            <p:custDataLst>
              <p:tags r:id="rId5"/>
            </p:custDataLst>
          </p:nvPr>
        </p:nvSpPr>
        <p:spPr/>
        <p:txBody>
          <a:bodyPr/>
          <a:lstStyle/>
          <a:p>
            <a:fld id="{345D60D9-5372-5F40-9443-0F9AE5BDC3C8}" type="slidenum">
              <a:rPr lang="en-US" smtClean="0"/>
              <a:t>‹N°›</a:t>
            </a:fld>
            <a:endParaRPr lang="en-US"/>
          </a:p>
        </p:txBody>
      </p:sp>
    </p:spTree>
    <p:extLst>
      <p:ext uri="{BB962C8B-B14F-4D97-AF65-F5344CB8AC3E}">
        <p14:creationId xmlns:p14="http://schemas.microsoft.com/office/powerpoint/2010/main" val="255690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ark - Quote with Abstract Border">
    <p:bg>
      <p:bgPr>
        <a:solidFill>
          <a:srgbClr val="E0E2E1"/>
        </a:solidFill>
        <a:effectLst/>
      </p:bgPr>
    </p:bg>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95A033EA-7970-B64A-B936-A4621582ECE2}"/>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chemeClr val="bg1"/>
                </a:solidFill>
              </a:defRPr>
            </a:lvl1pPr>
          </a:lstStyle>
          <a:p>
            <a:fld id="{345D60D9-5372-5F40-9443-0F9AE5BDC3C8}" type="slidenum">
              <a:rPr lang="en-US" smtClean="0">
                <a:solidFill>
                  <a:srgbClr val="FCFBFA"/>
                </a:solidFill>
              </a:rPr>
              <a:pPr/>
              <a:t>‹N°›</a:t>
            </a:fld>
            <a:endParaRPr lang="en-US">
              <a:solidFill>
                <a:srgbClr val="FCFBFA"/>
              </a:solidFill>
            </a:endParaRPr>
          </a:p>
        </p:txBody>
      </p:sp>
      <p:sp>
        <p:nvSpPr>
          <p:cNvPr id="14" name="Footer">
            <a:extLst>
              <a:ext uri="{FF2B5EF4-FFF2-40B4-BE49-F238E27FC236}">
                <a16:creationId xmlns:a16="http://schemas.microsoft.com/office/drawing/2014/main" id="{F5A1D35E-0648-8146-B3F4-DF957F5A69B5}"/>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chemeClr val="bg1"/>
                </a:solidFill>
              </a:defRPr>
            </a:lvl1pPr>
          </a:lstStyle>
          <a:p>
            <a:r>
              <a:rPr lang="en-US">
                <a:solidFill>
                  <a:srgbClr val="FCFBFA"/>
                </a:solidFill>
              </a:rPr>
              <a:t>Copyright © 2019, Oracle and/or its affiliates. All rights reserved.</a:t>
            </a:r>
          </a:p>
        </p:txBody>
      </p:sp>
      <p:cxnSp>
        <p:nvCxnSpPr>
          <p:cNvPr id="21" name="Accent Mark">
            <a:extLst>
              <a:ext uri="{FF2B5EF4-FFF2-40B4-BE49-F238E27FC236}">
                <a16:creationId xmlns:a16="http://schemas.microsoft.com/office/drawing/2014/main" id="{07C84D47-A05F-1B4C-B629-729C7FD3826E}"/>
              </a:ext>
            </a:extLst>
          </p:cNvPr>
          <p:cNvCxnSpPr/>
          <p:nvPr userDrawn="1"/>
        </p:nvCxnSpPr>
        <p:spPr>
          <a:xfrm flipH="1">
            <a:off x="1021084"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Quote">
            <a:extLst>
              <a:ext uri="{FF2B5EF4-FFF2-40B4-BE49-F238E27FC236}">
                <a16:creationId xmlns:a16="http://schemas.microsoft.com/office/drawing/2014/main" id="{A623B5CC-1D01-324D-977F-DBEB5E2F1940}"/>
              </a:ext>
            </a:extLst>
          </p:cNvPr>
          <p:cNvSpPr>
            <a:spLocks noGrp="1"/>
          </p:cNvSpPr>
          <p:nvPr>
            <p:ph type="body" sz="quarter" idx="13" hasCustomPrompt="1"/>
          </p:nvPr>
        </p:nvSpPr>
        <p:spPr>
          <a:xfrm>
            <a:off x="1014987" y="2383542"/>
            <a:ext cx="10149840" cy="1477328"/>
          </a:xfrm>
          <a:prstGeom prst="rect">
            <a:avLst/>
          </a:prstGeom>
        </p:spPr>
        <p:txBody>
          <a:bodyPr wrap="square" lIns="0" anchor="b" anchorCtr="0">
            <a:noAutofit/>
          </a:bodyPr>
          <a:lstStyle>
            <a:lvl1pPr marL="0" indent="0" algn="l" fontAlgn="t">
              <a:lnSpc>
                <a:spcPct val="100000"/>
              </a:lnSpc>
              <a:spcBef>
                <a:spcPct val="0"/>
              </a:spcBef>
              <a:buNone/>
              <a:defRPr sz="3200" b="0" i="0">
                <a:solidFill>
                  <a:schemeClr val="tx1"/>
                </a:solidFill>
                <a:latin typeface="+mj-lt"/>
                <a:cs typeface="Oracle Sans" panose="020B0503020204020204" pitchFamily="34" charset="0"/>
              </a:defRPr>
            </a:lvl1pPr>
          </a:lstStyle>
          <a:p>
            <a:pPr lvl="0"/>
            <a:r>
              <a:rPr lang="en-US"/>
              <a:t>“Click to type customer or partner quote surrounded by quotation marks.” Remove/replace placeholder logo as needed.</a:t>
            </a:r>
          </a:p>
        </p:txBody>
      </p:sp>
      <p:sp>
        <p:nvSpPr>
          <p:cNvPr id="10" name="Text Field">
            <a:extLst>
              <a:ext uri="{FF2B5EF4-FFF2-40B4-BE49-F238E27FC236}">
                <a16:creationId xmlns:a16="http://schemas.microsoft.com/office/drawing/2014/main" id="{805BEE86-35FD-004A-A348-8BC2F7BCD410}"/>
              </a:ext>
            </a:extLst>
          </p:cNvPr>
          <p:cNvSpPr>
            <a:spLocks noGrp="1"/>
          </p:cNvSpPr>
          <p:nvPr>
            <p:ph type="body" sz="quarter" idx="36" hasCustomPrompt="1"/>
          </p:nvPr>
        </p:nvSpPr>
        <p:spPr>
          <a:xfrm>
            <a:off x="1018030" y="4706392"/>
            <a:ext cx="5077970" cy="895181"/>
          </a:xfrm>
        </p:spPr>
        <p:txBody>
          <a:bodyPr>
            <a:noAutofit/>
          </a:bodyPr>
          <a:lstStyle>
            <a:lvl1pPr>
              <a:defRPr>
                <a:solidFill>
                  <a:schemeClr val="tx1"/>
                </a:solidFill>
              </a:defRPr>
            </a:lvl1pPr>
          </a:lstStyle>
          <a:p>
            <a:pPr lvl="0"/>
            <a:r>
              <a:rPr lang="en-US"/>
              <a:t>Presenter’s Title</a:t>
            </a:r>
          </a:p>
          <a:p>
            <a:pPr lvl="0"/>
            <a:r>
              <a:rPr lang="en-US"/>
              <a:t>Organization, Division or Business Unit</a:t>
            </a:r>
          </a:p>
          <a:p>
            <a:pPr lvl="0"/>
            <a:r>
              <a:rPr lang="en-US"/>
              <a:t>Month 00, 2019</a:t>
            </a:r>
          </a:p>
        </p:txBody>
      </p:sp>
      <p:sp>
        <p:nvSpPr>
          <p:cNvPr id="11" name="Text Field">
            <a:extLst>
              <a:ext uri="{FF2B5EF4-FFF2-40B4-BE49-F238E27FC236}">
                <a16:creationId xmlns:a16="http://schemas.microsoft.com/office/drawing/2014/main" id="{B9E3D702-4533-A342-B4A3-7F2D598D004D}"/>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tx1"/>
                </a:solidFill>
              </a:defRPr>
            </a:lvl1pPr>
          </a:lstStyle>
          <a:p>
            <a:pPr lvl="0"/>
            <a:r>
              <a:rPr lang="en-US"/>
              <a:t>Name</a:t>
            </a:r>
          </a:p>
        </p:txBody>
      </p:sp>
      <p:pic>
        <p:nvPicPr>
          <p:cNvPr id="15" name="OTag">
            <a:extLst>
              <a:ext uri="{FF2B5EF4-FFF2-40B4-BE49-F238E27FC236}">
                <a16:creationId xmlns:a16="http://schemas.microsoft.com/office/drawing/2014/main" id="{260FD6A8-BC9C-4B4D-9A35-3385801368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pic>
        <p:nvPicPr>
          <p:cNvPr id="17" name="Picture 16" descr="A picture containing table, elephant, clothing&#10;&#10;Description automatically generated">
            <a:extLst>
              <a:ext uri="{FF2B5EF4-FFF2-40B4-BE49-F238E27FC236}">
                <a16:creationId xmlns:a16="http://schemas.microsoft.com/office/drawing/2014/main" id="{47390C32-CE5E-C948-A883-C9F059B0B6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2192000" cy="6858000"/>
          </a:xfrm>
          <a:custGeom>
            <a:avLst/>
            <a:gdLst>
              <a:gd name="connsiteX0" fmla="*/ 722372 w 12192000"/>
              <a:gd name="connsiteY0" fmla="*/ 587874 h 6858000"/>
              <a:gd name="connsiteX1" fmla="*/ 722372 w 12192000"/>
              <a:gd name="connsiteY1" fmla="*/ 6270127 h 6858000"/>
              <a:gd name="connsiteX2" fmla="*/ 11469630 w 12192000"/>
              <a:gd name="connsiteY2" fmla="*/ 6270127 h 6858000"/>
              <a:gd name="connsiteX3" fmla="*/ 1146963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22372" y="587874"/>
                </a:moveTo>
                <a:lnTo>
                  <a:pt x="722372" y="6270127"/>
                </a:lnTo>
                <a:lnTo>
                  <a:pt x="11469630" y="6270127"/>
                </a:lnTo>
                <a:lnTo>
                  <a:pt x="11469630" y="587874"/>
                </a:lnTo>
                <a:close/>
                <a:moveTo>
                  <a:pt x="0" y="0"/>
                </a:moveTo>
                <a:lnTo>
                  <a:pt x="12192000" y="0"/>
                </a:lnTo>
                <a:lnTo>
                  <a:pt x="12192000" y="6858000"/>
                </a:lnTo>
                <a:lnTo>
                  <a:pt x="0" y="6858000"/>
                </a:lnTo>
                <a:close/>
              </a:path>
            </a:pathLst>
          </a:custGeom>
        </p:spPr>
      </p:pic>
    </p:spTree>
    <p:extLst>
      <p:ext uri="{BB962C8B-B14F-4D97-AF65-F5344CB8AC3E}">
        <p14:creationId xmlns:p14="http://schemas.microsoft.com/office/powerpoint/2010/main" val="2439342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ark - Blank">
    <p:bg>
      <p:bgPr>
        <a:solidFill>
          <a:schemeClr val="tx1"/>
        </a:solidFill>
        <a:effectLst/>
      </p:bgPr>
    </p:bg>
    <p:spTree>
      <p:nvGrpSpPr>
        <p:cNvPr id="1" name=""/>
        <p:cNvGrpSpPr/>
        <p:nvPr/>
      </p:nvGrpSpPr>
      <p:grpSpPr>
        <a:xfrm>
          <a:off x="0" y="0"/>
          <a:ext cx="0" cy="0"/>
          <a:chOff x="0" y="0"/>
          <a:chExt cx="0" cy="0"/>
        </a:xfrm>
      </p:grpSpPr>
      <p:pic>
        <p:nvPicPr>
          <p:cNvPr id="9" name="Data Texture Cloud">
            <a:extLst>
              <a:ext uri="{FF2B5EF4-FFF2-40B4-BE49-F238E27FC236}">
                <a16:creationId xmlns:a16="http://schemas.microsoft.com/office/drawing/2014/main" id="{13510D0A-E32C-124C-BAD6-D29BE0EA5C60}"/>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r="48641"/>
          <a:stretch>
            <a:fillRect/>
          </a:stretch>
        </p:blipFill>
        <p:spPr>
          <a:xfrm>
            <a:off x="9881411" y="521208"/>
            <a:ext cx="2310589" cy="1701811"/>
          </a:xfrm>
          <a:prstGeom prst="rect">
            <a:avLst/>
          </a:prstGeom>
        </p:spPr>
      </p:pic>
      <p:sp>
        <p:nvSpPr>
          <p:cNvPr id="8" name="Slide Number">
            <a:extLst>
              <a:ext uri="{FF2B5EF4-FFF2-40B4-BE49-F238E27FC236}">
                <a16:creationId xmlns:a16="http://schemas.microsoft.com/office/drawing/2014/main" id="{0462D45F-6FA9-224B-ABF3-CE2CA4B78F6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3" name="Footer">
            <a:extLst>
              <a:ext uri="{FF2B5EF4-FFF2-40B4-BE49-F238E27FC236}">
                <a16:creationId xmlns:a16="http://schemas.microsoft.com/office/drawing/2014/main" id="{9B1E2070-87F3-D742-BF48-F11F24FAEC4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pic>
        <p:nvPicPr>
          <p:cNvPr id="7" name="Abstract Pattern Strip">
            <a:extLst>
              <a:ext uri="{FF2B5EF4-FFF2-40B4-BE49-F238E27FC236}">
                <a16:creationId xmlns:a16="http://schemas.microsoft.com/office/drawing/2014/main" id="{1C6BA009-6898-4544-B36F-423AA2D6FE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11" name="OTag">
            <a:extLst>
              <a:ext uri="{FF2B5EF4-FFF2-40B4-BE49-F238E27FC236}">
                <a16:creationId xmlns:a16="http://schemas.microsoft.com/office/drawing/2014/main" id="{4375DCC2-9E21-AB4A-8304-B1BD554BF1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27070376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ight - Title Only">
    <p:bg>
      <p:bgPr>
        <a:solidFill>
          <a:schemeClr val="bg2"/>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9450FB77-997D-6A45-B0F4-D18F7B9C7A4E}"/>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rcRect r="48609"/>
          <a:stretch>
            <a:fillRect/>
          </a:stretch>
        </p:blipFill>
        <p:spPr>
          <a:xfrm>
            <a:off x="9881411" y="521208"/>
            <a:ext cx="2310589" cy="1700784"/>
          </a:xfrm>
          <a:prstGeom prst="rect">
            <a:avLst/>
          </a:prstGeom>
        </p:spPr>
      </p:pic>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5" name="Footer">
            <a:extLst>
              <a:ext uri="{FF2B5EF4-FFF2-40B4-BE49-F238E27FC236}">
                <a16:creationId xmlns:a16="http://schemas.microsoft.com/office/drawing/2014/main" id="{9AA066DC-C80B-A045-8CD9-A2C7DE3F17A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cxnSp>
        <p:nvCxnSpPr>
          <p:cNvPr id="14" name="Accent Mark">
            <a:extLst>
              <a:ext uri="{FF2B5EF4-FFF2-40B4-BE49-F238E27FC236}">
                <a16:creationId xmlns:a16="http://schemas.microsoft.com/office/drawing/2014/main" id="{034E11FD-0B1E-6B44-8BDF-4C70FAA7BAAB}"/>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 name="Title">
            <a:extLst>
              <a:ext uri="{FF2B5EF4-FFF2-40B4-BE49-F238E27FC236}">
                <a16:creationId xmlns:a16="http://schemas.microsoft.com/office/drawing/2014/main" id="{8CF093CC-9165-2740-A9A1-C2DF5C8D69CB}"/>
              </a:ext>
            </a:extLst>
          </p:cNvPr>
          <p:cNvSpPr>
            <a:spLocks noGrp="1"/>
          </p:cNvSpPr>
          <p:nvPr>
            <p:ph type="body" sz="quarter" idx="10" hasCustomPrompt="1"/>
          </p:nvPr>
        </p:nvSpPr>
        <p:spPr>
          <a:xfrm>
            <a:off x="762000" y="508000"/>
            <a:ext cx="10671048" cy="822960"/>
          </a:xfrm>
        </p:spPr>
        <p:txBody>
          <a:bodyPr anchor="b" anchorCtr="0"/>
          <a:lstStyle>
            <a:lvl1pPr>
              <a:defRPr sz="2400" b="1"/>
            </a:lvl1pPr>
          </a:lstStyle>
          <a:p>
            <a:pPr lvl="0"/>
            <a:r>
              <a:rPr lang="en-US"/>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9" name="OTag">
            <a:extLst>
              <a:ext uri="{FF2B5EF4-FFF2-40B4-BE49-F238E27FC236}">
                <a16:creationId xmlns:a16="http://schemas.microsoft.com/office/drawing/2014/main" id="{C08E97BD-FF5F-6142-9934-30D0F4BCFC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9801062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Light - Title Only">
    <p:bg>
      <p:bgPr>
        <a:solidFill>
          <a:schemeClr val="bg2"/>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5" name="Footer">
            <a:extLst>
              <a:ext uri="{FF2B5EF4-FFF2-40B4-BE49-F238E27FC236}">
                <a16:creationId xmlns:a16="http://schemas.microsoft.com/office/drawing/2014/main" id="{9AA066DC-C80B-A045-8CD9-A2C7DE3F17A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4" name="Title">
            <a:extLst>
              <a:ext uri="{FF2B5EF4-FFF2-40B4-BE49-F238E27FC236}">
                <a16:creationId xmlns:a16="http://schemas.microsoft.com/office/drawing/2014/main" id="{8CF093CC-9165-2740-A9A1-C2DF5C8D69CB}"/>
              </a:ext>
            </a:extLst>
          </p:cNvPr>
          <p:cNvSpPr>
            <a:spLocks noGrp="1"/>
          </p:cNvSpPr>
          <p:nvPr>
            <p:ph type="body" sz="quarter" idx="10" hasCustomPrompt="1"/>
          </p:nvPr>
        </p:nvSpPr>
        <p:spPr>
          <a:xfrm>
            <a:off x="762000" y="508000"/>
            <a:ext cx="10671048" cy="822960"/>
          </a:xfrm>
        </p:spPr>
        <p:txBody>
          <a:bodyPr anchor="b" anchorCtr="0"/>
          <a:lstStyle>
            <a:lvl1pPr>
              <a:defRPr sz="2400" b="1"/>
            </a:lvl1pPr>
          </a:lstStyle>
          <a:p>
            <a:pPr lvl="0"/>
            <a:r>
              <a:rPr lang="en-US"/>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9" name="OTag">
            <a:extLst>
              <a:ext uri="{FF2B5EF4-FFF2-40B4-BE49-F238E27FC236}">
                <a16:creationId xmlns:a16="http://schemas.microsoft.com/office/drawing/2014/main" id="{C08E97BD-FF5F-6142-9934-30D0F4BCFC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2716294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ark - Title Only">
    <p:bg>
      <p:bgPr>
        <a:solidFill>
          <a:schemeClr val="tx1"/>
        </a:solidFill>
        <a:effectLst/>
      </p:bgPr>
    </p:bg>
    <p:spTree>
      <p:nvGrpSpPr>
        <p:cNvPr id="1" name=""/>
        <p:cNvGrpSpPr/>
        <p:nvPr/>
      </p:nvGrpSpPr>
      <p:grpSpPr>
        <a:xfrm>
          <a:off x="0" y="0"/>
          <a:ext cx="0" cy="0"/>
          <a:chOff x="0" y="0"/>
          <a:chExt cx="0" cy="0"/>
        </a:xfrm>
      </p:grpSpPr>
      <p:pic>
        <p:nvPicPr>
          <p:cNvPr id="9" name="Data Texture Cloud">
            <a:extLst>
              <a:ext uri="{FF2B5EF4-FFF2-40B4-BE49-F238E27FC236}">
                <a16:creationId xmlns:a16="http://schemas.microsoft.com/office/drawing/2014/main" id="{BE3051D7-79D0-AB46-B536-B10AE0FBA314}"/>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r="48641"/>
          <a:stretch>
            <a:fillRect/>
          </a:stretch>
        </p:blipFill>
        <p:spPr>
          <a:xfrm>
            <a:off x="9881411" y="521208"/>
            <a:ext cx="2310589" cy="1701811"/>
          </a:xfrm>
          <a:prstGeom prst="rect">
            <a:avLst/>
          </a:prstGeom>
        </p:spPr>
      </p:pic>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5" name="Footer">
            <a:extLst>
              <a:ext uri="{FF2B5EF4-FFF2-40B4-BE49-F238E27FC236}">
                <a16:creationId xmlns:a16="http://schemas.microsoft.com/office/drawing/2014/main" id="{9AA066DC-C80B-A045-8CD9-A2C7DE3F17A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cxnSp>
        <p:nvCxnSpPr>
          <p:cNvPr id="14" name="Accent Mark">
            <a:extLst>
              <a:ext uri="{FF2B5EF4-FFF2-40B4-BE49-F238E27FC236}">
                <a16:creationId xmlns:a16="http://schemas.microsoft.com/office/drawing/2014/main" id="{034E11FD-0B1E-6B44-8BDF-4C70FAA7BAAB}"/>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16" name="Title">
            <a:extLst>
              <a:ext uri="{FF2B5EF4-FFF2-40B4-BE49-F238E27FC236}">
                <a16:creationId xmlns:a16="http://schemas.microsoft.com/office/drawing/2014/main" id="{FCA55692-CE36-1D4F-96A0-F74E95F76A38}"/>
              </a:ext>
            </a:extLst>
          </p:cNvPr>
          <p:cNvSpPr>
            <a:spLocks noGrp="1"/>
          </p:cNvSpPr>
          <p:nvPr>
            <p:ph type="body" sz="quarter" idx="10" hasCustomPrompt="1"/>
          </p:nvPr>
        </p:nvSpPr>
        <p:spPr>
          <a:xfrm>
            <a:off x="762000" y="508000"/>
            <a:ext cx="10671048" cy="822960"/>
          </a:xfrm>
        </p:spPr>
        <p:txBody>
          <a:bodyPr anchor="b" anchorCtr="0"/>
          <a:lstStyle>
            <a:lvl1pPr>
              <a:defRPr sz="2400" b="1">
                <a:solidFill>
                  <a:schemeClr val="bg1"/>
                </a:solidFill>
              </a:defRPr>
            </a:lvl1pPr>
          </a:lstStyle>
          <a:p>
            <a:pPr lvl="0"/>
            <a:r>
              <a:rPr lang="en-US"/>
              <a:t>Title</a:t>
            </a:r>
          </a:p>
        </p:txBody>
      </p:sp>
      <p:pic>
        <p:nvPicPr>
          <p:cNvPr id="11" name="OTag">
            <a:extLst>
              <a:ext uri="{FF2B5EF4-FFF2-40B4-BE49-F238E27FC236}">
                <a16:creationId xmlns:a16="http://schemas.microsoft.com/office/drawing/2014/main" id="{017564FB-033C-3742-AC4A-6A1B1635442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6293479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ark - Safe harbor">
    <p:bg>
      <p:bgPr>
        <a:solidFill>
          <a:schemeClr val="tx1"/>
        </a:solidFill>
        <a:effectLst/>
      </p:bgPr>
    </p:bg>
    <p:spTree>
      <p:nvGrpSpPr>
        <p:cNvPr id="1" name=""/>
        <p:cNvGrpSpPr/>
        <p:nvPr/>
      </p:nvGrpSpPr>
      <p:grpSpPr>
        <a:xfrm>
          <a:off x="0" y="0"/>
          <a:ext cx="0" cy="0"/>
          <a:chOff x="0" y="0"/>
          <a:chExt cx="0" cy="0"/>
        </a:xfrm>
      </p:grpSpPr>
      <p:pic>
        <p:nvPicPr>
          <p:cNvPr id="12" name="Data Texture Cloud">
            <a:extLst>
              <a:ext uri="{FF2B5EF4-FFF2-40B4-BE49-F238E27FC236}">
                <a16:creationId xmlns:a16="http://schemas.microsoft.com/office/drawing/2014/main" id="{1232875C-001D-FE46-B15E-BCC2DA970349}"/>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rcRect r="48609"/>
          <a:stretch>
            <a:fillRect/>
          </a:stretch>
        </p:blipFill>
        <p:spPr>
          <a:xfrm>
            <a:off x="9881411" y="521208"/>
            <a:ext cx="2310589" cy="1700784"/>
          </a:xfrm>
          <a:prstGeom prst="rect">
            <a:avLst/>
          </a:prstGeom>
        </p:spPr>
      </p:pic>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1" name="Footer">
            <a:extLst>
              <a:ext uri="{FF2B5EF4-FFF2-40B4-BE49-F238E27FC236}">
                <a16:creationId xmlns:a16="http://schemas.microsoft.com/office/drawing/2014/main" id="{3D318B72-DCC5-F249-91BD-81C274E45FE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cxnSp>
        <p:nvCxnSpPr>
          <p:cNvPr id="33" name="Accent Mark">
            <a:extLst>
              <a:ext uri="{FF2B5EF4-FFF2-40B4-BE49-F238E27FC236}">
                <a16:creationId xmlns:a16="http://schemas.microsoft.com/office/drawing/2014/main" id="{F8F561A6-16DC-7848-8FAE-BF35C0DBFABA}"/>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2" name="Rectangle 1">
            <a:extLst>
              <a:ext uri="{FF2B5EF4-FFF2-40B4-BE49-F238E27FC236}">
                <a16:creationId xmlns:a16="http://schemas.microsoft.com/office/drawing/2014/main" id="{DB7E1F57-F3AF-48F0-B0D3-CD5136CEA69B}"/>
              </a:ext>
            </a:extLst>
          </p:cNvPr>
          <p:cNvSpPr/>
          <p:nvPr userDrawn="1"/>
        </p:nvSpPr>
        <p:spPr>
          <a:xfrm>
            <a:off x="761999" y="2136339"/>
            <a:ext cx="10671047" cy="1754326"/>
          </a:xfrm>
          <a:prstGeom prst="rect">
            <a:avLst/>
          </a:prstGeom>
        </p:spPr>
        <p:txBody>
          <a:bodyPr wrap="square" lIns="0">
            <a:spAutoFit/>
          </a:bodyPr>
          <a:lstStyle/>
          <a:p>
            <a:r>
              <a:rPr lang="en-US">
                <a:solidFill>
                  <a:srgbClr val="FCFBFA"/>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a:t>
            </a:r>
          </a:p>
          <a:p>
            <a:endParaRPr lang="en-US">
              <a:solidFill>
                <a:srgbClr val="FCFBFA"/>
              </a:solidFill>
            </a:endParaRPr>
          </a:p>
          <a:p>
            <a:r>
              <a:rPr lang="en-US">
                <a:solidFill>
                  <a:srgbClr val="FCFBFA"/>
                </a:solidFill>
              </a:rPr>
              <a:t>The development, release, timing, and pricing of any features or functionality described for Oracle’s products may change and remains at the sole discretion of Oracle Corporation.</a:t>
            </a:r>
          </a:p>
        </p:txBody>
      </p:sp>
      <p:sp>
        <p:nvSpPr>
          <p:cNvPr id="14" name="Rectangle 13">
            <a:extLst>
              <a:ext uri="{FF2B5EF4-FFF2-40B4-BE49-F238E27FC236}">
                <a16:creationId xmlns:a16="http://schemas.microsoft.com/office/drawing/2014/main" id="{66E121C5-29DE-49DD-8D27-27CCE990B636}"/>
              </a:ext>
            </a:extLst>
          </p:cNvPr>
          <p:cNvSpPr/>
          <p:nvPr userDrawn="1"/>
        </p:nvSpPr>
        <p:spPr>
          <a:xfrm>
            <a:off x="773504" y="871118"/>
            <a:ext cx="10656496" cy="459842"/>
          </a:xfrm>
          <a:prstGeom prst="rect">
            <a:avLst/>
          </a:prstGeom>
        </p:spPr>
        <p:txBody>
          <a:bodyPr wrap="square" lIns="0">
            <a:spAutoFit/>
          </a:bodyPr>
          <a:lstStyle/>
          <a:p>
            <a:r>
              <a:rPr lang="en-US" sz="2400" b="1">
                <a:solidFill>
                  <a:srgbClr val="FCFBFA"/>
                </a:solidFill>
              </a:rPr>
              <a:t>Safe harbor slide</a:t>
            </a:r>
          </a:p>
        </p:txBody>
      </p:sp>
      <p:pic>
        <p:nvPicPr>
          <p:cNvPr id="13" name="OTag">
            <a:extLst>
              <a:ext uri="{FF2B5EF4-FFF2-40B4-BE49-F238E27FC236}">
                <a16:creationId xmlns:a16="http://schemas.microsoft.com/office/drawing/2014/main" id="{CF28F4CC-A496-CB40-87BE-037C0F5D857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26908234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ght - Title 1 Column">
    <p:bg>
      <p:bgPr>
        <a:solidFill>
          <a:schemeClr val="bg2"/>
        </a:solidFill>
        <a:effectLst/>
      </p:bgPr>
    </p:bg>
    <p:spTree>
      <p:nvGrpSpPr>
        <p:cNvPr id="1" name=""/>
        <p:cNvGrpSpPr/>
        <p:nvPr/>
      </p:nvGrpSpPr>
      <p:grpSpPr>
        <a:xfrm>
          <a:off x="0" y="0"/>
          <a:ext cx="0" cy="0"/>
          <a:chOff x="0" y="0"/>
          <a:chExt cx="0" cy="0"/>
        </a:xfrm>
      </p:grpSpPr>
      <p:pic>
        <p:nvPicPr>
          <p:cNvPr id="12" name="Data Texture Cloud">
            <a:extLst>
              <a:ext uri="{FF2B5EF4-FFF2-40B4-BE49-F238E27FC236}">
                <a16:creationId xmlns:a16="http://schemas.microsoft.com/office/drawing/2014/main" id="{1232875C-001D-FE46-B15E-BCC2DA970349}"/>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rcRect r="48609"/>
          <a:stretch>
            <a:fillRect/>
          </a:stretch>
        </p:blipFill>
        <p:spPr>
          <a:xfrm>
            <a:off x="9881411" y="521208"/>
            <a:ext cx="2310589" cy="1700784"/>
          </a:xfrm>
          <a:prstGeom prst="rect">
            <a:avLst/>
          </a:prstGeom>
        </p:spPr>
      </p:pic>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1" name="Footer">
            <a:extLst>
              <a:ext uri="{FF2B5EF4-FFF2-40B4-BE49-F238E27FC236}">
                <a16:creationId xmlns:a16="http://schemas.microsoft.com/office/drawing/2014/main" id="{3D318B72-DCC5-F249-91BD-81C274E45FE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33" name="Accent Mark">
            <a:extLst>
              <a:ext uri="{FF2B5EF4-FFF2-40B4-BE49-F238E27FC236}">
                <a16:creationId xmlns:a16="http://schemas.microsoft.com/office/drawing/2014/main" id="{F8F561A6-16DC-7848-8FAE-BF35C0DBFABA}"/>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14" name="OTag">
            <a:extLst>
              <a:ext uri="{FF2B5EF4-FFF2-40B4-BE49-F238E27FC236}">
                <a16:creationId xmlns:a16="http://schemas.microsoft.com/office/drawing/2014/main" id="{F283C74A-CE04-2F42-90DC-04B89532F15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23737881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Title slide">
    <p:spTree>
      <p:nvGrpSpPr>
        <p:cNvPr id="1" name=""/>
        <p:cNvGrpSpPr/>
        <p:nvPr/>
      </p:nvGrpSpPr>
      <p:grpSpPr>
        <a:xfrm>
          <a:off x="0" y="0"/>
          <a:ext cx="0" cy="0"/>
          <a:chOff x="0" y="0"/>
          <a:chExt cx="0" cy="0"/>
        </a:xfrm>
      </p:grpSpPr>
      <p:pic>
        <p:nvPicPr>
          <p:cNvPr id="12" name="Picture 11" descr="A picture containing container, basket&#10;&#10;Description automatically generated">
            <a:extLst>
              <a:ext uri="{FF2B5EF4-FFF2-40B4-BE49-F238E27FC236}">
                <a16:creationId xmlns:a16="http://schemas.microsoft.com/office/drawing/2014/main" id="{F6432D01-A6C7-114E-B0E4-99D85C2393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80948" y="212826"/>
            <a:ext cx="5111051" cy="2299468"/>
          </a:xfrm>
          <a:prstGeom prst="rect">
            <a:avLst/>
          </a:prstGeom>
        </p:spPr>
      </p:pic>
      <p:pic>
        <p:nvPicPr>
          <p:cNvPr id="13" name="Picture 12" descr="A picture containing music, black&#10;&#10;Description automatically generated">
            <a:extLst>
              <a:ext uri="{FF2B5EF4-FFF2-40B4-BE49-F238E27FC236}">
                <a16:creationId xmlns:a16="http://schemas.microsoft.com/office/drawing/2014/main" id="{1DB4A463-D340-944F-9609-68DBCA3E879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5293"/>
          <a:stretch/>
        </p:blipFill>
        <p:spPr>
          <a:xfrm>
            <a:off x="9334" y="1125489"/>
            <a:ext cx="2864667" cy="1649788"/>
          </a:xfrm>
          <a:prstGeom prst="rect">
            <a:avLst/>
          </a:prstGeom>
        </p:spPr>
      </p:pic>
      <p:sp>
        <p:nvSpPr>
          <p:cNvPr id="14" name="Rectangle 13">
            <a:extLst>
              <a:ext uri="{FF2B5EF4-FFF2-40B4-BE49-F238E27FC236}">
                <a16:creationId xmlns:a16="http://schemas.microsoft.com/office/drawing/2014/main" id="{B19A174D-36B9-9A49-AD57-EE666A0CE566}"/>
              </a:ext>
            </a:extLst>
          </p:cNvPr>
          <p:cNvSpPr/>
          <p:nvPr userDrawn="1"/>
        </p:nvSpPr>
        <p:spPr>
          <a:xfrm>
            <a:off x="10418601" y="5036959"/>
            <a:ext cx="261122"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EEBAD0F-FE4F-2F4E-95EB-338C4059E78B}"/>
              </a:ext>
            </a:extLst>
          </p:cNvPr>
          <p:cNvSpPr/>
          <p:nvPr userDrawn="1"/>
        </p:nvSpPr>
        <p:spPr>
          <a:xfrm>
            <a:off x="11502723" y="5644791"/>
            <a:ext cx="100826" cy="57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01AE0-191D-0D4F-8D04-33B0884AFE47}"/>
              </a:ext>
            </a:extLst>
          </p:cNvPr>
          <p:cNvSpPr/>
          <p:nvPr userDrawn="1"/>
        </p:nvSpPr>
        <p:spPr>
          <a:xfrm>
            <a:off x="11008032" y="4790761"/>
            <a:ext cx="643642" cy="57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5070C1B-C4CA-9C4C-BBFD-7F9898CE084C}"/>
              </a:ext>
            </a:extLst>
          </p:cNvPr>
          <p:cNvSpPr/>
          <p:nvPr userDrawn="1"/>
        </p:nvSpPr>
        <p:spPr>
          <a:xfrm>
            <a:off x="10808761" y="5036959"/>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5226D1F-36E2-FB4B-94C3-CBD02190671F}"/>
              </a:ext>
            </a:extLst>
          </p:cNvPr>
          <p:cNvSpPr/>
          <p:nvPr userDrawn="1"/>
        </p:nvSpPr>
        <p:spPr>
          <a:xfrm>
            <a:off x="11508670" y="56468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D9CD23F-B20E-499B-9C1E-B99F1B32803A}"/>
              </a:ext>
            </a:extLst>
          </p:cNvPr>
          <p:cNvSpPr/>
          <p:nvPr userDrawn="1"/>
        </p:nvSpPr>
        <p:spPr>
          <a:xfrm>
            <a:off x="11356270" y="54944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9">
            <a:extLst>
              <a:ext uri="{FF2B5EF4-FFF2-40B4-BE49-F238E27FC236}">
                <a16:creationId xmlns:a16="http://schemas.microsoft.com/office/drawing/2014/main" id="{C08E0869-9921-1B40-A001-9F36EFAFD21B}"/>
              </a:ext>
            </a:extLst>
          </p:cNvPr>
          <p:cNvSpPr>
            <a:spLocks noGrp="1"/>
          </p:cNvSpPr>
          <p:nvPr>
            <p:ph type="body" sz="quarter" idx="13" hasCustomPrompt="1"/>
          </p:nvPr>
        </p:nvSpPr>
        <p:spPr>
          <a:xfrm>
            <a:off x="1053611" y="3892527"/>
            <a:ext cx="10073301" cy="1830180"/>
          </a:xfrm>
        </p:spPr>
        <p:txBody>
          <a:bodyPr lIns="0" rIns="0">
            <a:noAutofit/>
          </a:bodyPr>
          <a:lstStyle>
            <a:lvl1pPr marL="0" indent="0">
              <a:lnSpc>
                <a:spcPts val="1400"/>
              </a:lnSpc>
              <a:buFont typeface="+mj-lt"/>
              <a:buNone/>
              <a:defRPr sz="1600" b="0" i="0">
                <a:solidFill>
                  <a:srgbClr val="ECB85A"/>
                </a:solidFill>
                <a:latin typeface="Oracle Sans" panose="020B0503020204020204" pitchFamily="34" charset="0"/>
                <a:cs typeface="Oracle Sans" panose="020B0503020204020204" pitchFamily="34" charset="0"/>
              </a:defRPr>
            </a:lvl1pPr>
            <a:lvl5pPr>
              <a:defRPr/>
            </a:lvl5pPr>
          </a:lstStyle>
          <a:p>
            <a:pPr lvl="0"/>
            <a:r>
              <a:rPr lang="en-US" dirty="0"/>
              <a:t>Click to add presenter’s name, title, division/business unit/organization and date</a:t>
            </a:r>
          </a:p>
          <a:p>
            <a:pPr lvl="0"/>
            <a:endParaRPr lang="en-US" dirty="0"/>
          </a:p>
        </p:txBody>
      </p:sp>
      <p:sp>
        <p:nvSpPr>
          <p:cNvPr id="34" name="Title 10">
            <a:extLst>
              <a:ext uri="{FF2B5EF4-FFF2-40B4-BE49-F238E27FC236}">
                <a16:creationId xmlns:a16="http://schemas.microsoft.com/office/drawing/2014/main" id="{10C122FE-A35D-4D48-9A96-B6651F81A0F0}"/>
              </a:ext>
            </a:extLst>
          </p:cNvPr>
          <p:cNvSpPr>
            <a:spLocks noGrp="1"/>
          </p:cNvSpPr>
          <p:nvPr>
            <p:ph type="title"/>
          </p:nvPr>
        </p:nvSpPr>
        <p:spPr>
          <a:xfrm>
            <a:off x="1050568" y="2268194"/>
            <a:ext cx="10076344" cy="909981"/>
          </a:xfrm>
        </p:spPr>
        <p:txBody>
          <a:bodyPr/>
          <a:lstStyle/>
          <a:p>
            <a:r>
              <a:rPr lang="en-US"/>
              <a:t>Click to edit Master title style</a:t>
            </a:r>
            <a:endParaRPr lang="en-US" dirty="0"/>
          </a:p>
        </p:txBody>
      </p:sp>
      <p:sp>
        <p:nvSpPr>
          <p:cNvPr id="35" name="Text Placeholder 10">
            <a:extLst>
              <a:ext uri="{FF2B5EF4-FFF2-40B4-BE49-F238E27FC236}">
                <a16:creationId xmlns:a16="http://schemas.microsoft.com/office/drawing/2014/main" id="{A6301C15-7797-A94F-B73F-2D2FFD904608}"/>
              </a:ext>
            </a:extLst>
          </p:cNvPr>
          <p:cNvSpPr>
            <a:spLocks noGrp="1"/>
          </p:cNvSpPr>
          <p:nvPr>
            <p:ph type="body" sz="quarter" idx="15" hasCustomPrompt="1"/>
          </p:nvPr>
        </p:nvSpPr>
        <p:spPr>
          <a:xfrm>
            <a:off x="1050568" y="3214300"/>
            <a:ext cx="10076344" cy="416073"/>
          </a:xfrm>
        </p:spPr>
        <p:txBody>
          <a:bodyPr wrap="none" lIns="0">
            <a:noAutofit/>
          </a:bodyPr>
          <a:lstStyle>
            <a:lvl1pPr marL="0" indent="0">
              <a:spcBef>
                <a:spcPts val="0"/>
              </a:spcBef>
              <a:buNone/>
              <a:defRPr sz="2400" b="1" i="0">
                <a:latin typeface="Oracle Sans" panose="020B0503020204020204" pitchFamily="34" charset="0"/>
                <a:cs typeface="Oracle Sans" panose="020B0503020204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subtitle</a:t>
            </a:r>
          </a:p>
        </p:txBody>
      </p:sp>
      <p:pic>
        <p:nvPicPr>
          <p:cNvPr id="23" name="Picture 22">
            <a:extLst>
              <a:ext uri="{FF2B5EF4-FFF2-40B4-BE49-F238E27FC236}">
                <a16:creationId xmlns:a16="http://schemas.microsoft.com/office/drawing/2014/main" id="{F45421AE-3506-4D43-95C5-E39AB50FF8C6}"/>
              </a:ext>
            </a:extLst>
          </p:cNvPr>
          <p:cNvPicPr>
            <a:picLocks noChangeAspect="1"/>
          </p:cNvPicPr>
          <p:nvPr userDrawn="1"/>
        </p:nvPicPr>
        <p:blipFill>
          <a:blip r:embed="rId4"/>
          <a:stretch>
            <a:fillRect/>
          </a:stretch>
        </p:blipFill>
        <p:spPr>
          <a:xfrm>
            <a:off x="11437197" y="6356350"/>
            <a:ext cx="501650" cy="501650"/>
          </a:xfrm>
          <a:prstGeom prst="rect">
            <a:avLst/>
          </a:prstGeom>
        </p:spPr>
      </p:pic>
      <p:pic>
        <p:nvPicPr>
          <p:cNvPr id="22" name="Graphic 21">
            <a:extLst>
              <a:ext uri="{FF2B5EF4-FFF2-40B4-BE49-F238E27FC236}">
                <a16:creationId xmlns:a16="http://schemas.microsoft.com/office/drawing/2014/main" id="{5B4C9E13-DA16-49DD-BFBD-74BB1FA200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35316" y="834553"/>
            <a:ext cx="1325468" cy="174051"/>
          </a:xfrm>
          <a:prstGeom prst="rect">
            <a:avLst/>
          </a:prstGeom>
        </p:spPr>
      </p:pic>
      <p:sp>
        <p:nvSpPr>
          <p:cNvPr id="2" name="Footer Placeholder 1">
            <a:extLst>
              <a:ext uri="{FF2B5EF4-FFF2-40B4-BE49-F238E27FC236}">
                <a16:creationId xmlns:a16="http://schemas.microsoft.com/office/drawing/2014/main" id="{DAA4113C-20DC-4967-AA08-3F6C42E69B64}"/>
              </a:ext>
            </a:extLst>
          </p:cNvPr>
          <p:cNvSpPr>
            <a:spLocks noGrp="1"/>
          </p:cNvSpPr>
          <p:nvPr>
            <p:ph type="ftr" sz="quarter" idx="16"/>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D47E3DB1-B881-493F-8F99-117753D30492}"/>
              </a:ext>
            </a:extLst>
          </p:cNvPr>
          <p:cNvSpPr>
            <a:spLocks noGrp="1"/>
          </p:cNvSpPr>
          <p:nvPr>
            <p:ph type="sldNum" sz="quarter" idx="17"/>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2801977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ark - Title 1 Column">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30973D80-F90C-2B41-AAF3-064791F626A1}"/>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r="48641"/>
          <a:stretch>
            <a:fillRect/>
          </a:stretch>
        </p:blipFill>
        <p:spPr>
          <a:xfrm>
            <a:off x="9881411" y="521208"/>
            <a:ext cx="2310589" cy="1701811"/>
          </a:xfrm>
          <a:prstGeom prst="rect">
            <a:avLst/>
          </a:prstGeom>
        </p:spPr>
      </p:pic>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1" name="Footer">
            <a:extLst>
              <a:ext uri="{FF2B5EF4-FFF2-40B4-BE49-F238E27FC236}">
                <a16:creationId xmlns:a16="http://schemas.microsoft.com/office/drawing/2014/main" id="{3D318B72-DCC5-F249-91BD-81C274E45FE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33" name="Accent Mark">
            <a:extLst>
              <a:ext uri="{FF2B5EF4-FFF2-40B4-BE49-F238E27FC236}">
                <a16:creationId xmlns:a16="http://schemas.microsoft.com/office/drawing/2014/main" id="{F8F561A6-16DC-7848-8FAE-BF35C0DBFABA}"/>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12" name="OTag">
            <a:extLst>
              <a:ext uri="{FF2B5EF4-FFF2-40B4-BE49-F238E27FC236}">
                <a16:creationId xmlns:a16="http://schemas.microsoft.com/office/drawing/2014/main" id="{D7BDFB8B-5BE9-504B-926D-29DB9BB3C0A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8610956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ark - Title 2 Column">
    <p:bg>
      <p:bgPr>
        <a:solidFill>
          <a:schemeClr val="tx1"/>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45600894-19FA-B44D-93AD-7FDD489F09A1}"/>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r="48641"/>
          <a:stretch>
            <a:fillRect/>
          </a:stretch>
        </p:blipFill>
        <p:spPr>
          <a:xfrm>
            <a:off x="9881411" y="521208"/>
            <a:ext cx="2310589" cy="1701811"/>
          </a:xfrm>
          <a:prstGeom prst="rect">
            <a:avLst/>
          </a:prstGeom>
        </p:spPr>
      </p:pic>
      <p:sp>
        <p:nvSpPr>
          <p:cNvPr id="14" name="Slide Number">
            <a:extLst>
              <a:ext uri="{FF2B5EF4-FFF2-40B4-BE49-F238E27FC236}">
                <a16:creationId xmlns:a16="http://schemas.microsoft.com/office/drawing/2014/main" id="{B1F84A78-226C-CA42-8F2B-D960C013FF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8" name="Footer">
            <a:extLst>
              <a:ext uri="{FF2B5EF4-FFF2-40B4-BE49-F238E27FC236}">
                <a16:creationId xmlns:a16="http://schemas.microsoft.com/office/drawing/2014/main" id="{D4C034A3-034A-E041-85B3-5C60872EB891}"/>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17" name="Text Field">
            <a:extLst>
              <a:ext uri="{FF2B5EF4-FFF2-40B4-BE49-F238E27FC236}">
                <a16:creationId xmlns:a16="http://schemas.microsoft.com/office/drawing/2014/main" id="{127206D3-5FC9-5940-86CA-B490BFF33849}"/>
              </a:ext>
            </a:extLst>
          </p:cNvPr>
          <p:cNvSpPr>
            <a:spLocks noGrp="1"/>
          </p:cNvSpPr>
          <p:nvPr>
            <p:ph type="body" sz="quarter" idx="13"/>
          </p:nvPr>
        </p:nvSpPr>
        <p:spPr>
          <a:xfrm>
            <a:off x="6345940"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25" name="Column Divider">
            <a:extLst>
              <a:ext uri="{FF2B5EF4-FFF2-40B4-BE49-F238E27FC236}">
                <a16:creationId xmlns:a16="http://schemas.microsoft.com/office/drawing/2014/main" id="{28A42096-606C-8147-93BA-A37267AD56C9}"/>
              </a:ext>
            </a:extLst>
          </p:cNvPr>
          <p:cNvCxnSpPr/>
          <p:nvPr userDrawn="1"/>
        </p:nvCxnSpPr>
        <p:spPr>
          <a:xfrm flipH="1">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A2A31D1-C418-294D-BD2C-301BE963D206}"/>
              </a:ext>
            </a:extLst>
          </p:cNvPr>
          <p:cNvSpPr>
            <a:spLocks noGrp="1"/>
          </p:cNvSpPr>
          <p:nvPr>
            <p:ph type="body" sz="quarter" idx="12"/>
          </p:nvPr>
        </p:nvSpPr>
        <p:spPr>
          <a:xfrm>
            <a:off x="758951"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24" name="Accent Mark">
            <a:extLst>
              <a:ext uri="{FF2B5EF4-FFF2-40B4-BE49-F238E27FC236}">
                <a16:creationId xmlns:a16="http://schemas.microsoft.com/office/drawing/2014/main" id="{4F8F28C5-BA11-D440-84B1-6070C377A958}"/>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0D3E541A-8971-9E40-A861-AC82931F791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19" name="OTag">
            <a:extLst>
              <a:ext uri="{FF2B5EF4-FFF2-40B4-BE49-F238E27FC236}">
                <a16:creationId xmlns:a16="http://schemas.microsoft.com/office/drawing/2014/main" id="{BDA8A4EB-6A86-1A46-9CCF-4791FE1890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22804899"/>
      </p:ext>
    </p:extLst>
  </p:cSld>
  <p:clrMapOvr>
    <a:masterClrMapping/>
  </p:clrMapOvr>
  <p:extLst>
    <p:ext uri="{DCECCB84-F9BA-43D5-87BE-67443E8EF086}">
      <p15:sldGuideLst xmlns:p15="http://schemas.microsoft.com/office/powerpoint/2012/main">
        <p15:guide id="1" pos="691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ark - Title 3 Column">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6B6AE226-6298-A74E-881D-C391B7DBFC74}"/>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r="48641"/>
          <a:stretch>
            <a:fillRect/>
          </a:stretch>
        </p:blipFill>
        <p:spPr>
          <a:xfrm>
            <a:off x="9881411" y="521208"/>
            <a:ext cx="2310589" cy="1701811"/>
          </a:xfrm>
          <a:prstGeom prst="rect">
            <a:avLst/>
          </a:prstGeom>
        </p:spPr>
      </p:pic>
      <p:sp>
        <p:nvSpPr>
          <p:cNvPr id="16" name="Slide Number">
            <a:extLst>
              <a:ext uri="{FF2B5EF4-FFF2-40B4-BE49-F238E27FC236}">
                <a16:creationId xmlns:a16="http://schemas.microsoft.com/office/drawing/2014/main" id="{3415ABCF-F4E1-8F45-97C7-BB3BBB93D523}"/>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20" name="Footer">
            <a:extLst>
              <a:ext uri="{FF2B5EF4-FFF2-40B4-BE49-F238E27FC236}">
                <a16:creationId xmlns:a16="http://schemas.microsoft.com/office/drawing/2014/main" id="{5AB5D6B8-9C36-7640-AEBB-31B1DF05F53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18" name="Text Field">
            <a:extLst>
              <a:ext uri="{FF2B5EF4-FFF2-40B4-BE49-F238E27FC236}">
                <a16:creationId xmlns:a16="http://schemas.microsoft.com/office/drawing/2014/main" id="{F99B7BFF-D980-2D4A-B1AC-7510DE0D9D1C}"/>
              </a:ext>
            </a:extLst>
          </p:cNvPr>
          <p:cNvSpPr>
            <a:spLocks noGrp="1"/>
          </p:cNvSpPr>
          <p:nvPr>
            <p:ph type="body" sz="quarter" idx="14"/>
          </p:nvPr>
        </p:nvSpPr>
        <p:spPr>
          <a:xfrm>
            <a:off x="8128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Field">
            <a:extLst>
              <a:ext uri="{FF2B5EF4-FFF2-40B4-BE49-F238E27FC236}">
                <a16:creationId xmlns:a16="http://schemas.microsoft.com/office/drawing/2014/main" id="{A701984C-34A6-1346-A2AA-2794191C0405}"/>
              </a:ext>
            </a:extLst>
          </p:cNvPr>
          <p:cNvSpPr>
            <a:spLocks noGrp="1"/>
          </p:cNvSpPr>
          <p:nvPr>
            <p:ph type="body" sz="quarter" idx="15"/>
          </p:nvPr>
        </p:nvSpPr>
        <p:spPr>
          <a:xfrm>
            <a:off x="4445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Field">
            <a:extLst>
              <a:ext uri="{FF2B5EF4-FFF2-40B4-BE49-F238E27FC236}">
                <a16:creationId xmlns:a16="http://schemas.microsoft.com/office/drawing/2014/main" id="{31E9FA52-D320-6043-8DA5-2A295E356128}"/>
              </a:ext>
            </a:extLst>
          </p:cNvPr>
          <p:cNvSpPr>
            <a:spLocks noGrp="1"/>
          </p:cNvSpPr>
          <p:nvPr>
            <p:ph type="body" sz="quarter" idx="13"/>
          </p:nvPr>
        </p:nvSpPr>
        <p:spPr>
          <a:xfrm>
            <a:off x="758951"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42" name="Accent Mark">
            <a:extLst>
              <a:ext uri="{FF2B5EF4-FFF2-40B4-BE49-F238E27FC236}">
                <a16:creationId xmlns:a16="http://schemas.microsoft.com/office/drawing/2014/main" id="{4E732D89-C34A-F248-94A1-01F258A23E11}"/>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21" name="OTag">
            <a:extLst>
              <a:ext uri="{FF2B5EF4-FFF2-40B4-BE49-F238E27FC236}">
                <a16:creationId xmlns:a16="http://schemas.microsoft.com/office/drawing/2014/main" id="{17A865CD-C79E-A448-B431-B8481976E03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339986849"/>
      </p:ext>
    </p:extLst>
  </p:cSld>
  <p:clrMapOvr>
    <a:masterClrMapping/>
  </p:clrMapOvr>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 Title 4 Column">
    <p:bg>
      <p:bgPr>
        <a:solidFill>
          <a:schemeClr val="tx1"/>
        </a:solidFill>
        <a:effectLst/>
      </p:bgPr>
    </p:bg>
    <p:spTree>
      <p:nvGrpSpPr>
        <p:cNvPr id="1" name=""/>
        <p:cNvGrpSpPr/>
        <p:nvPr/>
      </p:nvGrpSpPr>
      <p:grpSpPr>
        <a:xfrm>
          <a:off x="0" y="0"/>
          <a:ext cx="0" cy="0"/>
          <a:chOff x="0" y="0"/>
          <a:chExt cx="0" cy="0"/>
        </a:xfrm>
      </p:grpSpPr>
      <p:pic>
        <p:nvPicPr>
          <p:cNvPr id="24" name="Data Texture Cloud">
            <a:extLst>
              <a:ext uri="{FF2B5EF4-FFF2-40B4-BE49-F238E27FC236}">
                <a16:creationId xmlns:a16="http://schemas.microsoft.com/office/drawing/2014/main" id="{030D5F68-2B7D-5945-9127-3A54A7FB2BFE}"/>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r="48641"/>
          <a:stretch>
            <a:fillRect/>
          </a:stretch>
        </p:blipFill>
        <p:spPr>
          <a:xfrm>
            <a:off x="9881411" y="521208"/>
            <a:ext cx="2310589" cy="1701811"/>
          </a:xfrm>
          <a:prstGeom prst="rect">
            <a:avLst/>
          </a:prstGeom>
        </p:spPr>
      </p:pic>
      <p:sp>
        <p:nvSpPr>
          <p:cNvPr id="16" name="Slide Number">
            <a:extLst>
              <a:ext uri="{FF2B5EF4-FFF2-40B4-BE49-F238E27FC236}">
                <a16:creationId xmlns:a16="http://schemas.microsoft.com/office/drawing/2014/main" id="{03D4BE4B-47A2-B746-908D-9F252050644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21" name="Footer">
            <a:extLst>
              <a:ext uri="{FF2B5EF4-FFF2-40B4-BE49-F238E27FC236}">
                <a16:creationId xmlns:a16="http://schemas.microsoft.com/office/drawing/2014/main" id="{A11C977B-551F-D741-BBF5-29FBF128D91D}"/>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20" name="Text Field">
            <a:extLst>
              <a:ext uri="{FF2B5EF4-FFF2-40B4-BE49-F238E27FC236}">
                <a16:creationId xmlns:a16="http://schemas.microsoft.com/office/drawing/2014/main" id="{02F4F3B9-1A25-4E45-9B9E-E6DE163F5149}"/>
              </a:ext>
            </a:extLst>
          </p:cNvPr>
          <p:cNvSpPr>
            <a:spLocks noGrp="1"/>
          </p:cNvSpPr>
          <p:nvPr>
            <p:ph type="body" sz="quarter" idx="17"/>
          </p:nvPr>
        </p:nvSpPr>
        <p:spPr>
          <a:xfrm>
            <a:off x="8953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Field">
            <a:extLst>
              <a:ext uri="{FF2B5EF4-FFF2-40B4-BE49-F238E27FC236}">
                <a16:creationId xmlns:a16="http://schemas.microsoft.com/office/drawing/2014/main" id="{D92D1E76-E845-ED49-B199-B642E9394D9A}"/>
              </a:ext>
            </a:extLst>
          </p:cNvPr>
          <p:cNvSpPr>
            <a:spLocks noGrp="1"/>
          </p:cNvSpPr>
          <p:nvPr>
            <p:ph type="body" sz="quarter" idx="15"/>
          </p:nvPr>
        </p:nvSpPr>
        <p:spPr>
          <a:xfrm>
            <a:off x="6221476"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Field">
            <a:extLst>
              <a:ext uri="{FF2B5EF4-FFF2-40B4-BE49-F238E27FC236}">
                <a16:creationId xmlns:a16="http://schemas.microsoft.com/office/drawing/2014/main" id="{FAD02FEA-1BCB-BB40-B9E3-D33BD182F3A3}"/>
              </a:ext>
            </a:extLst>
          </p:cNvPr>
          <p:cNvSpPr>
            <a:spLocks noGrp="1"/>
          </p:cNvSpPr>
          <p:nvPr>
            <p:ph type="body" sz="quarter" idx="16"/>
          </p:nvPr>
        </p:nvSpPr>
        <p:spPr>
          <a:xfrm>
            <a:off x="3492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Field">
            <a:extLst>
              <a:ext uri="{FF2B5EF4-FFF2-40B4-BE49-F238E27FC236}">
                <a16:creationId xmlns:a16="http://schemas.microsoft.com/office/drawing/2014/main" id="{CBAC9E2A-9AED-D148-B16F-3A131864B9B9}"/>
              </a:ext>
            </a:extLst>
          </p:cNvPr>
          <p:cNvSpPr>
            <a:spLocks noGrp="1"/>
          </p:cNvSpPr>
          <p:nvPr>
            <p:ph type="body" sz="quarter" idx="14"/>
          </p:nvPr>
        </p:nvSpPr>
        <p:spPr>
          <a:xfrm>
            <a:off x="758951"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49" name="Accent Mark">
            <a:extLst>
              <a:ext uri="{FF2B5EF4-FFF2-40B4-BE49-F238E27FC236}">
                <a16:creationId xmlns:a16="http://schemas.microsoft.com/office/drawing/2014/main" id="{B2F74B94-3BCD-EA4C-BFF9-D9AB5ED375AC}"/>
              </a:ext>
            </a:extLst>
          </p:cNvPr>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pic>
        <p:nvPicPr>
          <p:cNvPr id="22" name="OTag">
            <a:extLst>
              <a:ext uri="{FF2B5EF4-FFF2-40B4-BE49-F238E27FC236}">
                <a16:creationId xmlns:a16="http://schemas.microsoft.com/office/drawing/2014/main" id="{DC0A1747-C21C-E04C-A282-F2D5A6D39D1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4124725878"/>
      </p:ext>
    </p:extLst>
  </p:cSld>
  <p:clrMapOvr>
    <a:masterClrMapping/>
  </p:clrMapOvr>
  <p:extLst>
    <p:ext uri="{DCECCB84-F9BA-43D5-87BE-67443E8EF086}">
      <p15:sldGuideLst xmlns:p15="http://schemas.microsoft.com/office/powerpoint/2012/main">
        <p15:guide id="1" pos="2664">
          <p15:clr>
            <a:srgbClr val="FBAE40"/>
          </p15:clr>
        </p15:guide>
        <p15:guide id="2" pos="4848">
          <p15:clr>
            <a:srgbClr val="FBAE40"/>
          </p15:clr>
        </p15:guide>
        <p15:guide id="3" pos="2544">
          <p15:clr>
            <a:srgbClr val="FBAE40"/>
          </p15:clr>
        </p15:guide>
        <p15:guide id="4" pos="4728">
          <p15:clr>
            <a:srgbClr val="FBAE40"/>
          </p15:clr>
        </p15:guide>
        <p15:guide id="5" pos="691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ark - Metric">
    <p:bg>
      <p:bgPr>
        <a:solidFill>
          <a:schemeClr val="tx1"/>
        </a:solidFill>
        <a:effectLst/>
      </p:bgPr>
    </p:bg>
    <p:spTree>
      <p:nvGrpSpPr>
        <p:cNvPr id="1" name=""/>
        <p:cNvGrpSpPr/>
        <p:nvPr/>
      </p:nvGrpSpPr>
      <p:grpSpPr>
        <a:xfrm>
          <a:off x="0" y="0"/>
          <a:ext cx="0" cy="0"/>
          <a:chOff x="0" y="0"/>
          <a:chExt cx="0" cy="0"/>
        </a:xfrm>
      </p:grpSpPr>
      <p:pic>
        <p:nvPicPr>
          <p:cNvPr id="15" name="Data Texture Image">
            <a:extLst>
              <a:ext uri="{FF2B5EF4-FFF2-40B4-BE49-F238E27FC236}">
                <a16:creationId xmlns:a16="http://schemas.microsoft.com/office/drawing/2014/main" id="{4D9E0825-2EB6-4942-8A02-54702E15897D}"/>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l="50000"/>
          <a:stretch>
            <a:fillRect/>
          </a:stretch>
        </p:blipFill>
        <p:spPr>
          <a:xfrm>
            <a:off x="6095998" y="0"/>
            <a:ext cx="6096002" cy="6858000"/>
          </a:xfrm>
          <a:prstGeom prst="rect">
            <a:avLst/>
          </a:prstGeom>
        </p:spPr>
      </p:pic>
      <p:sp>
        <p:nvSpPr>
          <p:cNvPr id="13" name="Slide Number">
            <a:extLst>
              <a:ext uri="{FF2B5EF4-FFF2-40B4-BE49-F238E27FC236}">
                <a16:creationId xmlns:a16="http://schemas.microsoft.com/office/drawing/2014/main" id="{FCAAB249-B453-7C45-A6AF-DF393B62BD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4" name="Footer">
            <a:extLst>
              <a:ext uri="{FF2B5EF4-FFF2-40B4-BE49-F238E27FC236}">
                <a16:creationId xmlns:a16="http://schemas.microsoft.com/office/drawing/2014/main" id="{CADFF530-7EC4-0543-AEE1-6BF2FB6410A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16" name="Text Field">
            <a:extLst>
              <a:ext uri="{FF2B5EF4-FFF2-40B4-BE49-F238E27FC236}">
                <a16:creationId xmlns:a16="http://schemas.microsoft.com/office/drawing/2014/main" id="{7409CAB6-76E7-5A4A-82F7-8D2B98C6DD05}"/>
              </a:ext>
            </a:extLst>
          </p:cNvPr>
          <p:cNvSpPr>
            <a:spLocks noGrp="1"/>
          </p:cNvSpPr>
          <p:nvPr>
            <p:ph type="body" sz="quarter" idx="12"/>
          </p:nvPr>
        </p:nvSpPr>
        <p:spPr>
          <a:xfrm>
            <a:off x="758952" y="3682999"/>
            <a:ext cx="5081014" cy="2416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17" name="Accent Mark">
            <a:extLst>
              <a:ext uri="{FF2B5EF4-FFF2-40B4-BE49-F238E27FC236}">
                <a16:creationId xmlns:a16="http://schemas.microsoft.com/office/drawing/2014/main" id="{3F1F789C-055A-B94A-B592-6BAC45CA4CA5}"/>
              </a:ext>
            </a:extLst>
          </p:cNvPr>
          <p:cNvCxnSpPr/>
          <p:nvPr userDrawn="1"/>
        </p:nvCxnSpPr>
        <p:spPr>
          <a:xfrm flipH="1">
            <a:off x="768095" y="342899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 name="Metric">
            <a:extLst>
              <a:ext uri="{FF2B5EF4-FFF2-40B4-BE49-F238E27FC236}">
                <a16:creationId xmlns:a16="http://schemas.microsoft.com/office/drawing/2014/main" id="{6D46810D-06AF-8048-A8FC-EB9C64BA9823}"/>
              </a:ext>
            </a:extLst>
          </p:cNvPr>
          <p:cNvSpPr>
            <a:spLocks noGrp="1"/>
          </p:cNvSpPr>
          <p:nvPr>
            <p:ph type="body" sz="quarter" idx="11" hasCustomPrompt="1"/>
          </p:nvPr>
        </p:nvSpPr>
        <p:spPr>
          <a:xfrm>
            <a:off x="761285" y="2297520"/>
            <a:ext cx="5078335" cy="877163"/>
          </a:xfrm>
          <a:prstGeom prst="rect">
            <a:avLst/>
          </a:prstGeom>
        </p:spPr>
        <p:txBody>
          <a:bodyPr wrap="square" lIns="0" rIns="0" anchor="b" anchorCtr="0">
            <a:spAutoFit/>
          </a:bodyPr>
          <a:lstStyle>
            <a:lvl1pPr marL="0" indent="0">
              <a:buNone/>
              <a:defRPr sz="6000" b="0">
                <a:solidFill>
                  <a:schemeClr val="accent6"/>
                </a:solidFill>
                <a:latin typeface="Georgia" panose="02040502050405020303" pitchFamily="18" charset="0"/>
              </a:defRPr>
            </a:lvl1pPr>
          </a:lstStyle>
          <a:p>
            <a:pPr lvl="0"/>
            <a:r>
              <a:rPr lang="en-US"/>
              <a:t>XX%</a:t>
            </a:r>
          </a:p>
        </p:txBody>
      </p:sp>
      <p:pic>
        <p:nvPicPr>
          <p:cNvPr id="10" name="OTag">
            <a:extLst>
              <a:ext uri="{FF2B5EF4-FFF2-40B4-BE49-F238E27FC236}">
                <a16:creationId xmlns:a16="http://schemas.microsoft.com/office/drawing/2014/main" id="{AB13A893-E0C4-9C4F-B7C4-AA3F52AE02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33533945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ght - Customer success metrics headin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80A53CA-DF0D-40E5-8F35-BD2177F810E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23" name="Title 12">
            <a:extLst>
              <a:ext uri="{FF2B5EF4-FFF2-40B4-BE49-F238E27FC236}">
                <a16:creationId xmlns:a16="http://schemas.microsoft.com/office/drawing/2014/main" id="{04642F0C-424B-1C46-89F7-7EB8FCDF94B7}"/>
              </a:ext>
            </a:extLst>
          </p:cNvPr>
          <p:cNvSpPr>
            <a:spLocks noGrp="1"/>
          </p:cNvSpPr>
          <p:nvPr>
            <p:ph type="title"/>
          </p:nvPr>
        </p:nvSpPr>
        <p:spPr>
          <a:xfrm>
            <a:off x="762001" y="1339610"/>
            <a:ext cx="4762526" cy="433580"/>
          </a:xfrm>
          <a:noFill/>
        </p:spPr>
        <p:txBody>
          <a:bodyPr vert="horz" wrap="square" lIns="0" tIns="91440" rIns="91440" bIns="0" rtlCol="0" anchor="b" anchorCtr="0">
            <a:spAutoFit/>
          </a:bodyPr>
          <a:lstStyle>
            <a:lvl1pPr>
              <a:defRPr lang="en-US" sz="2400" b="1" i="0" baseline="0">
                <a:latin typeface="+mn-lt"/>
                <a:ea typeface="+mn-ea"/>
                <a:cs typeface="Oracle Sans Light" panose="020B0403020204020204" pitchFamily="34" charset="0"/>
              </a:defRPr>
            </a:lvl1pPr>
          </a:lstStyle>
          <a:p>
            <a:pPr marL="0" marR="0" lvl="0" indent="0" fontAlgn="auto">
              <a:lnSpc>
                <a:spcPct val="90000"/>
              </a:lnSpc>
              <a:spcBef>
                <a:spcPts val="600"/>
              </a:spcBef>
              <a:spcAft>
                <a:spcPct val="0"/>
              </a:spcAft>
              <a:buClrTx/>
              <a:buSzTx/>
              <a:buFont typeface="System Font Regular"/>
            </a:pPr>
            <a:endParaRPr lang="en-US"/>
          </a:p>
        </p:txBody>
      </p:sp>
      <p:sp>
        <p:nvSpPr>
          <p:cNvPr id="24" name="Text Placeholder 10">
            <a:extLst>
              <a:ext uri="{FF2B5EF4-FFF2-40B4-BE49-F238E27FC236}">
                <a16:creationId xmlns:a16="http://schemas.microsoft.com/office/drawing/2014/main" id="{26AC182B-A8D8-9347-97CD-722489082D56}"/>
              </a:ext>
            </a:extLst>
          </p:cNvPr>
          <p:cNvSpPr>
            <a:spLocks noGrp="1"/>
          </p:cNvSpPr>
          <p:nvPr>
            <p:ph type="body" sz="quarter" idx="18" hasCustomPrompt="1"/>
          </p:nvPr>
        </p:nvSpPr>
        <p:spPr>
          <a:xfrm>
            <a:off x="762000" y="2096560"/>
            <a:ext cx="4762527" cy="762240"/>
          </a:xfrm>
        </p:spPr>
        <p:txBody>
          <a:bodyPr lIns="0" rIns="0" anchor="b">
            <a:noAutofit/>
          </a:bodyPr>
          <a:lstStyle>
            <a:lvl1pPr marL="0" indent="0" algn="l">
              <a:lnSpc>
                <a:spcPct val="100000"/>
              </a:lnSpc>
              <a:buNone/>
              <a:defRPr sz="4400" b="0">
                <a:solidFill>
                  <a:schemeClr val="accent5"/>
                </a:solidFill>
                <a:latin typeface="Georgia" panose="02040502050405020303" pitchFamily="18" charset="0"/>
              </a:defRPr>
            </a:lvl1pPr>
          </a:lstStyle>
          <a:p>
            <a:pPr lvl="0"/>
            <a:r>
              <a:rPr lang="en-US"/>
              <a:t>XX%</a:t>
            </a:r>
          </a:p>
        </p:txBody>
      </p:sp>
      <p:sp>
        <p:nvSpPr>
          <p:cNvPr id="25" name="Text Placeholder 15">
            <a:extLst>
              <a:ext uri="{FF2B5EF4-FFF2-40B4-BE49-F238E27FC236}">
                <a16:creationId xmlns:a16="http://schemas.microsoft.com/office/drawing/2014/main" id="{BACC44FE-304C-A145-ACF7-A4EFEB6E164B}"/>
              </a:ext>
            </a:extLst>
          </p:cNvPr>
          <p:cNvSpPr>
            <a:spLocks noGrp="1"/>
          </p:cNvSpPr>
          <p:nvPr>
            <p:ph type="body" sz="quarter" idx="19" hasCustomPrompt="1"/>
          </p:nvPr>
        </p:nvSpPr>
        <p:spPr>
          <a:xfrm>
            <a:off x="762000" y="2813083"/>
            <a:ext cx="4762532" cy="492443"/>
          </a:xfrm>
        </p:spPr>
        <p:txBody>
          <a:bodyPr wrap="square" lIns="0" rIns="0" anchor="ctr" anchorCtr="0">
            <a:spAutoFit/>
          </a:bodyPr>
          <a:lstStyle>
            <a:lvl1pPr marL="0" indent="0">
              <a:lnSpc>
                <a:spcPct val="100000"/>
              </a:lnSpc>
              <a:buNone/>
              <a:defRPr sz="1600" b="0" i="0">
                <a:solidFill>
                  <a:schemeClr val="tx1"/>
                </a:solidFill>
                <a:latin typeface="+mn-lt"/>
                <a:cs typeface="Oracle Sans Light" panose="020B0403020204020204" pitchFamily="34" charset="0"/>
              </a:defRPr>
            </a:lvl1pPr>
          </a:lstStyle>
          <a:p>
            <a:r>
              <a:rPr lang="en-US"/>
              <a:t>Lorem ipsum dolor sit amet, consectetur adipiscing elit. Duis vitae interdum diam</a:t>
            </a:r>
          </a:p>
        </p:txBody>
      </p:sp>
      <p:sp>
        <p:nvSpPr>
          <p:cNvPr id="26" name="Text Placeholder 10">
            <a:extLst>
              <a:ext uri="{FF2B5EF4-FFF2-40B4-BE49-F238E27FC236}">
                <a16:creationId xmlns:a16="http://schemas.microsoft.com/office/drawing/2014/main" id="{BC302139-8069-794B-950F-53F212D09AD1}"/>
              </a:ext>
            </a:extLst>
          </p:cNvPr>
          <p:cNvSpPr>
            <a:spLocks noGrp="1"/>
          </p:cNvSpPr>
          <p:nvPr>
            <p:ph type="body" sz="quarter" idx="26" hasCustomPrompt="1"/>
          </p:nvPr>
        </p:nvSpPr>
        <p:spPr>
          <a:xfrm>
            <a:off x="762000" y="3467693"/>
            <a:ext cx="4762527" cy="762240"/>
          </a:xfrm>
        </p:spPr>
        <p:txBody>
          <a:bodyPr lIns="0" rIns="0" anchor="b">
            <a:noAutofit/>
          </a:bodyPr>
          <a:lstStyle>
            <a:lvl1pPr marL="0" indent="0" algn="l">
              <a:lnSpc>
                <a:spcPct val="100000"/>
              </a:lnSpc>
              <a:buNone/>
              <a:defRPr sz="4400" b="0">
                <a:solidFill>
                  <a:schemeClr val="accent5"/>
                </a:solidFill>
                <a:latin typeface="Georgia" panose="02040502050405020303" pitchFamily="18" charset="0"/>
              </a:defRPr>
            </a:lvl1pPr>
          </a:lstStyle>
          <a:p>
            <a:pPr lvl="0"/>
            <a:r>
              <a:rPr lang="en-US"/>
              <a:t>XX%</a:t>
            </a:r>
          </a:p>
        </p:txBody>
      </p:sp>
      <p:sp>
        <p:nvSpPr>
          <p:cNvPr id="27" name="Text Placeholder 15">
            <a:extLst>
              <a:ext uri="{FF2B5EF4-FFF2-40B4-BE49-F238E27FC236}">
                <a16:creationId xmlns:a16="http://schemas.microsoft.com/office/drawing/2014/main" id="{ED8756A7-8460-CF4B-A5FD-EDD1183146F0}"/>
              </a:ext>
            </a:extLst>
          </p:cNvPr>
          <p:cNvSpPr>
            <a:spLocks noGrp="1"/>
          </p:cNvSpPr>
          <p:nvPr>
            <p:ph type="body" sz="quarter" idx="27" hasCustomPrompt="1"/>
          </p:nvPr>
        </p:nvSpPr>
        <p:spPr>
          <a:xfrm>
            <a:off x="762000" y="4184216"/>
            <a:ext cx="4762532" cy="492443"/>
          </a:xfrm>
        </p:spPr>
        <p:txBody>
          <a:bodyPr wrap="square" lIns="0" rIns="0" anchor="ctr" anchorCtr="0">
            <a:spAutoFit/>
          </a:bodyPr>
          <a:lstStyle>
            <a:lvl1pPr marL="0" indent="0">
              <a:lnSpc>
                <a:spcPct val="100000"/>
              </a:lnSpc>
              <a:buNone/>
              <a:defRPr sz="1600" b="0" i="0">
                <a:solidFill>
                  <a:schemeClr val="tx1"/>
                </a:solidFill>
                <a:latin typeface="+mn-lt"/>
                <a:cs typeface="Oracle Sans Light" panose="020B0403020204020204" pitchFamily="34" charset="0"/>
              </a:defRPr>
            </a:lvl1pPr>
          </a:lstStyle>
          <a:p>
            <a:r>
              <a:rPr lang="en-US"/>
              <a:t>Lorem ipsum dolor sit amet, consectetur adipiscing elit. Duis vitae interdum diam</a:t>
            </a:r>
          </a:p>
        </p:txBody>
      </p:sp>
      <p:sp>
        <p:nvSpPr>
          <p:cNvPr id="28" name="Text Placeholder 10">
            <a:extLst>
              <a:ext uri="{FF2B5EF4-FFF2-40B4-BE49-F238E27FC236}">
                <a16:creationId xmlns:a16="http://schemas.microsoft.com/office/drawing/2014/main" id="{4AA3A2E0-FD2F-AC47-A3FD-458A23150E98}"/>
              </a:ext>
            </a:extLst>
          </p:cNvPr>
          <p:cNvSpPr>
            <a:spLocks noGrp="1"/>
          </p:cNvSpPr>
          <p:nvPr>
            <p:ph type="body" sz="quarter" idx="28" hasCustomPrompt="1"/>
          </p:nvPr>
        </p:nvSpPr>
        <p:spPr>
          <a:xfrm>
            <a:off x="762000" y="4832826"/>
            <a:ext cx="4762527" cy="762240"/>
          </a:xfrm>
        </p:spPr>
        <p:txBody>
          <a:bodyPr lIns="0" rIns="0" anchor="b">
            <a:noAutofit/>
          </a:bodyPr>
          <a:lstStyle>
            <a:lvl1pPr marL="0" indent="0" algn="l">
              <a:lnSpc>
                <a:spcPct val="100000"/>
              </a:lnSpc>
              <a:buNone/>
              <a:defRPr sz="4400" b="0">
                <a:solidFill>
                  <a:schemeClr val="accent5"/>
                </a:solidFill>
                <a:latin typeface="Georgia" panose="02040502050405020303" pitchFamily="18" charset="0"/>
              </a:defRPr>
            </a:lvl1pPr>
          </a:lstStyle>
          <a:p>
            <a:pPr lvl="0"/>
            <a:r>
              <a:rPr lang="en-US"/>
              <a:t>XX%</a:t>
            </a:r>
          </a:p>
        </p:txBody>
      </p:sp>
      <p:sp>
        <p:nvSpPr>
          <p:cNvPr id="29" name="Text Placeholder 15">
            <a:extLst>
              <a:ext uri="{FF2B5EF4-FFF2-40B4-BE49-F238E27FC236}">
                <a16:creationId xmlns:a16="http://schemas.microsoft.com/office/drawing/2014/main" id="{AA8E81FF-44EB-5044-B060-85E905E76317}"/>
              </a:ext>
            </a:extLst>
          </p:cNvPr>
          <p:cNvSpPr>
            <a:spLocks noGrp="1"/>
          </p:cNvSpPr>
          <p:nvPr>
            <p:ph type="body" sz="quarter" idx="29" hasCustomPrompt="1"/>
          </p:nvPr>
        </p:nvSpPr>
        <p:spPr>
          <a:xfrm>
            <a:off x="762000" y="5549349"/>
            <a:ext cx="4762532" cy="492443"/>
          </a:xfrm>
        </p:spPr>
        <p:txBody>
          <a:bodyPr wrap="square" lIns="0" rIns="0" anchor="ctr" anchorCtr="0">
            <a:spAutoFit/>
          </a:bodyPr>
          <a:lstStyle>
            <a:lvl1pPr marL="0" indent="0">
              <a:lnSpc>
                <a:spcPct val="100000"/>
              </a:lnSpc>
              <a:buNone/>
              <a:defRPr sz="1600" b="0" i="0">
                <a:solidFill>
                  <a:schemeClr val="tx1"/>
                </a:solidFill>
                <a:latin typeface="+mn-lt"/>
                <a:cs typeface="Oracle Sans Light" panose="020B0403020204020204" pitchFamily="34" charset="0"/>
              </a:defRPr>
            </a:lvl1pPr>
          </a:lstStyle>
          <a:p>
            <a:r>
              <a:rPr lang="en-US"/>
              <a:t>Lorem ipsum dolor sit amet, consectetur adipiscing elit. Duis vitae interdum diam</a:t>
            </a:r>
          </a:p>
        </p:txBody>
      </p:sp>
      <p:cxnSp>
        <p:nvCxnSpPr>
          <p:cNvPr id="30" name="Accent Mark">
            <a:extLst>
              <a:ext uri="{FF2B5EF4-FFF2-40B4-BE49-F238E27FC236}">
                <a16:creationId xmlns:a16="http://schemas.microsoft.com/office/drawing/2014/main" id="{624019B5-F1FE-8742-B2A5-D049EBF33B8C}"/>
              </a:ext>
            </a:extLst>
          </p:cNvPr>
          <p:cNvCxnSpPr/>
          <p:nvPr userDrawn="1"/>
        </p:nvCxnSpPr>
        <p:spPr>
          <a:xfrm flipH="1">
            <a:off x="762000" y="1967345"/>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31" name="Picture 30" descr="A picture containing building, clothing&#10;&#10;Description automatically generated">
            <a:extLst>
              <a:ext uri="{FF2B5EF4-FFF2-40B4-BE49-F238E27FC236}">
                <a16:creationId xmlns:a16="http://schemas.microsoft.com/office/drawing/2014/main" id="{D548A3E6-B735-2A4D-A2FD-3D68BDF7E3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0" y="254000"/>
            <a:ext cx="6096000" cy="6604000"/>
          </a:xfrm>
          <a:prstGeom prst="rect">
            <a:avLst/>
          </a:prstGeom>
        </p:spPr>
      </p:pic>
      <p:sp>
        <p:nvSpPr>
          <p:cNvPr id="32" name="Picture Placeholder 2">
            <a:extLst>
              <a:ext uri="{FF2B5EF4-FFF2-40B4-BE49-F238E27FC236}">
                <a16:creationId xmlns:a16="http://schemas.microsoft.com/office/drawing/2014/main" id="{BB01B25E-C2B9-854D-B39F-6D8B76179474}"/>
              </a:ext>
            </a:extLst>
          </p:cNvPr>
          <p:cNvSpPr>
            <a:spLocks noGrp="1"/>
          </p:cNvSpPr>
          <p:nvPr>
            <p:ph type="pic" sz="quarter" idx="25"/>
          </p:nvPr>
        </p:nvSpPr>
        <p:spPr>
          <a:xfrm>
            <a:off x="6095998" y="254000"/>
            <a:ext cx="6096002" cy="6604000"/>
          </a:xfrm>
        </p:spPr>
        <p:txBody>
          <a:bodyPr anchor="ctr"/>
          <a:lstStyle>
            <a:lvl1pPr algn="ctr">
              <a:defRPr>
                <a:solidFill>
                  <a:schemeClr val="bg1"/>
                </a:solidFill>
              </a:defRPr>
            </a:lvl1pPr>
          </a:lstStyle>
          <a:p>
            <a:endParaRPr lang="en-US"/>
          </a:p>
        </p:txBody>
      </p:sp>
      <p:sp>
        <p:nvSpPr>
          <p:cNvPr id="34" name="Picture Placeholder 4">
            <a:extLst>
              <a:ext uri="{FF2B5EF4-FFF2-40B4-BE49-F238E27FC236}">
                <a16:creationId xmlns:a16="http://schemas.microsoft.com/office/drawing/2014/main" id="{770C0ACC-636F-0B42-99E7-6213A103DDE7}"/>
              </a:ext>
            </a:extLst>
          </p:cNvPr>
          <p:cNvSpPr>
            <a:spLocks noGrp="1"/>
          </p:cNvSpPr>
          <p:nvPr>
            <p:ph type="pic" sz="quarter" idx="24" hasCustomPrompt="1"/>
          </p:nvPr>
        </p:nvSpPr>
        <p:spPr>
          <a:xfrm>
            <a:off x="10182140" y="433790"/>
            <a:ext cx="1828800" cy="731520"/>
          </a:xfrm>
          <a:solidFill>
            <a:srgbClr val="FFFFFF"/>
          </a:solidFill>
        </p:spPr>
        <p:txBody>
          <a:bodyPr anchor="ctr" anchorCtr="0"/>
          <a:lstStyle>
            <a:lvl1pPr marL="0" indent="0" algn="ctr">
              <a:buNone/>
              <a:defRPr sz="1800">
                <a:solidFill>
                  <a:schemeClr val="tx1"/>
                </a:solidFill>
              </a:defRPr>
            </a:lvl1pPr>
          </a:lstStyle>
          <a:p>
            <a:r>
              <a:rPr lang="en-US"/>
              <a:t>Logo</a:t>
            </a:r>
          </a:p>
        </p:txBody>
      </p:sp>
      <p:sp>
        <p:nvSpPr>
          <p:cNvPr id="35" name="Slide Number">
            <a:extLst>
              <a:ext uri="{FF2B5EF4-FFF2-40B4-BE49-F238E27FC236}">
                <a16:creationId xmlns:a16="http://schemas.microsoft.com/office/drawing/2014/main" id="{C679498F-988A-7B4D-A363-1A46051AF05D}"/>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36" name="Footer">
            <a:extLst>
              <a:ext uri="{FF2B5EF4-FFF2-40B4-BE49-F238E27FC236}">
                <a16:creationId xmlns:a16="http://schemas.microsoft.com/office/drawing/2014/main" id="{3027DBC1-4FA1-1746-8CE8-969E9E1F73FD}"/>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pic>
        <p:nvPicPr>
          <p:cNvPr id="17" name="OTag">
            <a:extLst>
              <a:ext uri="{FF2B5EF4-FFF2-40B4-BE49-F238E27FC236}">
                <a16:creationId xmlns:a16="http://schemas.microsoft.com/office/drawing/2014/main" id="{464E9F41-F6B1-3643-B12F-938933B58B0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25067025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5_Light - customer success video benefits quote">
    <p:spTree>
      <p:nvGrpSpPr>
        <p:cNvPr id="1" name=""/>
        <p:cNvGrpSpPr/>
        <p:nvPr/>
      </p:nvGrpSpPr>
      <p:grpSpPr>
        <a:xfrm>
          <a:off x="0" y="0"/>
          <a:ext cx="0" cy="0"/>
          <a:chOff x="0" y="0"/>
          <a:chExt cx="0" cy="0"/>
        </a:xfrm>
      </p:grpSpPr>
      <p:pic>
        <p:nvPicPr>
          <p:cNvPr id="13" name="Data Texture Image">
            <a:extLst>
              <a:ext uri="{FF2B5EF4-FFF2-40B4-BE49-F238E27FC236}">
                <a16:creationId xmlns:a16="http://schemas.microsoft.com/office/drawing/2014/main" id="{D24C51A5-9F0F-604F-A9DD-1E523BFCBBB2}"/>
              </a:ext>
            </a:extLst>
          </p:cNvPr>
          <p:cNvPicPr/>
          <p:nvPr userDrawn="1"/>
        </p:nvPicPr>
        <p:blipFill>
          <a:blip r:embed="rId2">
            <a:alphaModFix amt="50000"/>
            <a:extLst>
              <a:ext uri="{28A0092B-C50C-407E-A947-70E740481C1C}">
                <a14:useLocalDpi xmlns:a14="http://schemas.microsoft.com/office/drawing/2010/main" val="0"/>
              </a:ext>
            </a:extLst>
          </a:blip>
          <a:srcRect r="3781"/>
          <a:stretch>
            <a:fillRect/>
          </a:stretch>
        </p:blipFill>
        <p:spPr>
          <a:xfrm>
            <a:off x="6095998" y="0"/>
            <a:ext cx="6096002" cy="6858000"/>
          </a:xfrm>
          <a:prstGeom prst="rect">
            <a:avLst/>
          </a:prstGeom>
          <a:solidFill>
            <a:schemeClr val="tx1">
              <a:lumMod val="10000"/>
              <a:lumOff val="90000"/>
            </a:schemeClr>
          </a:solidFill>
        </p:spPr>
      </p:pic>
      <p:pic>
        <p:nvPicPr>
          <p:cNvPr id="27" name="Picture 26">
            <a:extLst>
              <a:ext uri="{FF2B5EF4-FFF2-40B4-BE49-F238E27FC236}">
                <a16:creationId xmlns:a16="http://schemas.microsoft.com/office/drawing/2014/main" id="{3A3B0518-88E5-44C5-8A5B-C25DABA84A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32" name="Picture Placeholder 4">
            <a:extLst>
              <a:ext uri="{FF2B5EF4-FFF2-40B4-BE49-F238E27FC236}">
                <a16:creationId xmlns:a16="http://schemas.microsoft.com/office/drawing/2014/main" id="{5903F26C-77D6-407A-A036-CE140D350439}"/>
              </a:ext>
            </a:extLst>
          </p:cNvPr>
          <p:cNvSpPr>
            <a:spLocks noGrp="1"/>
          </p:cNvSpPr>
          <p:nvPr>
            <p:ph type="pic" sz="quarter" idx="27" hasCustomPrompt="1"/>
          </p:nvPr>
        </p:nvSpPr>
        <p:spPr>
          <a:xfrm>
            <a:off x="762001" y="766717"/>
            <a:ext cx="1828800" cy="731520"/>
          </a:xfrm>
          <a:solidFill>
            <a:schemeClr val="bg1">
              <a:alpha val="85000"/>
            </a:schemeClr>
          </a:solidFill>
        </p:spPr>
        <p:txBody>
          <a:bodyPr anchor="ctr" anchorCtr="0">
            <a:normAutofit/>
          </a:bodyPr>
          <a:lstStyle>
            <a:lvl1pPr marL="0" indent="0" algn="ctr">
              <a:buNone/>
              <a:defRPr sz="1800">
                <a:solidFill>
                  <a:schemeClr val="tx1"/>
                </a:solidFill>
              </a:defRPr>
            </a:lvl1pPr>
          </a:lstStyle>
          <a:p>
            <a:r>
              <a:rPr lang="en-US"/>
              <a:t>Logo</a:t>
            </a:r>
          </a:p>
        </p:txBody>
      </p:sp>
      <p:sp>
        <p:nvSpPr>
          <p:cNvPr id="15" name="Title 12">
            <a:extLst>
              <a:ext uri="{FF2B5EF4-FFF2-40B4-BE49-F238E27FC236}">
                <a16:creationId xmlns:a16="http://schemas.microsoft.com/office/drawing/2014/main" id="{5EBC3FE8-02A6-5E46-B23F-FA6403512812}"/>
              </a:ext>
            </a:extLst>
          </p:cNvPr>
          <p:cNvSpPr>
            <a:spLocks noGrp="1"/>
          </p:cNvSpPr>
          <p:nvPr>
            <p:ph type="title"/>
          </p:nvPr>
        </p:nvSpPr>
        <p:spPr>
          <a:xfrm>
            <a:off x="762001" y="1953080"/>
            <a:ext cx="4762526" cy="433580"/>
          </a:xfrm>
          <a:noFill/>
        </p:spPr>
        <p:txBody>
          <a:bodyPr vert="horz" wrap="square" lIns="0" tIns="91440" rIns="91440" bIns="0" rtlCol="0" anchor="b" anchorCtr="0">
            <a:spAutoFit/>
          </a:bodyPr>
          <a:lstStyle>
            <a:lvl1pPr>
              <a:defRPr lang="en-US" sz="2400" b="1" i="0" baseline="0">
                <a:latin typeface="+mn-lt"/>
                <a:ea typeface="+mn-ea"/>
                <a:cs typeface="Oracle Sans Light" panose="020B0403020204020204" pitchFamily="34" charset="0"/>
              </a:defRPr>
            </a:lvl1pPr>
          </a:lstStyle>
          <a:p>
            <a:pPr marL="0" marR="0" lvl="0" indent="0" fontAlgn="auto">
              <a:lnSpc>
                <a:spcPct val="90000"/>
              </a:lnSpc>
              <a:spcBef>
                <a:spcPts val="600"/>
              </a:spcBef>
              <a:spcAft>
                <a:spcPct val="0"/>
              </a:spcAft>
              <a:buClrTx/>
              <a:buSzTx/>
              <a:buFont typeface="System Font Regular"/>
            </a:pPr>
            <a:endParaRPr lang="en-US"/>
          </a:p>
        </p:txBody>
      </p:sp>
      <p:cxnSp>
        <p:nvCxnSpPr>
          <p:cNvPr id="16" name="Accent Mark">
            <a:extLst>
              <a:ext uri="{FF2B5EF4-FFF2-40B4-BE49-F238E27FC236}">
                <a16:creationId xmlns:a16="http://schemas.microsoft.com/office/drawing/2014/main" id="{91E7F1DD-D1A7-9C4D-9172-2D1324994BE7}"/>
              </a:ext>
            </a:extLst>
          </p:cNvPr>
          <p:cNvCxnSpPr/>
          <p:nvPr userDrawn="1"/>
        </p:nvCxnSpPr>
        <p:spPr>
          <a:xfrm flipH="1">
            <a:off x="762000" y="2580815"/>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0E2BFAF5-E3E8-EA44-B8CF-0F4EE2018CAD}"/>
              </a:ext>
            </a:extLst>
          </p:cNvPr>
          <p:cNvSpPr>
            <a:spLocks noGrp="1"/>
          </p:cNvSpPr>
          <p:nvPr>
            <p:ph type="body" sz="quarter" idx="14"/>
          </p:nvPr>
        </p:nvSpPr>
        <p:spPr>
          <a:xfrm>
            <a:off x="758950" y="2774972"/>
            <a:ext cx="4762525" cy="33872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4">
            <a:extLst>
              <a:ext uri="{FF2B5EF4-FFF2-40B4-BE49-F238E27FC236}">
                <a16:creationId xmlns:a16="http://schemas.microsoft.com/office/drawing/2014/main" id="{30B9F65A-6CE1-4E4C-8030-AD2990BCB52C}"/>
              </a:ext>
            </a:extLst>
          </p:cNvPr>
          <p:cNvSpPr>
            <a:spLocks noGrp="1"/>
          </p:cNvSpPr>
          <p:nvPr>
            <p:ph type="pic" sz="quarter" idx="10"/>
          </p:nvPr>
        </p:nvSpPr>
        <p:spPr>
          <a:xfrm>
            <a:off x="6095998" y="254000"/>
            <a:ext cx="6096004" cy="3107524"/>
          </a:xfrm>
        </p:spPr>
        <p:txBody>
          <a:bodyPr anchor="ctr"/>
          <a:lstStyle>
            <a:lvl1pPr algn="ctr">
              <a:defRPr/>
            </a:lvl1pPr>
          </a:lstStyle>
          <a:p>
            <a:r>
              <a:rPr lang="en-GB"/>
              <a:t>Click icon to add picture</a:t>
            </a:r>
            <a:endParaRPr lang="en-US"/>
          </a:p>
        </p:txBody>
      </p:sp>
      <p:sp>
        <p:nvSpPr>
          <p:cNvPr id="19" name="Text Placeholder 7">
            <a:extLst>
              <a:ext uri="{FF2B5EF4-FFF2-40B4-BE49-F238E27FC236}">
                <a16:creationId xmlns:a16="http://schemas.microsoft.com/office/drawing/2014/main" id="{36E22881-0120-4E41-8F53-7A71C4EDC3C5}"/>
              </a:ext>
            </a:extLst>
          </p:cNvPr>
          <p:cNvSpPr>
            <a:spLocks noGrp="1"/>
          </p:cNvSpPr>
          <p:nvPr>
            <p:ph type="body" sz="quarter" idx="28" hasCustomPrompt="1"/>
          </p:nvPr>
        </p:nvSpPr>
        <p:spPr>
          <a:xfrm>
            <a:off x="6642014" y="3643552"/>
            <a:ext cx="5003972" cy="2188184"/>
          </a:xfrm>
        </p:spPr>
        <p:txBody>
          <a:bodyPr/>
          <a:lstStyle>
            <a:lvl1pPr>
              <a:lnSpc>
                <a:spcPct val="100000"/>
              </a:lnSpc>
              <a:spcBef>
                <a:spcPct val="0"/>
              </a:spcBef>
              <a:defRPr>
                <a:latin typeface="+mj-lt"/>
              </a:defRPr>
            </a:lvl1pPr>
          </a:lstStyle>
          <a:p>
            <a:pPr lvl="0"/>
            <a:r>
              <a:rPr lang="en-GB"/>
              <a:t>“Click to type customer or partner quote surrounded by quotation marks.”</a:t>
            </a:r>
          </a:p>
        </p:txBody>
      </p:sp>
      <p:pic>
        <p:nvPicPr>
          <p:cNvPr id="20" name="OTag">
            <a:extLst>
              <a:ext uri="{FF2B5EF4-FFF2-40B4-BE49-F238E27FC236}">
                <a16:creationId xmlns:a16="http://schemas.microsoft.com/office/drawing/2014/main" id="{53FFFEFB-5553-7D41-8E32-9CC1BB4B1F7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1" name="Slide Number">
            <a:extLst>
              <a:ext uri="{FF2B5EF4-FFF2-40B4-BE49-F238E27FC236}">
                <a16:creationId xmlns:a16="http://schemas.microsoft.com/office/drawing/2014/main" id="{DCF9E159-9D60-BD48-AF3C-04D589C57F3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22" name="Footer">
            <a:extLst>
              <a:ext uri="{FF2B5EF4-FFF2-40B4-BE49-F238E27FC236}">
                <a16:creationId xmlns:a16="http://schemas.microsoft.com/office/drawing/2014/main" id="{009B88FF-EF5B-2C47-9EAB-61F34293475D}"/>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Tree>
    <p:extLst>
      <p:ext uri="{BB962C8B-B14F-4D97-AF65-F5344CB8AC3E}">
        <p14:creationId xmlns:p14="http://schemas.microsoft.com/office/powerpoint/2010/main" val="1072801345"/>
      </p:ext>
    </p:extLst>
  </p:cSld>
  <p:clrMapOvr>
    <a:masterClrMapping/>
  </p:clrMapOvr>
  <p:extLst>
    <p:ext uri="{DCECCB84-F9BA-43D5-87BE-67443E8EF086}">
      <p15:sldGuideLst xmlns:p15="http://schemas.microsoft.com/office/powerpoint/2012/main">
        <p15:guide id="1" orient="horz" pos="2160">
          <p15:clr>
            <a:srgbClr val="FBAE40"/>
          </p15:clr>
        </p15:guide>
        <p15:guide id="2" pos="365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ark - Thank You">
    <p:bg>
      <p:bgPr>
        <a:solidFill>
          <a:schemeClr val="tx1"/>
        </a:solidFill>
        <a:effectLst/>
      </p:bgPr>
    </p:bg>
    <p:spTree>
      <p:nvGrpSpPr>
        <p:cNvPr id="1" name=""/>
        <p:cNvGrpSpPr/>
        <p:nvPr/>
      </p:nvGrpSpPr>
      <p:grpSpPr>
        <a:xfrm>
          <a:off x="0" y="0"/>
          <a:ext cx="0" cy="0"/>
          <a:chOff x="0" y="0"/>
          <a:chExt cx="0" cy="0"/>
        </a:xfrm>
      </p:grpSpPr>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7" name="Footer">
            <a:extLst>
              <a:ext uri="{FF2B5EF4-FFF2-40B4-BE49-F238E27FC236}">
                <a16:creationId xmlns:a16="http://schemas.microsoft.com/office/drawing/2014/main" id="{354CBADF-4ACD-0F4D-BEAD-FB9AFF378BFB}"/>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pic>
        <p:nvPicPr>
          <p:cNvPr id="3" name="Abstract Illustration">
            <a:extLst>
              <a:ext uri="{FF2B5EF4-FFF2-40B4-BE49-F238E27FC236}">
                <a16:creationId xmlns:a16="http://schemas.microsoft.com/office/drawing/2014/main" id="{3201D9B7-EB85-9E42-AFF5-8FDDBB072D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5999" y="0"/>
            <a:ext cx="6096000" cy="6858000"/>
          </a:xfrm>
          <a:prstGeom prst="rect">
            <a:avLst/>
          </a:prstGeom>
        </p:spPr>
      </p:pic>
      <p:sp>
        <p:nvSpPr>
          <p:cNvPr id="10" name="Text Field">
            <a:extLst>
              <a:ext uri="{FF2B5EF4-FFF2-40B4-BE49-F238E27FC236}">
                <a16:creationId xmlns:a16="http://schemas.microsoft.com/office/drawing/2014/main" id="{C30DAEE6-7960-B84D-9E43-8297742115C4}"/>
              </a:ext>
            </a:extLst>
          </p:cNvPr>
          <p:cNvSpPr>
            <a:spLocks noGrp="1"/>
          </p:cNvSpPr>
          <p:nvPr>
            <p:ph type="body" sz="quarter" idx="36"/>
          </p:nvPr>
        </p:nvSpPr>
        <p:spPr>
          <a:xfrm>
            <a:off x="762000" y="5152453"/>
            <a:ext cx="5029200" cy="895181"/>
          </a:xfrm>
        </p:spPr>
        <p:txBody>
          <a:bodyPr>
            <a:noAutofit/>
          </a:bodyPr>
          <a:lstStyle>
            <a:lvl1pPr>
              <a:defRPr>
                <a:solidFill>
                  <a:schemeClr val="bg1"/>
                </a:solidFill>
              </a:defRPr>
            </a:lvl1pPr>
          </a:lstStyle>
          <a:p>
            <a:pPr lvl="0"/>
            <a:r>
              <a:rPr lang="en-GB"/>
              <a:t>Click to edit Master text styles</a:t>
            </a:r>
          </a:p>
        </p:txBody>
      </p:sp>
      <p:sp>
        <p:nvSpPr>
          <p:cNvPr id="11" name="Text Field">
            <a:extLst>
              <a:ext uri="{FF2B5EF4-FFF2-40B4-BE49-F238E27FC236}">
                <a16:creationId xmlns:a16="http://schemas.microsoft.com/office/drawing/2014/main" id="{B550C986-DC1D-064A-8410-E4A8A3C3A466}"/>
              </a:ext>
            </a:extLst>
          </p:cNvPr>
          <p:cNvSpPr>
            <a:spLocks noGrp="1"/>
          </p:cNvSpPr>
          <p:nvPr>
            <p:ph type="body" sz="quarter" idx="37"/>
          </p:nvPr>
        </p:nvSpPr>
        <p:spPr>
          <a:xfrm>
            <a:off x="762000" y="4814860"/>
            <a:ext cx="5029200" cy="266291"/>
          </a:xfrm>
        </p:spPr>
        <p:txBody>
          <a:bodyPr>
            <a:noAutofit/>
          </a:bodyPr>
          <a:lstStyle>
            <a:lvl1pPr>
              <a:defRPr b="1">
                <a:solidFill>
                  <a:schemeClr val="bg1"/>
                </a:solidFill>
              </a:defRPr>
            </a:lvl1pPr>
          </a:lstStyle>
          <a:p>
            <a:pPr lvl="0"/>
            <a:r>
              <a:rPr lang="en-GB"/>
              <a:t>Click to edit Master text styles</a:t>
            </a:r>
          </a:p>
        </p:txBody>
      </p:sp>
      <p:cxnSp>
        <p:nvCxnSpPr>
          <p:cNvPr id="13" name="Accent Mark">
            <a:extLst>
              <a:ext uri="{FF2B5EF4-FFF2-40B4-BE49-F238E27FC236}">
                <a16:creationId xmlns:a16="http://schemas.microsoft.com/office/drawing/2014/main" id="{8E2FAFB4-C5ED-BC4A-844D-BB78D3D28B90}"/>
              </a:ext>
            </a:extLst>
          </p:cNvPr>
          <p:cNvCxnSpPr/>
          <p:nvPr userDrawn="1"/>
        </p:nvCxnSpPr>
        <p:spPr>
          <a:xfrm flipH="1">
            <a:off x="768098"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hank You">
            <a:extLst>
              <a:ext uri="{FF2B5EF4-FFF2-40B4-BE49-F238E27FC236}">
                <a16:creationId xmlns:a16="http://schemas.microsoft.com/office/drawing/2014/main" id="{1A667D4A-FE6C-2E44-8B9A-7F595154584C}"/>
              </a:ext>
            </a:extLst>
          </p:cNvPr>
          <p:cNvSpPr>
            <a:spLocks noGrp="1"/>
          </p:cNvSpPr>
          <p:nvPr>
            <p:ph type="body" sz="quarter" idx="15" hasCustomPrompt="1"/>
          </p:nvPr>
        </p:nvSpPr>
        <p:spPr>
          <a:xfrm>
            <a:off x="762001" y="3814489"/>
            <a:ext cx="5029200" cy="492443"/>
          </a:xfrm>
          <a:prstGeom prst="rect">
            <a:avLst/>
          </a:prstGeom>
        </p:spPr>
        <p:txBody>
          <a:bodyPr lIns="0" anchor="b" anchorCtr="0">
            <a:noAutofit/>
          </a:bodyPr>
          <a:lstStyle>
            <a:lvl1pPr marL="0" indent="0" algn="l" fontAlgn="t">
              <a:lnSpc>
                <a:spcPct val="100000"/>
              </a:lnSpc>
              <a:spcBef>
                <a:spcPct val="0"/>
              </a:spcBef>
              <a:buNone/>
              <a:defRPr sz="3200" b="0" i="0">
                <a:solidFill>
                  <a:schemeClr val="bg1"/>
                </a:solidFill>
                <a:latin typeface="+mj-lt"/>
                <a:cs typeface="Oracle Sans" panose="020B0503020204020204" pitchFamily="34" charset="0"/>
              </a:defRPr>
            </a:lvl1pPr>
          </a:lstStyle>
          <a:p>
            <a:pPr lvl="0"/>
            <a:r>
              <a:rPr lang="en-US"/>
              <a:t>Thank you</a:t>
            </a:r>
          </a:p>
        </p:txBody>
      </p:sp>
      <p:pic>
        <p:nvPicPr>
          <p:cNvPr id="14" name="OTag">
            <a:extLst>
              <a:ext uri="{FF2B5EF4-FFF2-40B4-BE49-F238E27FC236}">
                <a16:creationId xmlns:a16="http://schemas.microsoft.com/office/drawing/2014/main" id="{604CBC35-FA13-FA40-A70B-05631400A0D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19789716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Dark - Closing Slide">
    <p:bg>
      <p:bgPr>
        <a:solidFill>
          <a:schemeClr val="tx1"/>
        </a:solidFill>
        <a:effectLst/>
      </p:bgPr>
    </p:bg>
    <p:spTree>
      <p:nvGrpSpPr>
        <p:cNvPr id="1" name=""/>
        <p:cNvGrpSpPr/>
        <p:nvPr/>
      </p:nvGrpSpPr>
      <p:grpSpPr>
        <a:xfrm>
          <a:off x="0" y="0"/>
          <a:ext cx="0" cy="0"/>
          <a:chOff x="0" y="0"/>
          <a:chExt cx="0" cy="0"/>
        </a:xfrm>
      </p:grpSpPr>
      <p:pic>
        <p:nvPicPr>
          <p:cNvPr id="3" name="Oracle Logo">
            <a:extLst>
              <a:ext uri="{FF2B5EF4-FFF2-40B4-BE49-F238E27FC236}">
                <a16:creationId xmlns:a16="http://schemas.microsoft.com/office/drawing/2014/main" id="{675A5E3C-9B7E-1248-9024-5EE790FC68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7854" y="2915192"/>
            <a:ext cx="4896292" cy="1027617"/>
          </a:xfrm>
          <a:prstGeom prst="rect">
            <a:avLst/>
          </a:prstGeom>
        </p:spPr>
      </p:pic>
      <p:pic>
        <p:nvPicPr>
          <p:cNvPr id="5" name="Abstract Pattern Strip">
            <a:extLst>
              <a:ext uri="{FF2B5EF4-FFF2-40B4-BE49-F238E27FC236}">
                <a16:creationId xmlns:a16="http://schemas.microsoft.com/office/drawing/2014/main" id="{DA24CEA9-EF8C-E942-A55B-0044027368B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7143098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2_Light Cover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4D8A55-64A2-6045-A65D-ED6F0635E2C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84602" cy="6858000"/>
          </a:xfrm>
          <a:prstGeom prst="rect">
            <a:avLst/>
          </a:prstGeom>
        </p:spPr>
      </p:pic>
      <p:pic>
        <p:nvPicPr>
          <p:cNvPr id="4" name="Picture 3">
            <a:extLst>
              <a:ext uri="{FF2B5EF4-FFF2-40B4-BE49-F238E27FC236}">
                <a16:creationId xmlns:a16="http://schemas.microsoft.com/office/drawing/2014/main" id="{58FA1F9E-D869-45EF-85CD-8BB303511F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4602" cy="6858000"/>
          </a:xfrm>
          <a:prstGeom prst="rect">
            <a:avLst/>
          </a:prstGeom>
        </p:spPr>
      </p:pic>
    </p:spTree>
    <p:extLst>
      <p:ext uri="{BB962C8B-B14F-4D97-AF65-F5344CB8AC3E}">
        <p14:creationId xmlns:p14="http://schemas.microsoft.com/office/powerpoint/2010/main" val="2921859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rk Title slide with border 2">
    <p:spTree>
      <p:nvGrpSpPr>
        <p:cNvPr id="1" name=""/>
        <p:cNvGrpSpPr/>
        <p:nvPr/>
      </p:nvGrpSpPr>
      <p:grpSpPr>
        <a:xfrm>
          <a:off x="0" y="0"/>
          <a:ext cx="0" cy="0"/>
          <a:chOff x="0" y="0"/>
          <a:chExt cx="0" cy="0"/>
        </a:xfrm>
      </p:grpSpPr>
      <p:pic>
        <p:nvPicPr>
          <p:cNvPr id="15" name="Picture 14" descr="A picture containing table, elephant, clothing&#10;&#10;Description automatically generated">
            <a:extLst>
              <a:ext uri="{FF2B5EF4-FFF2-40B4-BE49-F238E27FC236}">
                <a16:creationId xmlns:a16="http://schemas.microsoft.com/office/drawing/2014/main" id="{A6A809C4-004B-41C4-A764-304E91EF7DE9}"/>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1" y="0"/>
            <a:ext cx="12192000" cy="6858000"/>
          </a:xfrm>
          <a:custGeom>
            <a:avLst/>
            <a:gdLst>
              <a:gd name="connsiteX0" fmla="*/ 722372 w 12192000"/>
              <a:gd name="connsiteY0" fmla="*/ 587874 h 6858000"/>
              <a:gd name="connsiteX1" fmla="*/ 722372 w 12192000"/>
              <a:gd name="connsiteY1" fmla="*/ 6270127 h 6858000"/>
              <a:gd name="connsiteX2" fmla="*/ 11469630 w 12192000"/>
              <a:gd name="connsiteY2" fmla="*/ 6270127 h 6858000"/>
              <a:gd name="connsiteX3" fmla="*/ 1146963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22372" y="587874"/>
                </a:moveTo>
                <a:lnTo>
                  <a:pt x="722372" y="6270127"/>
                </a:lnTo>
                <a:lnTo>
                  <a:pt x="11469630" y="6270127"/>
                </a:lnTo>
                <a:lnTo>
                  <a:pt x="11469630" y="587874"/>
                </a:lnTo>
                <a:close/>
                <a:moveTo>
                  <a:pt x="0" y="0"/>
                </a:moveTo>
                <a:lnTo>
                  <a:pt x="12192000" y="0"/>
                </a:lnTo>
                <a:lnTo>
                  <a:pt x="12192000" y="6858000"/>
                </a:lnTo>
                <a:lnTo>
                  <a:pt x="0" y="6858000"/>
                </a:lnTo>
                <a:close/>
              </a:path>
            </a:pathLst>
          </a:custGeom>
        </p:spPr>
      </p:pic>
      <p:sp>
        <p:nvSpPr>
          <p:cNvPr id="20" name="Rectangle 19">
            <a:extLst>
              <a:ext uri="{FF2B5EF4-FFF2-40B4-BE49-F238E27FC236}">
                <a16:creationId xmlns:a16="http://schemas.microsoft.com/office/drawing/2014/main" id="{DD9CD23F-B20E-499B-9C1E-B99F1B32803A}"/>
              </a:ext>
            </a:extLst>
          </p:cNvPr>
          <p:cNvSpPr/>
          <p:nvPr userDrawn="1"/>
        </p:nvSpPr>
        <p:spPr>
          <a:xfrm>
            <a:off x="11356270" y="54944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10">
            <a:extLst>
              <a:ext uri="{FF2B5EF4-FFF2-40B4-BE49-F238E27FC236}">
                <a16:creationId xmlns:a16="http://schemas.microsoft.com/office/drawing/2014/main" id="{10C122FE-A35D-4D48-9A96-B6651F81A0F0}"/>
              </a:ext>
            </a:extLst>
          </p:cNvPr>
          <p:cNvSpPr>
            <a:spLocks noGrp="1"/>
          </p:cNvSpPr>
          <p:nvPr>
            <p:ph type="title"/>
          </p:nvPr>
        </p:nvSpPr>
        <p:spPr>
          <a:xfrm>
            <a:off x="1050568" y="2918256"/>
            <a:ext cx="10076344" cy="909981"/>
          </a:xfrm>
        </p:spPr>
        <p:txBody>
          <a:bodyPr>
            <a:noAutofit/>
          </a:bodyPr>
          <a:lstStyle>
            <a:lvl1pPr algn="l">
              <a:defRPr sz="4000"/>
            </a:lvl1pPr>
          </a:lstStyle>
          <a:p>
            <a:r>
              <a:rPr lang="en-US"/>
              <a:t>Click to edit Master title style</a:t>
            </a:r>
            <a:endParaRPr lang="en-US" dirty="0"/>
          </a:p>
        </p:txBody>
      </p:sp>
      <p:sp>
        <p:nvSpPr>
          <p:cNvPr id="35" name="Text Placeholder 10">
            <a:extLst>
              <a:ext uri="{FF2B5EF4-FFF2-40B4-BE49-F238E27FC236}">
                <a16:creationId xmlns:a16="http://schemas.microsoft.com/office/drawing/2014/main" id="{A6301C15-7797-A94F-B73F-2D2FFD904608}"/>
              </a:ext>
            </a:extLst>
          </p:cNvPr>
          <p:cNvSpPr>
            <a:spLocks noGrp="1"/>
          </p:cNvSpPr>
          <p:nvPr>
            <p:ph type="body" sz="quarter" idx="15" hasCustomPrompt="1"/>
          </p:nvPr>
        </p:nvSpPr>
        <p:spPr>
          <a:xfrm>
            <a:off x="1050568" y="3864362"/>
            <a:ext cx="10076344" cy="416073"/>
          </a:xfrm>
        </p:spPr>
        <p:txBody>
          <a:bodyPr lIns="0">
            <a:noAutofit/>
          </a:bodyPr>
          <a:lstStyle>
            <a:lvl1pPr marL="0" indent="0">
              <a:spcBef>
                <a:spcPts val="0"/>
              </a:spcBef>
              <a:buNone/>
              <a:defRPr sz="2400" b="1" i="0">
                <a:latin typeface="Oracle Sans" panose="020B0503020204020204" pitchFamily="34" charset="0"/>
                <a:cs typeface="Oracle Sans" panose="020B0503020204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subtitle</a:t>
            </a:r>
          </a:p>
        </p:txBody>
      </p:sp>
      <p:pic>
        <p:nvPicPr>
          <p:cNvPr id="36" name="Picture 35">
            <a:extLst>
              <a:ext uri="{FF2B5EF4-FFF2-40B4-BE49-F238E27FC236}">
                <a16:creationId xmlns:a16="http://schemas.microsoft.com/office/drawing/2014/main" id="{716F8285-7F80-9E47-812A-1A8AFBF908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0568" y="838952"/>
            <a:ext cx="1345809" cy="171805"/>
          </a:xfrm>
          <a:prstGeom prst="rect">
            <a:avLst/>
          </a:prstGeom>
        </p:spPr>
      </p:pic>
      <p:pic>
        <p:nvPicPr>
          <p:cNvPr id="11" name="Picture 10">
            <a:extLst>
              <a:ext uri="{FF2B5EF4-FFF2-40B4-BE49-F238E27FC236}">
                <a16:creationId xmlns:a16="http://schemas.microsoft.com/office/drawing/2014/main" id="{5443AB50-F71A-C141-8E4C-4C3726E160BE}"/>
              </a:ext>
            </a:extLst>
          </p:cNvPr>
          <p:cNvPicPr>
            <a:picLocks noChangeAspect="1"/>
          </p:cNvPicPr>
          <p:nvPr userDrawn="1"/>
        </p:nvPicPr>
        <p:blipFill>
          <a:blip r:embed="rId4"/>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FB7D5317-746C-4CF0-AEEE-2D7626ECBDA9}"/>
              </a:ext>
            </a:extLst>
          </p:cNvPr>
          <p:cNvSpPr>
            <a:spLocks noGrp="1"/>
          </p:cNvSpPr>
          <p:nvPr>
            <p:ph type="ftr" sz="quarter" idx="16"/>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7C71D98D-6B46-48EF-8D0D-2AAA099A55E2}"/>
              </a:ext>
            </a:extLst>
          </p:cNvPr>
          <p:cNvSpPr>
            <a:spLocks noGrp="1"/>
          </p:cNvSpPr>
          <p:nvPr>
            <p:ph type="sldNum" sz="quarter" idx="17"/>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112661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ackground Patter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4">
            <a:extLst>
              <a:ext uri="{FF2B5EF4-FFF2-40B4-BE49-F238E27FC236}">
                <a16:creationId xmlns:a16="http://schemas.microsoft.com/office/drawing/2014/main" id="{8877BE8B-6ECB-4A13-840D-2BCFADB7EE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12401"/>
            <a:ext cx="12192000" cy="250235"/>
          </a:xfrm>
          <a:prstGeom prst="rect">
            <a:avLst/>
          </a:prstGeom>
        </p:spPr>
      </p:pic>
      <p:pic>
        <p:nvPicPr>
          <p:cNvPr id="4" name="Picture 21">
            <a:extLst>
              <a:ext uri="{FF2B5EF4-FFF2-40B4-BE49-F238E27FC236}">
                <a16:creationId xmlns:a16="http://schemas.microsoft.com/office/drawing/2014/main" id="{B54C6431-9209-4327-98E5-F71350F71CC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68938" y="6397282"/>
            <a:ext cx="457424" cy="468000"/>
          </a:xfrm>
          <a:prstGeom prst="rect">
            <a:avLst/>
          </a:prstGeom>
        </p:spPr>
      </p:pic>
    </p:spTree>
    <p:extLst>
      <p:ext uri="{BB962C8B-B14F-4D97-AF65-F5344CB8AC3E}">
        <p14:creationId xmlns:p14="http://schemas.microsoft.com/office/powerpoint/2010/main" val="31438554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secHead">
  <p:cSld name="Light 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B9E9CD-D1E8-2941-B6E9-04C71E3BFC8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37183" y="4508411"/>
            <a:ext cx="5854818" cy="2341927"/>
          </a:xfrm>
          <a:prstGeom prst="rect">
            <a:avLst/>
          </a:prstGeom>
        </p:spPr>
      </p:pic>
      <p:pic>
        <p:nvPicPr>
          <p:cNvPr id="8" name="Picture 7">
            <a:extLst>
              <a:ext uri="{FF2B5EF4-FFF2-40B4-BE49-F238E27FC236}">
                <a16:creationId xmlns:a16="http://schemas.microsoft.com/office/drawing/2014/main" id="{D80E6547-E553-8B4C-B613-A55206049B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2" name="Title 1">
            <a:extLst>
              <a:ext uri="{FF2B5EF4-FFF2-40B4-BE49-F238E27FC236}">
                <a16:creationId xmlns:a16="http://schemas.microsoft.com/office/drawing/2014/main" id="{607B599F-269A-4E45-BB4E-31A49D2385EB}"/>
              </a:ext>
            </a:extLst>
          </p:cNvPr>
          <p:cNvSpPr>
            <a:spLocks noGrp="1"/>
          </p:cNvSpPr>
          <p:nvPr>
            <p:ph type="title" hasCustomPrompt="1"/>
          </p:nvPr>
        </p:nvSpPr>
        <p:spPr>
          <a:xfrm>
            <a:off x="768096" y="783026"/>
            <a:ext cx="9887834" cy="844095"/>
          </a:xfrm>
        </p:spPr>
        <p:txBody>
          <a:bodyPr vert="horz" lIns="0" tIns="45720" rIns="0" bIns="4572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Headline</a:t>
            </a:r>
          </a:p>
        </p:txBody>
      </p:sp>
      <p:sp>
        <p:nvSpPr>
          <p:cNvPr id="3" name="Text Placeholder 2">
            <a:extLst>
              <a:ext uri="{FF2B5EF4-FFF2-40B4-BE49-F238E27FC236}">
                <a16:creationId xmlns:a16="http://schemas.microsoft.com/office/drawing/2014/main" id="{FD86EFD9-8225-47A7-9DFF-A350F67E94AA}"/>
              </a:ext>
            </a:extLst>
          </p:cNvPr>
          <p:cNvSpPr>
            <a:spLocks noGrp="1"/>
          </p:cNvSpPr>
          <p:nvPr>
            <p:ph type="body" idx="1" hasCustomPrompt="1"/>
          </p:nvPr>
        </p:nvSpPr>
        <p:spPr>
          <a:xfrm>
            <a:off x="768095" y="2288559"/>
            <a:ext cx="9887835" cy="3360372"/>
          </a:xfrm>
        </p:spPr>
        <p:txBody>
          <a:bodyPr lIns="0" rIns="0">
            <a:noAutofit/>
          </a:bodyPr>
          <a:lstStyle>
            <a:lvl1pPr marL="0" indent="0">
              <a:lnSpc>
                <a:spcPct val="100000"/>
              </a:lnSpc>
              <a:spcBef>
                <a:spcPct val="0"/>
              </a:spcBef>
              <a:buNone/>
              <a:defRPr sz="1800" b="0" i="0" kern="0" spc="0" baseline="0">
                <a:solidFill>
                  <a:srgbClr val="4E3629"/>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Lorem ipsum dolor sit amet, consectetur adipiscing elit. Duis vitae interdum diam, non aliquet enim. Donec auctor metus sed velit imperdiet consectetur. Aenean et turpis sapien.</a:t>
            </a:r>
          </a:p>
        </p:txBody>
      </p:sp>
      <p:sp>
        <p:nvSpPr>
          <p:cNvPr id="10" name="Rectangle 9">
            <a:extLst>
              <a:ext uri="{FF2B5EF4-FFF2-40B4-BE49-F238E27FC236}">
                <a16:creationId xmlns:a16="http://schemas.microsoft.com/office/drawing/2014/main" id="{324354AA-8715-3B44-8031-FEACECD4374F}"/>
              </a:ext>
            </a:extLst>
          </p:cNvPr>
          <p:cNvSpPr/>
          <p:nvPr userDrawn="1"/>
        </p:nvSpPr>
        <p:spPr>
          <a:xfrm>
            <a:off x="768096" y="1867578"/>
            <a:ext cx="310896"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97D596B-4276-C840-B6F0-D309028DB43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437197" y="6356350"/>
            <a:ext cx="501650" cy="501650"/>
          </a:xfrm>
          <a:prstGeom prst="rect">
            <a:avLst/>
          </a:prstGeom>
        </p:spPr>
      </p:pic>
      <p:sp>
        <p:nvSpPr>
          <p:cNvPr id="7" name="Slide Number Placeholder 6">
            <a:extLst>
              <a:ext uri="{FF2B5EF4-FFF2-40B4-BE49-F238E27FC236}">
                <a16:creationId xmlns:a16="http://schemas.microsoft.com/office/drawing/2014/main" id="{9109A7D7-1838-4598-8915-BF0739FE03A8}"/>
              </a:ext>
            </a:extLst>
          </p:cNvPr>
          <p:cNvSpPr>
            <a:spLocks noGrp="1"/>
          </p:cNvSpPr>
          <p:nvPr>
            <p:ph type="sldNum" sz="quarter" idx="11"/>
          </p:nvPr>
        </p:nvSpPr>
        <p:spPr/>
        <p:txBody>
          <a:bodyPr/>
          <a:lstStyle/>
          <a:p>
            <a:fld id="{7C371504-33D9-B044-8C50-620C44A06CB1}" type="slidenum">
              <a:rPr lang="en-US" smtClean="0"/>
              <a:t>‹N°›</a:t>
            </a:fld>
            <a:endParaRPr lang="en-US"/>
          </a:p>
        </p:txBody>
      </p:sp>
      <p:sp>
        <p:nvSpPr>
          <p:cNvPr id="12" name="Footer Placeholder 4">
            <a:extLst>
              <a:ext uri="{FF2B5EF4-FFF2-40B4-BE49-F238E27FC236}">
                <a16:creationId xmlns:a16="http://schemas.microsoft.com/office/drawing/2014/main" id="{880C9023-637D-494C-95E3-A86047569BA4}"/>
              </a:ext>
            </a:extLst>
          </p:cNvPr>
          <p:cNvSpPr>
            <a:spLocks noGrp="1"/>
          </p:cNvSpPr>
          <p:nvPr>
            <p:ph type="ftr" sz="quarter" idx="3"/>
          </p:nvPr>
        </p:nvSpPr>
        <p:spPr>
          <a:xfrm>
            <a:off x="694944" y="6514977"/>
            <a:ext cx="7127152" cy="365125"/>
          </a:xfrm>
          <a:prstGeom prst="rect">
            <a:avLst/>
          </a:prstGeom>
        </p:spPr>
        <p:txBody>
          <a:bodyPr vert="horz" lIns="0" tIns="45720" rIns="0" bIns="45720" rtlCol="0" anchor="ctr"/>
          <a:lstStyle>
            <a:lvl1pPr algn="l">
              <a:defRPr sz="650" b="0" i="0">
                <a:solidFill>
                  <a:schemeClr val="bg2">
                    <a:lumMod val="75000"/>
                  </a:schemeClr>
                </a:solidFill>
                <a:latin typeface="Oracle Sans" panose="020B0503020204020204" pitchFamily="34" charset="0"/>
                <a:cs typeface="Oracle Sans" panose="020B0503020204020204" pitchFamily="34" charset="0"/>
              </a:defRPr>
            </a:lvl1pPr>
          </a:lstStyle>
          <a:p>
            <a:r>
              <a:rPr lang="en-US" sz="800"/>
              <a:t>Copyright © 2020 Oracle and/or its affiliates.</a:t>
            </a:r>
          </a:p>
        </p:txBody>
      </p:sp>
    </p:spTree>
    <p:extLst>
      <p:ext uri="{BB962C8B-B14F-4D97-AF65-F5344CB8AC3E}">
        <p14:creationId xmlns:p14="http://schemas.microsoft.com/office/powerpoint/2010/main" val="131214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Light - Numbered Outline">
    <p:spTree>
      <p:nvGrpSpPr>
        <p:cNvPr id="1" name=""/>
        <p:cNvGrpSpPr/>
        <p:nvPr/>
      </p:nvGrpSpPr>
      <p:grpSpPr>
        <a:xfrm>
          <a:off x="0" y="0"/>
          <a:ext cx="0" cy="0"/>
          <a:chOff x="0" y="0"/>
          <a:chExt cx="0" cy="0"/>
        </a:xfrm>
      </p:grpSpPr>
      <p:pic>
        <p:nvPicPr>
          <p:cNvPr id="28" name="Cloud">
            <a:extLst>
              <a:ext uri="{FF2B5EF4-FFF2-40B4-BE49-F238E27FC236}">
                <a16:creationId xmlns:a16="http://schemas.microsoft.com/office/drawing/2014/main" id="{3CFD71AD-DED9-6542-9425-0CD364D0453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552282" y="4403039"/>
            <a:ext cx="6133750" cy="1695012"/>
          </a:xfrm>
          <a:prstGeom prst="rect">
            <a:avLst/>
          </a:prstGeom>
        </p:spPr>
      </p:pic>
      <p:sp>
        <p:nvSpPr>
          <p:cNvPr id="4" name="Text Placeholder 3">
            <a:extLst>
              <a:ext uri="{FF2B5EF4-FFF2-40B4-BE49-F238E27FC236}">
                <a16:creationId xmlns:a16="http://schemas.microsoft.com/office/drawing/2014/main" id="{0CACCDE9-9415-4B6A-88C5-02BDAA76AAC8}"/>
              </a:ext>
            </a:extLst>
          </p:cNvPr>
          <p:cNvSpPr>
            <a:spLocks noGrp="1"/>
          </p:cNvSpPr>
          <p:nvPr>
            <p:ph type="body" sz="quarter" idx="43"/>
          </p:nvPr>
        </p:nvSpPr>
        <p:spPr>
          <a:xfrm>
            <a:off x="762000" y="1609724"/>
            <a:ext cx="10687050" cy="4505325"/>
          </a:xfrm>
          <a:noFill/>
        </p:spPr>
        <p:txBody>
          <a:bodyPr vert="horz" lIns="0" tIns="0" rIns="0" bIns="0" rtlCol="0">
            <a:noAutofit/>
          </a:bodyPr>
          <a:lstStyle>
            <a:lvl1pPr marL="365125" indent="-365125">
              <a:buClr>
                <a:schemeClr val="accent5"/>
              </a:buClr>
              <a:buFont typeface="+mj-lt"/>
              <a:buAutoNum type="arabicPeriod"/>
              <a:defRPr lang="en-US" dirty="0"/>
            </a:lvl1pPr>
            <a:lvl2pPr marL="548640">
              <a:defRPr lang="en-US" dirty="0"/>
            </a:lvl2pPr>
            <a:lvl3pPr marL="731520">
              <a:defRPr lang="en-US" dirty="0"/>
            </a:lvl3pPr>
            <a:lvl4pPr marL="914400">
              <a:defRPr lang="en-US" dirty="0"/>
            </a:lvl4pPr>
            <a:lvl5pPr marL="10972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9C807732-3520-4DBF-9B75-86BA2E562DF0}"/>
              </a:ext>
            </a:extLst>
          </p:cNvPr>
          <p:cNvSpPr>
            <a:spLocks noGrp="1"/>
          </p:cNvSpPr>
          <p:nvPr>
            <p:ph type="title" hasCustomPrompt="1"/>
          </p:nvPr>
        </p:nvSpPr>
        <p:spPr/>
        <p:txBody>
          <a:bodyPr/>
          <a:lstStyle>
            <a:lvl1pPr>
              <a:defRPr/>
            </a:lvl1pPr>
          </a:lstStyle>
          <a:p>
            <a:r>
              <a:rPr lang="en-US" dirty="0"/>
              <a:t>Title</a:t>
            </a:r>
          </a:p>
        </p:txBody>
      </p:sp>
      <p:sp>
        <p:nvSpPr>
          <p:cNvPr id="3" name="Date Placeholder 2">
            <a:extLst>
              <a:ext uri="{FF2B5EF4-FFF2-40B4-BE49-F238E27FC236}">
                <a16:creationId xmlns:a16="http://schemas.microsoft.com/office/drawing/2014/main" id="{2BF46362-5F33-4F04-9B32-535D333E29C7}"/>
              </a:ext>
            </a:extLst>
          </p:cNvPr>
          <p:cNvSpPr>
            <a:spLocks noGrp="1"/>
          </p:cNvSpPr>
          <p:nvPr>
            <p:ph type="dt" sz="half" idx="45"/>
          </p:nvPr>
        </p:nvSpPr>
        <p:spPr/>
        <p:txBody>
          <a:bodyPr/>
          <a:lstStyle/>
          <a:p>
            <a:r>
              <a:rPr lang="en-US"/>
              <a:t>[Date]</a:t>
            </a:r>
            <a:endParaRPr lang="en-US" dirty="0"/>
          </a:p>
        </p:txBody>
      </p:sp>
      <p:sp>
        <p:nvSpPr>
          <p:cNvPr id="5" name="Footer Placeholder 4">
            <a:extLst>
              <a:ext uri="{FF2B5EF4-FFF2-40B4-BE49-F238E27FC236}">
                <a16:creationId xmlns:a16="http://schemas.microsoft.com/office/drawing/2014/main" id="{D4561260-593D-4AD6-A0E4-834F8BAAC63D}"/>
              </a:ext>
            </a:extLst>
          </p:cNvPr>
          <p:cNvSpPr>
            <a:spLocks noGrp="1"/>
          </p:cNvSpPr>
          <p:nvPr>
            <p:ph type="ftr" sz="quarter" idx="46"/>
          </p:nvPr>
        </p:nvSpPr>
        <p:spPr/>
        <p:txBody>
          <a:bodyPr/>
          <a:lstStyle/>
          <a:p>
            <a:r>
              <a:rPr lang="en-US"/>
              <a:t>Copyright © 2021, Oracle and/or its affiliates  |  Confidential: Internal/Restricted/Highly Restricted</a:t>
            </a:r>
            <a:endParaRPr lang="en-US" dirty="0"/>
          </a:p>
        </p:txBody>
      </p:sp>
      <p:sp>
        <p:nvSpPr>
          <p:cNvPr id="6" name="Slide Number Placeholder 5">
            <a:extLst>
              <a:ext uri="{FF2B5EF4-FFF2-40B4-BE49-F238E27FC236}">
                <a16:creationId xmlns:a16="http://schemas.microsoft.com/office/drawing/2014/main" id="{B9B71F68-88E7-48F0-B084-32D91B0A0BEB}"/>
              </a:ext>
            </a:extLst>
          </p:cNvPr>
          <p:cNvSpPr>
            <a:spLocks noGrp="1"/>
          </p:cNvSpPr>
          <p:nvPr>
            <p:ph type="sldNum" sz="quarter" idx="47"/>
          </p:nvPr>
        </p:nvSpPr>
        <p:spPr/>
        <p:txBody>
          <a:bodyPr/>
          <a:lstStyle/>
          <a:p>
            <a:fld id="{345D60D9-5372-5F40-9443-0F9AE5BDC3C8}" type="slidenum">
              <a:rPr lang="en-US" smtClean="0"/>
              <a:pPr/>
              <a:t>‹N°›</a:t>
            </a:fld>
            <a:endParaRPr lang="en-US" dirty="0"/>
          </a:p>
        </p:txBody>
      </p:sp>
    </p:spTree>
    <p:extLst>
      <p:ext uri="{BB962C8B-B14F-4D97-AF65-F5344CB8AC3E}">
        <p14:creationId xmlns:p14="http://schemas.microsoft.com/office/powerpoint/2010/main" val="209306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Light - Title 1 Column">
    <p:spTree>
      <p:nvGrpSpPr>
        <p:cNvPr id="1" name=""/>
        <p:cNvGrpSpPr/>
        <p:nvPr/>
      </p:nvGrpSpPr>
      <p:grpSpPr>
        <a:xfrm>
          <a:off x="0" y="0"/>
          <a:ext cx="0" cy="0"/>
          <a:chOff x="0" y="0"/>
          <a:chExt cx="0" cy="0"/>
        </a:xfrm>
      </p:grpSpPr>
      <p:pic>
        <p:nvPicPr>
          <p:cNvPr id="9" name="Cloud">
            <a:extLst>
              <a:ext uri="{FF2B5EF4-FFF2-40B4-BE49-F238E27FC236}">
                <a16:creationId xmlns:a16="http://schemas.microsoft.com/office/drawing/2014/main" id="{AF68B48D-7F95-4DA7-B664-4C9D86C8F3E7}"/>
              </a:ext>
              <a:ext uri="{C183D7F6-B498-43B3-948B-1728B52AA6E4}">
                <adec:decorative xmlns:adec="http://schemas.microsoft.com/office/drawing/2017/decorative" val="1"/>
              </a:ext>
            </a:extLst>
          </p:cNvPr>
          <p:cNvPicPr>
            <a:picLocks noChangeAspect="1"/>
          </p:cNvPicPr>
          <p:nvPr/>
        </p:nvPicPr>
        <p:blipFill>
          <a:blip r:embed="rId2">
            <a:alphaModFix amt="80000"/>
            <a:extLst>
              <a:ext uri="{28A0092B-C50C-407E-A947-70E740481C1C}">
                <a14:useLocalDpi xmlns:a14="http://schemas.microsoft.com/office/drawing/2010/main" val="0"/>
              </a:ext>
            </a:extLst>
          </a:blip>
          <a:srcRect t="14531" b="29623"/>
          <a:stretch>
            <a:fillRect/>
          </a:stretch>
        </p:blipFill>
        <p:spPr>
          <a:xfrm>
            <a:off x="6694964" y="318983"/>
            <a:ext cx="5101904" cy="1509818"/>
          </a:xfrm>
          <a:prstGeom prst="rect">
            <a:avLst/>
          </a:prstGeom>
        </p:spPr>
      </p:pic>
      <p:sp>
        <p:nvSpPr>
          <p:cNvPr id="18" name="Title">
            <a:extLst>
              <a:ext uri="{FF2B5EF4-FFF2-40B4-BE49-F238E27FC236}">
                <a16:creationId xmlns:a16="http://schemas.microsoft.com/office/drawing/2014/main" id="{7EB50C14-95FD-4BA4-AED6-A1D55121D1FC}"/>
              </a:ext>
            </a:extLst>
          </p:cNvPr>
          <p:cNvSpPr>
            <a:spLocks noGrp="1"/>
          </p:cNvSpPr>
          <p:nvPr>
            <p:ph type="title" hasCustomPrompt="1"/>
          </p:nvPr>
        </p:nvSpPr>
        <p:spPr>
          <a:xfrm>
            <a:off x="766871" y="508000"/>
            <a:ext cx="10671048" cy="822960"/>
          </a:xfrm>
          <a:noFill/>
        </p:spPr>
        <p:txBody>
          <a:bodyPr/>
          <a:lstStyle>
            <a:lvl1pPr>
              <a:defRPr/>
            </a:lvl1pPr>
          </a:lstStyle>
          <a:p>
            <a:r>
              <a:rPr lang="en-US"/>
              <a:t>Title</a:t>
            </a:r>
          </a:p>
        </p:txBody>
      </p:sp>
      <p:sp>
        <p:nvSpPr>
          <p:cNvPr id="3" name="Content">
            <a:extLst>
              <a:ext uri="{FF2B5EF4-FFF2-40B4-BE49-F238E27FC236}">
                <a16:creationId xmlns:a16="http://schemas.microsoft.com/office/drawing/2014/main" id="{A7769D6F-94B5-44BC-81E6-D6C499F1AAD8}"/>
              </a:ext>
            </a:extLst>
          </p:cNvPr>
          <p:cNvSpPr>
            <a:spLocks noGrp="1"/>
          </p:cNvSpPr>
          <p:nvPr>
            <p:ph idx="1"/>
          </p:nvPr>
        </p:nvSpPr>
        <p:spPr>
          <a:xfrm>
            <a:off x="766871" y="1830033"/>
            <a:ext cx="10671048" cy="4277080"/>
          </a:xfrm>
          <a:noFill/>
        </p:spPr>
        <p:txBody>
          <a:bodyPr vert="horz" lIns="0" tIns="0" rIns="0" bIns="0" rtlCol="0">
            <a:noAutofit/>
          </a:bodyPr>
          <a:lstStyle>
            <a:lvl1pPr>
              <a:defRPr lang="en-US" sz="1800" b="0" i="0" smtClean="0">
                <a:latin typeface="Oracle Sans" panose="020B0503020204020204" pitchFamily="34" charset="0"/>
                <a:cs typeface="Oracle Sans" panose="020B0503020204020204" pitchFamily="34" charset="0"/>
              </a:defRPr>
            </a:lvl1pPr>
            <a:lvl2pPr>
              <a:defRPr lang="en-US" sz="1800" b="0" i="0" smtClean="0">
                <a:latin typeface="Oracle Sans" panose="020B0503020204020204" pitchFamily="34" charset="0"/>
                <a:cs typeface="Oracle Sans" panose="020B0503020204020204" pitchFamily="34" charset="0"/>
              </a:defRPr>
            </a:lvl2pPr>
            <a:lvl3pPr>
              <a:defRPr lang="en-US" sz="1600" smtClean="0">
                <a:latin typeface="Oracle Sans Light" panose="020B0403020204020204" pitchFamily="34" charset="0"/>
                <a:cs typeface="Oracle Sans Light" panose="020B0403020204020204" pitchFamily="34" charset="0"/>
              </a:defRPr>
            </a:lvl3pPr>
            <a:lvl4pPr>
              <a:defRPr lang="en-US" sz="1400" smtClean="0">
                <a:latin typeface="Oracle Sans Light" panose="020B0403020204020204" pitchFamily="34" charset="0"/>
                <a:cs typeface="Oracle Sans Light" panose="020B0403020204020204" pitchFamily="34" charset="0"/>
              </a:defRPr>
            </a:lvl4pPr>
            <a:lvl5pPr>
              <a:defRPr lang="en-US" sz="1200">
                <a:latin typeface="Oracle Sans Light" panose="020B0403020204020204" pitchFamily="34" charset="0"/>
                <a:cs typeface="Oracle Sans Light" panose="020B0403020204020204" pitchFamily="34" charset="0"/>
              </a:defRPr>
            </a:lvl5pPr>
          </a:lstStyle>
          <a:p>
            <a:pPr marL="0" marR="0" lvl="0" indent="0" fontAlgn="auto">
              <a:lnSpc>
                <a:spcPct val="95000"/>
              </a:lnSpc>
              <a:spcBef>
                <a:spcPts val="600"/>
              </a:spcBef>
              <a:spcAft>
                <a:spcPct val="0"/>
              </a:spcAft>
              <a:buClrTx/>
              <a:buSzTx/>
              <a:buFont typeface="System Font Regular"/>
              <a:buNone/>
            </a:pPr>
            <a:r>
              <a:rPr lang="en-US"/>
              <a:t>Click to edit Master text styles</a:t>
            </a:r>
          </a:p>
          <a:p>
            <a:pPr marL="0" marR="0" lvl="1" indent="0" fontAlgn="auto">
              <a:lnSpc>
                <a:spcPct val="95000"/>
              </a:lnSpc>
              <a:spcBef>
                <a:spcPts val="600"/>
              </a:spcBef>
              <a:spcAft>
                <a:spcPct val="0"/>
              </a:spcAft>
              <a:buClrTx/>
              <a:buSzTx/>
              <a:buFont typeface="System Font Regular"/>
              <a:buNone/>
            </a:pPr>
            <a:r>
              <a:rPr lang="en-US"/>
              <a:t>Second level</a:t>
            </a:r>
          </a:p>
          <a:p>
            <a:pPr marL="0" marR="0" lvl="2" indent="0" fontAlgn="auto">
              <a:lnSpc>
                <a:spcPct val="95000"/>
              </a:lnSpc>
              <a:spcBef>
                <a:spcPts val="600"/>
              </a:spcBef>
              <a:spcAft>
                <a:spcPct val="0"/>
              </a:spcAft>
              <a:buClrTx/>
              <a:buSzTx/>
              <a:buFont typeface="System Font Regular"/>
              <a:buNone/>
            </a:pPr>
            <a:r>
              <a:rPr lang="en-US"/>
              <a:t>Third level</a:t>
            </a:r>
          </a:p>
          <a:p>
            <a:pPr marL="0" marR="0" lvl="3" indent="0" fontAlgn="auto">
              <a:lnSpc>
                <a:spcPct val="95000"/>
              </a:lnSpc>
              <a:spcBef>
                <a:spcPts val="600"/>
              </a:spcBef>
              <a:spcAft>
                <a:spcPct val="0"/>
              </a:spcAft>
              <a:buClrTx/>
              <a:buSzTx/>
              <a:buFont typeface="System Font Regular"/>
              <a:buNone/>
            </a:pPr>
            <a:r>
              <a:rPr lang="en-US"/>
              <a:t>Fourth level</a:t>
            </a:r>
          </a:p>
          <a:p>
            <a:pPr marL="0" marR="0" lvl="4" indent="0" fontAlgn="auto">
              <a:lnSpc>
                <a:spcPct val="95000"/>
              </a:lnSpc>
              <a:spcBef>
                <a:spcPts val="600"/>
              </a:spcBef>
              <a:spcAft>
                <a:spcPct val="0"/>
              </a:spcAft>
              <a:buClrTx/>
              <a:buSzTx/>
              <a:buFont typeface="System Font Regular"/>
              <a:buNone/>
            </a:pPr>
            <a:r>
              <a:rPr lang="en-US"/>
              <a:t>Fifth level</a:t>
            </a:r>
          </a:p>
        </p:txBody>
      </p:sp>
      <p:sp>
        <p:nvSpPr>
          <p:cNvPr id="13" name="Slide Number">
            <a:extLst>
              <a:ext uri="{FF2B5EF4-FFF2-40B4-BE49-F238E27FC236}">
                <a16:creationId xmlns:a16="http://schemas.microsoft.com/office/drawing/2014/main" id="{649C3E4A-56A6-4657-815D-5F0928FEFE14}"/>
              </a:ext>
            </a:extLst>
          </p:cNvPr>
          <p:cNvSpPr>
            <a:spLocks noGrp="1"/>
          </p:cNvSpPr>
          <p:nvPr>
            <p:ph type="sldNum" sz="quarter" idx="12"/>
          </p:nvPr>
        </p:nvSpPr>
        <p:spPr/>
        <p:txBody>
          <a:bodyPr/>
          <a:lstStyle/>
          <a:p>
            <a:fld id="{345D60D9-5372-5F40-9443-0F9AE5BDC3C8}" type="slidenum">
              <a:rPr lang="en-US" smtClean="0"/>
              <a:t>‹N°›</a:t>
            </a:fld>
            <a:endParaRPr lang="en-US"/>
          </a:p>
        </p:txBody>
      </p:sp>
      <p:sp>
        <p:nvSpPr>
          <p:cNvPr id="12" name="Footer">
            <a:extLst>
              <a:ext uri="{FF2B5EF4-FFF2-40B4-BE49-F238E27FC236}">
                <a16:creationId xmlns:a16="http://schemas.microsoft.com/office/drawing/2014/main" id="{681B7FDB-21AD-43D3-9629-6865ECE7ADC5}"/>
              </a:ext>
            </a:extLst>
          </p:cNvPr>
          <p:cNvSpPr>
            <a:spLocks noGrp="1"/>
          </p:cNvSpPr>
          <p:nvPr>
            <p:ph type="ftr" sz="quarter" idx="11"/>
          </p:nvPr>
        </p:nvSpPr>
        <p:spPr/>
        <p:txBody>
          <a:bodyPr/>
          <a:lstStyle/>
          <a:p>
            <a:r>
              <a:rPr lang="en-US"/>
              <a:t>Copyright © 2020, Oracle and/or its affiliates  |  Confidential: Internal/Restricted/Highly Restricted</a:t>
            </a:r>
          </a:p>
        </p:txBody>
      </p:sp>
      <p:sp>
        <p:nvSpPr>
          <p:cNvPr id="11" name="Date">
            <a:extLst>
              <a:ext uri="{FF2B5EF4-FFF2-40B4-BE49-F238E27FC236}">
                <a16:creationId xmlns:a16="http://schemas.microsoft.com/office/drawing/2014/main" id="{2872A553-B5A6-4603-91A2-FF76401D8DFC}"/>
              </a:ext>
            </a:extLst>
          </p:cNvPr>
          <p:cNvSpPr>
            <a:spLocks noGrp="1"/>
          </p:cNvSpPr>
          <p:nvPr>
            <p:ph type="dt" sz="half" idx="10"/>
          </p:nvPr>
        </p:nvSpPr>
        <p:spPr/>
        <p:txBody>
          <a:bodyPr/>
          <a:lstStyle/>
          <a:p>
            <a:r>
              <a:rPr lang="en-US"/>
              <a:t>[Date]</a:t>
            </a:r>
          </a:p>
        </p:txBody>
      </p:sp>
    </p:spTree>
    <p:extLst>
      <p:ext uri="{BB962C8B-B14F-4D97-AF65-F5344CB8AC3E}">
        <p14:creationId xmlns:p14="http://schemas.microsoft.com/office/powerpoint/2010/main" val="401182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ight - Title with Abstract Border">
    <p:bg>
      <p:bgPr>
        <a:solidFill>
          <a:schemeClr val="bg2"/>
        </a:solidFill>
        <a:effectLst/>
      </p:bgPr>
    </p:bg>
    <p:spTree>
      <p:nvGrpSpPr>
        <p:cNvPr id="1" name=""/>
        <p:cNvGrpSpPr/>
        <p:nvPr/>
      </p:nvGrpSpPr>
      <p:grpSpPr>
        <a:xfrm>
          <a:off x="0" y="0"/>
          <a:ext cx="0" cy="0"/>
          <a:chOff x="0" y="0"/>
          <a:chExt cx="0" cy="0"/>
        </a:xfrm>
      </p:grpSpPr>
      <p:pic>
        <p:nvPicPr>
          <p:cNvPr id="11" name="Abstract Illustration">
            <a:extLst>
              <a:ext uri="{FF2B5EF4-FFF2-40B4-BE49-F238E27FC236}">
                <a16:creationId xmlns:a16="http://schemas.microsoft.com/office/drawing/2014/main" id="{E5246624-F21C-C74D-A490-03903A0F510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pic>
        <p:nvPicPr>
          <p:cNvPr id="30" name="OTag">
            <a:extLst>
              <a:ext uri="{FF2B5EF4-FFF2-40B4-BE49-F238E27FC236}">
                <a16:creationId xmlns:a16="http://schemas.microsoft.com/office/drawing/2014/main" id="{EDF18AE6-A97A-EC4A-9347-1802C0689B2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4" name="Text Field">
            <a:extLst>
              <a:ext uri="{FF2B5EF4-FFF2-40B4-BE49-F238E27FC236}">
                <a16:creationId xmlns:a16="http://schemas.microsoft.com/office/drawing/2014/main" id="{7F29C372-9BB3-B540-BC47-46BD6E59417E}"/>
              </a:ext>
            </a:extLst>
          </p:cNvPr>
          <p:cNvSpPr>
            <a:spLocks noGrp="1"/>
          </p:cNvSpPr>
          <p:nvPr>
            <p:ph type="body" sz="quarter" idx="34" hasCustomPrompt="1"/>
          </p:nvPr>
        </p:nvSpPr>
        <p:spPr>
          <a:xfrm>
            <a:off x="1018030" y="4706392"/>
            <a:ext cx="5077970" cy="895181"/>
          </a:xfrm>
        </p:spPr>
        <p:txBody>
          <a:bodyPr>
            <a:noAutofit/>
          </a:bodyPr>
          <a:lstStyle>
            <a:lvl1pPr>
              <a:defRPr/>
            </a:lvl1pPr>
          </a:lstStyle>
          <a:p>
            <a:pPr lvl="0"/>
            <a:r>
              <a:rPr lang="en-US" dirty="0"/>
              <a:t>Presenter’s Title</a:t>
            </a:r>
          </a:p>
          <a:p>
            <a:pPr lvl="0"/>
            <a:r>
              <a:rPr lang="en-US" dirty="0"/>
              <a:t>Organization, Division or Business Unit</a:t>
            </a:r>
          </a:p>
          <a:p>
            <a:pPr lvl="0"/>
            <a:r>
              <a:rPr lang="en-US" dirty="0"/>
              <a:t>Month 00, 2019</a:t>
            </a:r>
          </a:p>
        </p:txBody>
      </p:sp>
      <p:sp>
        <p:nvSpPr>
          <p:cNvPr id="15" name="Text Field">
            <a:extLst>
              <a:ext uri="{FF2B5EF4-FFF2-40B4-BE49-F238E27FC236}">
                <a16:creationId xmlns:a16="http://schemas.microsoft.com/office/drawing/2014/main" id="{5EDA7B8D-9195-5945-993F-1344630DF996}"/>
              </a:ext>
            </a:extLst>
          </p:cNvPr>
          <p:cNvSpPr>
            <a:spLocks noGrp="1"/>
          </p:cNvSpPr>
          <p:nvPr>
            <p:ph type="body" sz="quarter" idx="35" hasCustomPrompt="1"/>
          </p:nvPr>
        </p:nvSpPr>
        <p:spPr>
          <a:xfrm>
            <a:off x="1018030" y="4368799"/>
            <a:ext cx="5077970" cy="266291"/>
          </a:xfrm>
        </p:spPr>
        <p:txBody>
          <a:bodyPr>
            <a:noAutofit/>
          </a:bodyPr>
          <a:lstStyle>
            <a:lvl1pPr>
              <a:defRPr b="1"/>
            </a:lvl1pPr>
          </a:lstStyle>
          <a:p>
            <a:pPr lvl="0"/>
            <a:r>
              <a:rPr lang="en-US" dirty="0"/>
              <a:t>Name</a:t>
            </a:r>
          </a:p>
        </p:txBody>
      </p:sp>
      <p:cxnSp>
        <p:nvCxnSpPr>
          <p:cNvPr id="18" name="Accent Mark">
            <a:extLst>
              <a:ext uri="{FF2B5EF4-FFF2-40B4-BE49-F238E27FC236}">
                <a16:creationId xmlns:a16="http://schemas.microsoft.com/office/drawing/2014/main" id="{AA45C8D8-A5D7-DC46-8327-6FCBF03151F6}"/>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7" name="Subhead">
            <a:extLst>
              <a:ext uri="{FF2B5EF4-FFF2-40B4-BE49-F238E27FC236}">
                <a16:creationId xmlns:a16="http://schemas.microsoft.com/office/drawing/2014/main" id="{12EB3548-39AB-5846-A4F6-A7D8515AEE59}"/>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6" name="Title">
            <a:extLst>
              <a:ext uri="{FF2B5EF4-FFF2-40B4-BE49-F238E27FC236}">
                <a16:creationId xmlns:a16="http://schemas.microsoft.com/office/drawing/2014/main" id="{2E021ED4-814D-9648-831F-EDE24ED2D4F8}"/>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0" name="Oracle Logo">
            <a:extLst>
              <a:ext uri="{FF2B5EF4-FFF2-40B4-BE49-F238E27FC236}">
                <a16:creationId xmlns:a16="http://schemas.microsoft.com/office/drawing/2014/main" id="{221EC6FF-8F78-9E44-AD47-BEE824DD0F6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4949" y="1132368"/>
            <a:ext cx="1524893" cy="320040"/>
          </a:xfrm>
          <a:prstGeom prst="rect">
            <a:avLst/>
          </a:prstGeom>
        </p:spPr>
      </p:pic>
    </p:spTree>
    <p:extLst>
      <p:ext uri="{BB962C8B-B14F-4D97-AF65-F5344CB8AC3E}">
        <p14:creationId xmlns:p14="http://schemas.microsoft.com/office/powerpoint/2010/main" val="429214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ark - Title with Abstract Border">
    <p:bg>
      <p:bgPr>
        <a:solidFill>
          <a:schemeClr val="tx1"/>
        </a:solidFill>
        <a:effectLst/>
      </p:bgPr>
    </p:bg>
    <p:spTree>
      <p:nvGrpSpPr>
        <p:cNvPr id="1" name=""/>
        <p:cNvGrpSpPr/>
        <p:nvPr/>
      </p:nvGrpSpPr>
      <p:grpSpPr>
        <a:xfrm>
          <a:off x="0" y="0"/>
          <a:ext cx="0" cy="0"/>
          <a:chOff x="0" y="0"/>
          <a:chExt cx="0" cy="0"/>
        </a:xfrm>
      </p:grpSpPr>
      <p:pic>
        <p:nvPicPr>
          <p:cNvPr id="11" name="Abstract Illustration">
            <a:extLst>
              <a:ext uri="{FF2B5EF4-FFF2-40B4-BE49-F238E27FC236}">
                <a16:creationId xmlns:a16="http://schemas.microsoft.com/office/drawing/2014/main" id="{E5246624-F21C-C74D-A490-03903A0F510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pic>
        <p:nvPicPr>
          <p:cNvPr id="30" name="OTag">
            <a:extLst>
              <a:ext uri="{FF2B5EF4-FFF2-40B4-BE49-F238E27FC236}">
                <a16:creationId xmlns:a16="http://schemas.microsoft.com/office/drawing/2014/main" id="{EDF18AE6-A97A-EC4A-9347-1802C0689B2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0" name="Text Field">
            <a:extLst>
              <a:ext uri="{FF2B5EF4-FFF2-40B4-BE49-F238E27FC236}">
                <a16:creationId xmlns:a16="http://schemas.microsoft.com/office/drawing/2014/main" id="{2F4884B3-43B9-8948-A2FF-2AF993C7B39B}"/>
              </a:ext>
            </a:extLst>
          </p:cNvPr>
          <p:cNvSpPr>
            <a:spLocks noGrp="1"/>
          </p:cNvSpPr>
          <p:nvPr>
            <p:ph type="body" sz="quarter" idx="36" hasCustomPrompt="1"/>
          </p:nvPr>
        </p:nvSpPr>
        <p:spPr>
          <a:xfrm>
            <a:off x="1018030" y="4706392"/>
            <a:ext cx="5077970" cy="895181"/>
          </a:xfrm>
        </p:spPr>
        <p:txBody>
          <a:bodyPr>
            <a:noAutofit/>
          </a:bodyPr>
          <a:lstStyle>
            <a:lvl1pPr>
              <a:defRPr>
                <a:solidFill>
                  <a:schemeClr val="bg1"/>
                </a:solidFill>
              </a:defRPr>
            </a:lvl1pPr>
          </a:lstStyle>
          <a:p>
            <a:pPr lvl="0"/>
            <a:r>
              <a:rPr lang="en-US" dirty="0"/>
              <a:t>Presenter’s Title</a:t>
            </a:r>
          </a:p>
          <a:p>
            <a:pPr lvl="0"/>
            <a:r>
              <a:rPr lang="en-US" dirty="0"/>
              <a:t>Organization, Division or Business Unit</a:t>
            </a:r>
          </a:p>
          <a:p>
            <a:pPr lvl="0"/>
            <a:r>
              <a:rPr lang="en-US" dirty="0"/>
              <a:t>Month 00, 2019</a:t>
            </a:r>
          </a:p>
        </p:txBody>
      </p:sp>
      <p:sp>
        <p:nvSpPr>
          <p:cNvPr id="12" name="Text Field">
            <a:extLst>
              <a:ext uri="{FF2B5EF4-FFF2-40B4-BE49-F238E27FC236}">
                <a16:creationId xmlns:a16="http://schemas.microsoft.com/office/drawing/2014/main" id="{7644EA95-76DF-454F-88E7-28C26C8FF2CD}"/>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bg1"/>
                </a:solidFill>
              </a:defRPr>
            </a:lvl1pPr>
          </a:lstStyle>
          <a:p>
            <a:pPr lvl="0"/>
            <a:r>
              <a:rPr lang="en-US" dirty="0"/>
              <a:t>Name</a:t>
            </a:r>
          </a:p>
        </p:txBody>
      </p:sp>
      <p:cxnSp>
        <p:nvCxnSpPr>
          <p:cNvPr id="18" name="Accent Mark">
            <a:extLst>
              <a:ext uri="{FF2B5EF4-FFF2-40B4-BE49-F238E27FC236}">
                <a16:creationId xmlns:a16="http://schemas.microsoft.com/office/drawing/2014/main" id="{AA45C8D8-A5D7-DC46-8327-6FCBF03151F6}"/>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7" name="Subhead">
            <a:extLst>
              <a:ext uri="{FF2B5EF4-FFF2-40B4-BE49-F238E27FC236}">
                <a16:creationId xmlns:a16="http://schemas.microsoft.com/office/drawing/2014/main" id="{12EB3548-39AB-5846-A4F6-A7D8515AEE59}"/>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6" name="Title">
            <a:extLst>
              <a:ext uri="{FF2B5EF4-FFF2-40B4-BE49-F238E27FC236}">
                <a16:creationId xmlns:a16="http://schemas.microsoft.com/office/drawing/2014/main" id="{2E021ED4-814D-9648-831F-EDE24ED2D4F8}"/>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solidFill>
                  <a:schemeClr val="bg1"/>
                </a:solidFill>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3" name="Oracle Logo">
            <a:extLst>
              <a:ext uri="{FF2B5EF4-FFF2-40B4-BE49-F238E27FC236}">
                <a16:creationId xmlns:a16="http://schemas.microsoft.com/office/drawing/2014/main" id="{83B5A1C8-DD86-0940-AC6C-BD8F5A957A0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44949" y="1132368"/>
            <a:ext cx="1524893" cy="320039"/>
          </a:xfrm>
          <a:prstGeom prst="rect">
            <a:avLst/>
          </a:prstGeom>
        </p:spPr>
      </p:pic>
    </p:spTree>
    <p:extLst>
      <p:ext uri="{BB962C8B-B14F-4D97-AF65-F5344CB8AC3E}">
        <p14:creationId xmlns:p14="http://schemas.microsoft.com/office/powerpoint/2010/main" val="397995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ght - Title">
    <p:bg>
      <p:bgPr>
        <a:solidFill>
          <a:schemeClr val="bg2"/>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A96A34BF-1E0A-1545-9385-60E322784BA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2844" r="-322"/>
          <a:stretch/>
        </p:blipFill>
        <p:spPr>
          <a:xfrm flipH="1">
            <a:off x="8700654" y="248024"/>
            <a:ext cx="3491346" cy="1957206"/>
          </a:xfrm>
          <a:prstGeom prst="rect">
            <a:avLst/>
          </a:prstGeom>
        </p:spPr>
      </p:pic>
      <p:pic>
        <p:nvPicPr>
          <p:cNvPr id="18" name="OTag">
            <a:extLst>
              <a:ext uri="{FF2B5EF4-FFF2-40B4-BE49-F238E27FC236}">
                <a16:creationId xmlns:a16="http://schemas.microsoft.com/office/drawing/2014/main" id="{7BFEFC66-2347-E947-A49E-DD43E74CCC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0" name="Text Field">
            <a:extLst>
              <a:ext uri="{FF2B5EF4-FFF2-40B4-BE49-F238E27FC236}">
                <a16:creationId xmlns:a16="http://schemas.microsoft.com/office/drawing/2014/main" id="{A57492F9-1AD2-9346-9BB6-C0CF36DEF5ED}"/>
              </a:ext>
            </a:extLst>
          </p:cNvPr>
          <p:cNvSpPr>
            <a:spLocks noGrp="1"/>
          </p:cNvSpPr>
          <p:nvPr>
            <p:ph type="body" sz="quarter" idx="34" hasCustomPrompt="1"/>
          </p:nvPr>
        </p:nvSpPr>
        <p:spPr>
          <a:xfrm>
            <a:off x="1018030" y="4706392"/>
            <a:ext cx="5077970" cy="895181"/>
          </a:xfrm>
        </p:spPr>
        <p:txBody>
          <a:bodyPr>
            <a:noAutofit/>
          </a:bodyPr>
          <a:lstStyle>
            <a:lvl1pPr>
              <a:defRPr/>
            </a:lvl1pPr>
          </a:lstStyle>
          <a:p>
            <a:pPr lvl="0"/>
            <a:r>
              <a:rPr lang="en-US" dirty="0"/>
              <a:t>Presenter’s Title</a:t>
            </a:r>
          </a:p>
          <a:p>
            <a:pPr lvl="0"/>
            <a:r>
              <a:rPr lang="en-US" dirty="0"/>
              <a:t>Organization, Division or Business Unit</a:t>
            </a:r>
          </a:p>
          <a:p>
            <a:pPr lvl="0"/>
            <a:r>
              <a:rPr lang="en-US" dirty="0"/>
              <a:t>Month 00, 2019</a:t>
            </a:r>
          </a:p>
        </p:txBody>
      </p:sp>
      <p:sp>
        <p:nvSpPr>
          <p:cNvPr id="11" name="Text Field">
            <a:extLst>
              <a:ext uri="{FF2B5EF4-FFF2-40B4-BE49-F238E27FC236}">
                <a16:creationId xmlns:a16="http://schemas.microsoft.com/office/drawing/2014/main" id="{5096A149-B6C9-A04E-A2B0-54CCFAA42526}"/>
              </a:ext>
            </a:extLst>
          </p:cNvPr>
          <p:cNvSpPr>
            <a:spLocks noGrp="1"/>
          </p:cNvSpPr>
          <p:nvPr>
            <p:ph type="body" sz="quarter" idx="35" hasCustomPrompt="1"/>
          </p:nvPr>
        </p:nvSpPr>
        <p:spPr>
          <a:xfrm>
            <a:off x="1018030" y="4368799"/>
            <a:ext cx="5077970" cy="266291"/>
          </a:xfrm>
        </p:spPr>
        <p:txBody>
          <a:bodyPr>
            <a:noAutofit/>
          </a:bodyPr>
          <a:lstStyle>
            <a:lvl1pPr>
              <a:defRPr b="1"/>
            </a:lvl1pPr>
          </a:lstStyle>
          <a:p>
            <a:pPr lvl="0"/>
            <a:r>
              <a:rPr lang="en-US" dirty="0"/>
              <a:t>Name</a:t>
            </a:r>
          </a:p>
        </p:txBody>
      </p:sp>
      <p:cxnSp>
        <p:nvCxnSpPr>
          <p:cNvPr id="26" name="Accent Mark">
            <a:extLst>
              <a:ext uri="{FF2B5EF4-FFF2-40B4-BE49-F238E27FC236}">
                <a16:creationId xmlns:a16="http://schemas.microsoft.com/office/drawing/2014/main" id="{0128FA38-C7A0-1C40-B6A7-8B991B8BE254}"/>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Subhead">
            <a:extLst>
              <a:ext uri="{FF2B5EF4-FFF2-40B4-BE49-F238E27FC236}">
                <a16:creationId xmlns:a16="http://schemas.microsoft.com/office/drawing/2014/main" id="{DE85AE1C-733D-7244-A6DA-C3ADBC76ED0C}"/>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4" name="Title">
            <a:extLst>
              <a:ext uri="{FF2B5EF4-FFF2-40B4-BE49-F238E27FC236}">
                <a16:creationId xmlns:a16="http://schemas.microsoft.com/office/drawing/2014/main" id="{461BB5F1-8825-7944-96EB-8445317513F5}"/>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2" name="Oracle Logo">
            <a:extLst>
              <a:ext uri="{FF2B5EF4-FFF2-40B4-BE49-F238E27FC236}">
                <a16:creationId xmlns:a16="http://schemas.microsoft.com/office/drawing/2014/main" id="{37E7F181-1615-4A41-B1E8-B9FF5CDED01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4949" y="1132368"/>
            <a:ext cx="1524893" cy="320040"/>
          </a:xfrm>
          <a:prstGeom prst="rect">
            <a:avLst/>
          </a:prstGeom>
        </p:spPr>
      </p:pic>
    </p:spTree>
    <p:extLst>
      <p:ext uri="{BB962C8B-B14F-4D97-AF65-F5344CB8AC3E}">
        <p14:creationId xmlns:p14="http://schemas.microsoft.com/office/powerpoint/2010/main" val="83175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ark - Title">
    <p:bg>
      <p:bgPr>
        <a:solidFill>
          <a:schemeClr val="tx1"/>
        </a:solidFill>
        <a:effectLst/>
      </p:bgPr>
    </p:bg>
    <p:spTree>
      <p:nvGrpSpPr>
        <p:cNvPr id="1" name=""/>
        <p:cNvGrpSpPr/>
        <p:nvPr/>
      </p:nvGrpSpPr>
      <p:grpSpPr>
        <a:xfrm>
          <a:off x="0" y="0"/>
          <a:ext cx="0" cy="0"/>
          <a:chOff x="0" y="0"/>
          <a:chExt cx="0" cy="0"/>
        </a:xfrm>
      </p:grpSpPr>
      <p:pic>
        <p:nvPicPr>
          <p:cNvPr id="12" name="Data Texture Cloud">
            <a:extLst>
              <a:ext uri="{FF2B5EF4-FFF2-40B4-BE49-F238E27FC236}">
                <a16:creationId xmlns:a16="http://schemas.microsoft.com/office/drawing/2014/main" id="{499583B1-AAC7-DF46-871D-A4B35A6CA86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2683"/>
          <a:stretch/>
        </p:blipFill>
        <p:spPr>
          <a:xfrm flipH="1">
            <a:off x="8709003" y="248024"/>
            <a:ext cx="3482997" cy="1957206"/>
          </a:xfrm>
          <a:prstGeom prst="rect">
            <a:avLst/>
          </a:prstGeom>
        </p:spPr>
      </p:pic>
      <p:pic>
        <p:nvPicPr>
          <p:cNvPr id="18" name="OTag">
            <a:extLst>
              <a:ext uri="{FF2B5EF4-FFF2-40B4-BE49-F238E27FC236}">
                <a16:creationId xmlns:a16="http://schemas.microsoft.com/office/drawing/2014/main" id="{7BFEFC66-2347-E947-A49E-DD43E74CCC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0" name="Text Field">
            <a:extLst>
              <a:ext uri="{FF2B5EF4-FFF2-40B4-BE49-F238E27FC236}">
                <a16:creationId xmlns:a16="http://schemas.microsoft.com/office/drawing/2014/main" id="{3B955B49-F36B-EB4F-AB69-FBF0ADA0BF96}"/>
              </a:ext>
            </a:extLst>
          </p:cNvPr>
          <p:cNvSpPr>
            <a:spLocks noGrp="1"/>
          </p:cNvSpPr>
          <p:nvPr>
            <p:ph type="body" sz="quarter" idx="36" hasCustomPrompt="1"/>
          </p:nvPr>
        </p:nvSpPr>
        <p:spPr>
          <a:xfrm>
            <a:off x="1018030" y="4706392"/>
            <a:ext cx="5077970" cy="895181"/>
          </a:xfrm>
        </p:spPr>
        <p:txBody>
          <a:bodyPr>
            <a:noAutofit/>
          </a:bodyPr>
          <a:lstStyle>
            <a:lvl1pPr>
              <a:defRPr>
                <a:solidFill>
                  <a:schemeClr val="bg1"/>
                </a:solidFill>
              </a:defRPr>
            </a:lvl1pPr>
          </a:lstStyle>
          <a:p>
            <a:pPr lvl="0"/>
            <a:r>
              <a:rPr lang="en-US" dirty="0"/>
              <a:t>Presenter’s Title</a:t>
            </a:r>
          </a:p>
          <a:p>
            <a:pPr lvl="0"/>
            <a:r>
              <a:rPr lang="en-US" dirty="0"/>
              <a:t>Organization, Division or Business Unit</a:t>
            </a:r>
          </a:p>
          <a:p>
            <a:pPr lvl="0"/>
            <a:r>
              <a:rPr lang="en-US" dirty="0"/>
              <a:t>Month 00, 2019</a:t>
            </a:r>
          </a:p>
        </p:txBody>
      </p:sp>
      <p:sp>
        <p:nvSpPr>
          <p:cNvPr id="11" name="Text Field">
            <a:extLst>
              <a:ext uri="{FF2B5EF4-FFF2-40B4-BE49-F238E27FC236}">
                <a16:creationId xmlns:a16="http://schemas.microsoft.com/office/drawing/2014/main" id="{F5080E03-4D40-2D4C-B9AE-5A941EDB1135}"/>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bg1"/>
                </a:solidFill>
              </a:defRPr>
            </a:lvl1pPr>
          </a:lstStyle>
          <a:p>
            <a:pPr lvl="0"/>
            <a:r>
              <a:rPr lang="en-US" dirty="0"/>
              <a:t>Name</a:t>
            </a:r>
          </a:p>
        </p:txBody>
      </p:sp>
      <p:cxnSp>
        <p:nvCxnSpPr>
          <p:cNvPr id="26" name="Accent Mark">
            <a:extLst>
              <a:ext uri="{FF2B5EF4-FFF2-40B4-BE49-F238E27FC236}">
                <a16:creationId xmlns:a16="http://schemas.microsoft.com/office/drawing/2014/main" id="{0128FA38-C7A0-1C40-B6A7-8B991B8BE254}"/>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Subhead">
            <a:extLst>
              <a:ext uri="{FF2B5EF4-FFF2-40B4-BE49-F238E27FC236}">
                <a16:creationId xmlns:a16="http://schemas.microsoft.com/office/drawing/2014/main" id="{DE85AE1C-733D-7244-A6DA-C3ADBC76ED0C}"/>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4" name="Title">
            <a:extLst>
              <a:ext uri="{FF2B5EF4-FFF2-40B4-BE49-F238E27FC236}">
                <a16:creationId xmlns:a16="http://schemas.microsoft.com/office/drawing/2014/main" id="{461BB5F1-8825-7944-96EB-8445317513F5}"/>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solidFill>
                  <a:schemeClr val="bg1"/>
                </a:solidFill>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5" name="Oracle Logo">
            <a:extLst>
              <a:ext uri="{FF2B5EF4-FFF2-40B4-BE49-F238E27FC236}">
                <a16:creationId xmlns:a16="http://schemas.microsoft.com/office/drawing/2014/main" id="{274909A3-6AF4-7640-ABF1-16382D5EACB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44949" y="1132368"/>
            <a:ext cx="1524893" cy="320039"/>
          </a:xfrm>
          <a:prstGeom prst="rect">
            <a:avLst/>
          </a:prstGeom>
        </p:spPr>
      </p:pic>
    </p:spTree>
    <p:extLst>
      <p:ext uri="{BB962C8B-B14F-4D97-AF65-F5344CB8AC3E}">
        <p14:creationId xmlns:p14="http://schemas.microsoft.com/office/powerpoint/2010/main" val="416669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Light - Safe Harbor">
    <p:bg>
      <p:bgPr>
        <a:solidFill>
          <a:schemeClr val="bg2"/>
        </a:solidFill>
        <a:effectLst/>
      </p:bgPr>
    </p:bg>
    <p:spTree>
      <p:nvGrpSpPr>
        <p:cNvPr id="1" name=""/>
        <p:cNvGrpSpPr/>
        <p:nvPr/>
      </p:nvGrpSpPr>
      <p:grpSpPr>
        <a:xfrm>
          <a:off x="0" y="0"/>
          <a:ext cx="0" cy="0"/>
          <a:chOff x="0" y="0"/>
          <a:chExt cx="0" cy="0"/>
        </a:xfrm>
      </p:grpSpPr>
      <p:pic>
        <p:nvPicPr>
          <p:cNvPr id="12" name="Data Texture Cloud">
            <a:extLst>
              <a:ext uri="{FF2B5EF4-FFF2-40B4-BE49-F238E27FC236}">
                <a16:creationId xmlns:a16="http://schemas.microsoft.com/office/drawing/2014/main" id="{1232875C-001D-FE46-B15E-BCC2DA970349}"/>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18" name="OTag">
            <a:extLst>
              <a:ext uri="{FF2B5EF4-FFF2-40B4-BE49-F238E27FC236}">
                <a16:creationId xmlns:a16="http://schemas.microsoft.com/office/drawing/2014/main" id="{F65C325A-C973-E74C-AD41-1A4DFAE0BB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6" name="Footer">
            <a:extLst>
              <a:ext uri="{FF2B5EF4-FFF2-40B4-BE49-F238E27FC236}">
                <a16:creationId xmlns:a16="http://schemas.microsoft.com/office/drawing/2014/main" id="{7BC9362C-AFA6-F540-9D01-A62EB6756A29}"/>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4" name="Text Field">
            <a:extLst>
              <a:ext uri="{FF2B5EF4-FFF2-40B4-BE49-F238E27FC236}">
                <a16:creationId xmlns:a16="http://schemas.microsoft.com/office/drawing/2014/main" id="{EA78FDD8-084D-2D41-A37D-7DE0C431B1DA}"/>
              </a:ext>
            </a:extLst>
          </p:cNvPr>
          <p:cNvSpPr txBox="1"/>
          <p:nvPr userDrawn="1"/>
        </p:nvSpPr>
        <p:spPr>
          <a:xfrm>
            <a:off x="758952" y="1837944"/>
            <a:ext cx="10671048" cy="1318887"/>
          </a:xfrm>
          <a:prstGeom prst="rect">
            <a:avLst/>
          </a:prstGeom>
          <a:noFill/>
        </p:spPr>
        <p:txBody>
          <a:bodyPr wrap="square" lIns="0" tIns="0" rIns="0" bIns="0" rtlCol="0">
            <a:spAutoFit/>
          </a:bodyPr>
          <a:lstStyle/>
          <a:p>
            <a:pPr>
              <a:lnSpc>
                <a:spcPct val="95000"/>
              </a:lnSpc>
              <a:spcBef>
                <a:spcPts val="1200"/>
              </a:spcBef>
            </a:pPr>
            <a:r>
              <a:rPr lang="en-US" dirty="0">
                <a:solidFill>
                  <a:srgbClr val="312D2A"/>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p:txBody>
      </p:sp>
      <p:cxnSp>
        <p:nvCxnSpPr>
          <p:cNvPr id="33" name="Accent Mark">
            <a:extLst>
              <a:ext uri="{FF2B5EF4-FFF2-40B4-BE49-F238E27FC236}">
                <a16:creationId xmlns:a16="http://schemas.microsoft.com/office/drawing/2014/main" id="{F8F561A6-16DC-7848-8FAE-BF35C0DBFABA}"/>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3" name="Title">
            <a:extLst>
              <a:ext uri="{FF2B5EF4-FFF2-40B4-BE49-F238E27FC236}">
                <a16:creationId xmlns:a16="http://schemas.microsoft.com/office/drawing/2014/main" id="{F7C5FACA-CB69-F341-96EC-260102929140}"/>
              </a:ext>
            </a:extLst>
          </p:cNvPr>
          <p:cNvSpPr txBox="1"/>
          <p:nvPr userDrawn="1"/>
        </p:nvSpPr>
        <p:spPr>
          <a:xfrm>
            <a:off x="762000" y="508000"/>
            <a:ext cx="10671048" cy="822960"/>
          </a:xfrm>
          <a:prstGeom prst="rect">
            <a:avLst/>
          </a:prstGeom>
        </p:spPr>
        <p:txBody>
          <a:bodyPr vert="horz" lIns="0" tIns="0" rIns="0" bIns="0" rtlCol="0" anchor="b">
            <a:noAutofit/>
          </a:bodyPr>
          <a:lstStyle>
            <a:lvl1pPr lvl="0" indent="0">
              <a:lnSpc>
                <a:spcPct val="95000"/>
              </a:lnSpc>
              <a:spcBef>
                <a:spcPts val="1000"/>
              </a:spcBef>
              <a:buFont typeface="Arial" panose="020B0604020202020204" pitchFamily="34" charset="0"/>
              <a:buNone/>
              <a:defRPr sz="2400" b="1" i="0" baseline="0">
                <a:solidFill>
                  <a:schemeClr val="bg1"/>
                </a:solidFill>
                <a:latin typeface="Oracle Sans" panose="020B0503020204020204" pitchFamily="34" charset="0"/>
                <a:cs typeface="Oracle Sans" panose="020B0503020204020204" pitchFamily="34" charset="0"/>
              </a:defRPr>
            </a:lvl1pPr>
          </a:lstStyle>
          <a:p>
            <a:r>
              <a:rPr lang="en-US" dirty="0">
                <a:solidFill>
                  <a:srgbClr val="312D2A"/>
                </a:solidFill>
              </a:rPr>
              <a:t>Safe harbor statement</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21468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ark - Safe Harbor">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30973D80-F90C-2B41-AAF3-064791F626A1}"/>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18" name="OTag">
            <a:extLst>
              <a:ext uri="{FF2B5EF4-FFF2-40B4-BE49-F238E27FC236}">
                <a16:creationId xmlns:a16="http://schemas.microsoft.com/office/drawing/2014/main" id="{F65C325A-C973-E74C-AD41-1A4DFAE0BB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2" name="Footer">
            <a:extLst>
              <a:ext uri="{FF2B5EF4-FFF2-40B4-BE49-F238E27FC236}">
                <a16:creationId xmlns:a16="http://schemas.microsoft.com/office/drawing/2014/main" id="{E53C9232-0599-3244-B3FF-119F42A8021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2" name="Text Field">
            <a:extLst>
              <a:ext uri="{FF2B5EF4-FFF2-40B4-BE49-F238E27FC236}">
                <a16:creationId xmlns:a16="http://schemas.microsoft.com/office/drawing/2014/main" id="{D33BCDAB-DBBA-254B-AFD8-DF688B981EF5}"/>
              </a:ext>
            </a:extLst>
          </p:cNvPr>
          <p:cNvSpPr txBox="1"/>
          <p:nvPr userDrawn="1"/>
        </p:nvSpPr>
        <p:spPr>
          <a:xfrm>
            <a:off x="758952" y="1837944"/>
            <a:ext cx="10671048" cy="1318887"/>
          </a:xfrm>
          <a:prstGeom prst="rect">
            <a:avLst/>
          </a:prstGeom>
          <a:noFill/>
        </p:spPr>
        <p:txBody>
          <a:bodyPr wrap="square" lIns="0" tIns="0" rIns="0" bIns="0" rtlCol="0">
            <a:spAutoFit/>
          </a:bodyPr>
          <a:lstStyle/>
          <a:p>
            <a:pPr>
              <a:lnSpc>
                <a:spcPct val="95000"/>
              </a:lnSpc>
              <a:spcBef>
                <a:spcPts val="1200"/>
              </a:spcBef>
            </a:pPr>
            <a:r>
              <a:rPr lang="en-US" dirty="0">
                <a:solidFill>
                  <a:srgbClr val="FCFBFA"/>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p:txBody>
      </p:sp>
      <p:cxnSp>
        <p:nvCxnSpPr>
          <p:cNvPr id="33" name="Accent Mark">
            <a:extLst>
              <a:ext uri="{FF2B5EF4-FFF2-40B4-BE49-F238E27FC236}">
                <a16:creationId xmlns:a16="http://schemas.microsoft.com/office/drawing/2014/main" id="{F8F561A6-16DC-7848-8FAE-BF35C0DBFABA}"/>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 name="Title">
            <a:extLst>
              <a:ext uri="{FF2B5EF4-FFF2-40B4-BE49-F238E27FC236}">
                <a16:creationId xmlns:a16="http://schemas.microsoft.com/office/drawing/2014/main" id="{9A5364F3-FAE0-7147-8F68-59CE44C73EFE}"/>
              </a:ext>
            </a:extLst>
          </p:cNvPr>
          <p:cNvSpPr txBox="1"/>
          <p:nvPr userDrawn="1"/>
        </p:nvSpPr>
        <p:spPr>
          <a:xfrm>
            <a:off x="762000" y="508000"/>
            <a:ext cx="10671048" cy="822960"/>
          </a:xfrm>
          <a:prstGeom prst="rect">
            <a:avLst/>
          </a:prstGeom>
        </p:spPr>
        <p:txBody>
          <a:bodyPr vert="horz" lIns="0" tIns="0" rIns="0" bIns="0" rtlCol="0" anchor="b">
            <a:noAutofit/>
          </a:bodyPr>
          <a:lstStyle>
            <a:lvl1pPr lvl="0" indent="0">
              <a:lnSpc>
                <a:spcPct val="95000"/>
              </a:lnSpc>
              <a:spcBef>
                <a:spcPts val="1000"/>
              </a:spcBef>
              <a:buFont typeface="Arial" panose="020B0604020202020204" pitchFamily="34" charset="0"/>
              <a:buNone/>
              <a:defRPr sz="2400" b="1" i="0" baseline="0">
                <a:solidFill>
                  <a:schemeClr val="bg1"/>
                </a:solidFill>
                <a:latin typeface="Oracle Sans" panose="020B0503020204020204" pitchFamily="34" charset="0"/>
                <a:cs typeface="Oracle Sans" panose="020B0503020204020204" pitchFamily="34" charset="0"/>
              </a:defRPr>
            </a:lvl1pPr>
          </a:lstStyle>
          <a:p>
            <a:r>
              <a:rPr lang="en-US" dirty="0">
                <a:solidFill>
                  <a:srgbClr val="FCFBFA"/>
                </a:solidFill>
              </a:rPr>
              <a:t>Safe harbor statement</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52373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spTree>
      <p:nvGrpSpPr>
        <p:cNvPr id="1" name=""/>
        <p:cNvGrpSpPr/>
        <p:nvPr/>
      </p:nvGrpSpPr>
      <p:grpSpPr>
        <a:xfrm>
          <a:off x="0" y="0"/>
          <a:ext cx="0" cy="0"/>
          <a:chOff x="0" y="0"/>
          <a:chExt cx="0" cy="0"/>
        </a:xfrm>
      </p:grpSpPr>
      <p:pic>
        <p:nvPicPr>
          <p:cNvPr id="11" name="Picture 10" descr="A picture containing container, basket&#10;&#10;Description automatically generated">
            <a:extLst>
              <a:ext uri="{FF2B5EF4-FFF2-40B4-BE49-F238E27FC236}">
                <a16:creationId xmlns:a16="http://schemas.microsoft.com/office/drawing/2014/main" id="{A4C97F1E-BE16-AA42-BFFE-49B2AA09D2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263302" y="224473"/>
            <a:ext cx="4928697" cy="2612033"/>
          </a:xfrm>
          <a:prstGeom prst="rect">
            <a:avLst/>
          </a:prstGeom>
        </p:spPr>
      </p:pic>
      <p:pic>
        <p:nvPicPr>
          <p:cNvPr id="12" name="Picture 11" descr="A picture containing music, black&#10;&#10;Description automatically generated">
            <a:extLst>
              <a:ext uri="{FF2B5EF4-FFF2-40B4-BE49-F238E27FC236}">
                <a16:creationId xmlns:a16="http://schemas.microsoft.com/office/drawing/2014/main" id="{5F7F53D4-47BD-9145-A247-BCC9EDCB7984}"/>
              </a:ext>
            </a:extLst>
          </p:cNvPr>
          <p:cNvPicPr>
            <a:picLocks noChangeAspect="1"/>
          </p:cNvPicPr>
          <p:nvPr userDrawn="1"/>
        </p:nvPicPr>
        <p:blipFill rotWithShape="1">
          <a:blip r:embed="rId3" cstate="screen">
            <a:alphaModFix amt="40000"/>
            <a:extLst>
              <a:ext uri="{28A0092B-C50C-407E-A947-70E740481C1C}">
                <a14:useLocalDpi xmlns:a14="http://schemas.microsoft.com/office/drawing/2010/main"/>
              </a:ext>
            </a:extLst>
          </a:blip>
          <a:srcRect l="14005" b="27845"/>
          <a:stretch/>
        </p:blipFill>
        <p:spPr>
          <a:xfrm>
            <a:off x="-1" y="5667593"/>
            <a:ext cx="3807059" cy="1190407"/>
          </a:xfrm>
          <a:prstGeom prst="rect">
            <a:avLst/>
          </a:prstGeom>
        </p:spPr>
      </p:pic>
      <p:sp>
        <p:nvSpPr>
          <p:cNvPr id="20" name="Rectangle 19">
            <a:extLst>
              <a:ext uri="{FF2B5EF4-FFF2-40B4-BE49-F238E27FC236}">
                <a16:creationId xmlns:a16="http://schemas.microsoft.com/office/drawing/2014/main" id="{DD9CD23F-B20E-499B-9C1E-B99F1B32803A}"/>
              </a:ext>
            </a:extLst>
          </p:cNvPr>
          <p:cNvSpPr/>
          <p:nvPr userDrawn="1"/>
        </p:nvSpPr>
        <p:spPr>
          <a:xfrm>
            <a:off x="11356270" y="5494436"/>
            <a:ext cx="101516" cy="53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10">
            <a:extLst>
              <a:ext uri="{FF2B5EF4-FFF2-40B4-BE49-F238E27FC236}">
                <a16:creationId xmlns:a16="http://schemas.microsoft.com/office/drawing/2014/main" id="{10C122FE-A35D-4D48-9A96-B6651F81A0F0}"/>
              </a:ext>
            </a:extLst>
          </p:cNvPr>
          <p:cNvSpPr>
            <a:spLocks noGrp="1"/>
          </p:cNvSpPr>
          <p:nvPr>
            <p:ph type="title"/>
          </p:nvPr>
        </p:nvSpPr>
        <p:spPr>
          <a:xfrm>
            <a:off x="1050568" y="2918256"/>
            <a:ext cx="10076344" cy="909981"/>
          </a:xfrm>
        </p:spPr>
        <p:txBody>
          <a:bodyPr>
            <a:noAutofit/>
          </a:bodyPr>
          <a:lstStyle>
            <a:lvl1pPr algn="l">
              <a:defRPr sz="4000"/>
            </a:lvl1pPr>
          </a:lstStyle>
          <a:p>
            <a:r>
              <a:rPr lang="en-US"/>
              <a:t>Click to edit Master title style</a:t>
            </a:r>
            <a:endParaRPr lang="en-US" dirty="0"/>
          </a:p>
        </p:txBody>
      </p:sp>
      <p:sp>
        <p:nvSpPr>
          <p:cNvPr id="35" name="Text Placeholder 10">
            <a:extLst>
              <a:ext uri="{FF2B5EF4-FFF2-40B4-BE49-F238E27FC236}">
                <a16:creationId xmlns:a16="http://schemas.microsoft.com/office/drawing/2014/main" id="{A6301C15-7797-A94F-B73F-2D2FFD904608}"/>
              </a:ext>
            </a:extLst>
          </p:cNvPr>
          <p:cNvSpPr>
            <a:spLocks noGrp="1"/>
          </p:cNvSpPr>
          <p:nvPr>
            <p:ph type="body" sz="quarter" idx="15" hasCustomPrompt="1"/>
          </p:nvPr>
        </p:nvSpPr>
        <p:spPr>
          <a:xfrm>
            <a:off x="1050568" y="3864362"/>
            <a:ext cx="10076344" cy="416073"/>
          </a:xfrm>
        </p:spPr>
        <p:txBody>
          <a:bodyPr lIns="0">
            <a:noAutofit/>
          </a:bodyPr>
          <a:lstStyle>
            <a:lvl1pPr marL="0" indent="0">
              <a:spcBef>
                <a:spcPts val="0"/>
              </a:spcBef>
              <a:buNone/>
              <a:defRPr sz="2400" b="1" i="0">
                <a:latin typeface="Oracle Sans" panose="020B0503020204020204" pitchFamily="34" charset="0"/>
                <a:cs typeface="Oracle Sans" panose="020B0503020204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subtitle</a:t>
            </a:r>
          </a:p>
        </p:txBody>
      </p:sp>
      <p:pic>
        <p:nvPicPr>
          <p:cNvPr id="36" name="Picture 35">
            <a:extLst>
              <a:ext uri="{FF2B5EF4-FFF2-40B4-BE49-F238E27FC236}">
                <a16:creationId xmlns:a16="http://schemas.microsoft.com/office/drawing/2014/main" id="{716F8285-7F80-9E47-812A-1A8AFBF908B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0568" y="838952"/>
            <a:ext cx="1345809" cy="171805"/>
          </a:xfrm>
          <a:prstGeom prst="rect">
            <a:avLst/>
          </a:prstGeom>
        </p:spPr>
      </p:pic>
      <p:pic>
        <p:nvPicPr>
          <p:cNvPr id="15" name="Picture 14">
            <a:extLst>
              <a:ext uri="{FF2B5EF4-FFF2-40B4-BE49-F238E27FC236}">
                <a16:creationId xmlns:a16="http://schemas.microsoft.com/office/drawing/2014/main" id="{86A5C7BD-760D-5147-B15C-5257558DF45E}"/>
              </a:ext>
            </a:extLst>
          </p:cNvPr>
          <p:cNvPicPr>
            <a:picLocks noChangeAspect="1"/>
          </p:cNvPicPr>
          <p:nvPr userDrawn="1"/>
        </p:nvPicPr>
        <p:blipFill>
          <a:blip r:embed="rId5"/>
          <a:stretch>
            <a:fillRect/>
          </a:stretch>
        </p:blipFill>
        <p:spPr>
          <a:xfrm>
            <a:off x="11437197" y="6356350"/>
            <a:ext cx="501650" cy="501650"/>
          </a:xfrm>
          <a:prstGeom prst="rect">
            <a:avLst/>
          </a:prstGeom>
        </p:spPr>
      </p:pic>
      <p:sp>
        <p:nvSpPr>
          <p:cNvPr id="2" name="Footer Placeholder 1">
            <a:extLst>
              <a:ext uri="{FF2B5EF4-FFF2-40B4-BE49-F238E27FC236}">
                <a16:creationId xmlns:a16="http://schemas.microsoft.com/office/drawing/2014/main" id="{F453DE52-AC7B-4161-B95D-697859A92000}"/>
              </a:ext>
            </a:extLst>
          </p:cNvPr>
          <p:cNvSpPr>
            <a:spLocks noGrp="1"/>
          </p:cNvSpPr>
          <p:nvPr>
            <p:ph type="ftr" sz="quarter" idx="16"/>
          </p:nvPr>
        </p:nvSpPr>
        <p:spPr/>
        <p:txBody>
          <a:bodyPr/>
          <a:lstStyle/>
          <a:p>
            <a:r>
              <a:rPr lang="en-US"/>
              <a:t>Confidential – © 2019 Oracle Internal/Restricted/Highly Restricted</a:t>
            </a:r>
            <a:endParaRPr lang="en-US" dirty="0"/>
          </a:p>
        </p:txBody>
      </p:sp>
      <p:sp>
        <p:nvSpPr>
          <p:cNvPr id="3" name="Slide Number Placeholder 2">
            <a:extLst>
              <a:ext uri="{FF2B5EF4-FFF2-40B4-BE49-F238E27FC236}">
                <a16:creationId xmlns:a16="http://schemas.microsoft.com/office/drawing/2014/main" id="{6C213284-E15E-4389-B747-0878740056C0}"/>
              </a:ext>
            </a:extLst>
          </p:cNvPr>
          <p:cNvSpPr>
            <a:spLocks noGrp="1"/>
          </p:cNvSpPr>
          <p:nvPr>
            <p:ph type="sldNum" sz="quarter" idx="17"/>
          </p:nvPr>
        </p:nvSpPr>
        <p:spPr/>
        <p:txBody>
          <a:bodyPr/>
          <a:lstStyle/>
          <a:p>
            <a:fld id="{7C371504-33D9-B044-8C50-620C44A06CB1}" type="slidenum">
              <a:rPr lang="en-US" smtClean="0"/>
              <a:pPr/>
              <a:t>‹N°›</a:t>
            </a:fld>
            <a:endParaRPr lang="en-US" dirty="0"/>
          </a:p>
        </p:txBody>
      </p:sp>
    </p:spTree>
    <p:extLst>
      <p:ext uri="{BB962C8B-B14F-4D97-AF65-F5344CB8AC3E}">
        <p14:creationId xmlns:p14="http://schemas.microsoft.com/office/powerpoint/2010/main" val="423801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ight - Remote Speaker">
    <p:bg>
      <p:bgPr>
        <a:solidFill>
          <a:schemeClr val="bg2"/>
        </a:solidFill>
        <a:effectLst/>
      </p:bgPr>
    </p:bg>
    <p:spTree>
      <p:nvGrpSpPr>
        <p:cNvPr id="1" name=""/>
        <p:cNvGrpSpPr/>
        <p:nvPr/>
      </p:nvGrpSpPr>
      <p:grpSpPr>
        <a:xfrm>
          <a:off x="0" y="0"/>
          <a:ext cx="0" cy="0"/>
          <a:chOff x="0" y="0"/>
          <a:chExt cx="0" cy="0"/>
        </a:xfrm>
      </p:grpSpPr>
      <p:pic>
        <p:nvPicPr>
          <p:cNvPr id="12" name="Data Texture Image">
            <a:extLst>
              <a:ext uri="{FF2B5EF4-FFF2-40B4-BE49-F238E27FC236}">
                <a16:creationId xmlns:a16="http://schemas.microsoft.com/office/drawing/2014/main" id="{D1A8D5F2-734A-AE4A-AC70-8FF7EC3B13B8}"/>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r="60000"/>
          <a:stretch/>
        </p:blipFill>
        <p:spPr>
          <a:xfrm>
            <a:off x="0" y="0"/>
            <a:ext cx="4876800" cy="6858000"/>
          </a:xfrm>
          <a:prstGeom prst="rect">
            <a:avLst/>
          </a:prstGeom>
        </p:spPr>
      </p:pic>
      <p:pic>
        <p:nvPicPr>
          <p:cNvPr id="15" name="OTag">
            <a:extLst>
              <a:ext uri="{FF2B5EF4-FFF2-40B4-BE49-F238E27FC236}">
                <a16:creationId xmlns:a16="http://schemas.microsoft.com/office/drawing/2014/main" id="{9AF00931-5664-524C-9EEF-7CBC5B1578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6" name="Footer">
            <a:extLst>
              <a:ext uri="{FF2B5EF4-FFF2-40B4-BE49-F238E27FC236}">
                <a16:creationId xmlns:a16="http://schemas.microsoft.com/office/drawing/2014/main" id="{A8C8B17C-79D1-7649-B765-8FC10C5F39B8}"/>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3" name="Slide Number">
            <a:extLst>
              <a:ext uri="{FF2B5EF4-FFF2-40B4-BE49-F238E27FC236}">
                <a16:creationId xmlns:a16="http://schemas.microsoft.com/office/drawing/2014/main" id="{92A4D63A-A370-2A4C-A33C-8C21ECFC101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21" name="Text Field">
            <a:extLst>
              <a:ext uri="{FF2B5EF4-FFF2-40B4-BE49-F238E27FC236}">
                <a16:creationId xmlns:a16="http://schemas.microsoft.com/office/drawing/2014/main" id="{517ED098-6976-5549-9CFB-EE89734AF8D4}"/>
              </a:ext>
            </a:extLst>
          </p:cNvPr>
          <p:cNvSpPr>
            <a:spLocks noGrp="1"/>
          </p:cNvSpPr>
          <p:nvPr>
            <p:ph type="body" sz="quarter" idx="16" hasCustomPrompt="1"/>
          </p:nvPr>
        </p:nvSpPr>
        <p:spPr>
          <a:xfrm>
            <a:off x="5126737" y="3682683"/>
            <a:ext cx="6297168" cy="1132486"/>
          </a:xfrm>
          <a:prstGeom prst="rect">
            <a:avLst/>
          </a:prstGeom>
        </p:spPr>
        <p:txBody>
          <a:bodyPr lIns="0" tIns="0" rIns="0" bIns="0">
            <a:normAutofit/>
          </a:bodyPr>
          <a:lstStyle>
            <a:lvl1pPr>
              <a:defRPr sz="2000"/>
            </a:lvl1pPr>
          </a:lstStyle>
          <a:p>
            <a:pPr lvl="0"/>
            <a:r>
              <a:rPr lang="en-US" dirty="0"/>
              <a:t>Title</a:t>
            </a:r>
          </a:p>
          <a:p>
            <a:pPr lvl="0"/>
            <a:r>
              <a:rPr lang="en-US" dirty="0"/>
              <a:t>Company</a:t>
            </a:r>
          </a:p>
          <a:p>
            <a:pPr lvl="0"/>
            <a:r>
              <a:rPr lang="en-US" dirty="0"/>
              <a:t>Date</a:t>
            </a:r>
          </a:p>
        </p:txBody>
      </p:sp>
      <p:cxnSp>
        <p:nvCxnSpPr>
          <p:cNvPr id="22" name="Accent Mark">
            <a:extLst>
              <a:ext uri="{FF2B5EF4-FFF2-40B4-BE49-F238E27FC236}">
                <a16:creationId xmlns:a16="http://schemas.microsoft.com/office/drawing/2014/main" id="{7A6B761E-671F-4A43-9B1D-C5C5AC5BF314}"/>
              </a:ext>
            </a:extLst>
          </p:cNvPr>
          <p:cNvCxnSpPr>
            <a:cxnSpLocks/>
          </p:cNvCxnSpPr>
          <p:nvPr userDrawn="1"/>
        </p:nvCxnSpPr>
        <p:spPr>
          <a:xfrm flipH="1">
            <a:off x="5132832" y="3428683"/>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Title">
            <a:extLst>
              <a:ext uri="{FF2B5EF4-FFF2-40B4-BE49-F238E27FC236}">
                <a16:creationId xmlns:a16="http://schemas.microsoft.com/office/drawing/2014/main" id="{D94542D5-A1D6-E542-963D-B72B60EDE019}"/>
              </a:ext>
            </a:extLst>
          </p:cNvPr>
          <p:cNvSpPr>
            <a:spLocks noGrp="1"/>
          </p:cNvSpPr>
          <p:nvPr>
            <p:ph type="title" hasCustomPrompt="1"/>
          </p:nvPr>
        </p:nvSpPr>
        <p:spPr>
          <a:xfrm>
            <a:off x="5126736" y="2351724"/>
            <a:ext cx="6297167"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Add title here. Also remove/replace placeholder image as needed.</a:t>
            </a:r>
          </a:p>
        </p:txBody>
      </p:sp>
      <p:pic>
        <p:nvPicPr>
          <p:cNvPr id="11" name="Abstract Pattern Strip">
            <a:extLst>
              <a:ext uri="{FF2B5EF4-FFF2-40B4-BE49-F238E27FC236}">
                <a16:creationId xmlns:a16="http://schemas.microsoft.com/office/drawing/2014/main" id="{F250772B-6865-E140-9F39-D8998E91A7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42563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ark - Remote Speaker">
    <p:bg>
      <p:bgPr>
        <a:solidFill>
          <a:schemeClr val="tx1"/>
        </a:solidFill>
        <a:effectLst/>
      </p:bgPr>
    </p:bg>
    <p:spTree>
      <p:nvGrpSpPr>
        <p:cNvPr id="1" name=""/>
        <p:cNvGrpSpPr/>
        <p:nvPr/>
      </p:nvGrpSpPr>
      <p:grpSpPr>
        <a:xfrm>
          <a:off x="0" y="0"/>
          <a:ext cx="0" cy="0"/>
          <a:chOff x="0" y="0"/>
          <a:chExt cx="0" cy="0"/>
        </a:xfrm>
      </p:grpSpPr>
      <p:pic>
        <p:nvPicPr>
          <p:cNvPr id="12" name="Data Texture Image">
            <a:extLst>
              <a:ext uri="{FF2B5EF4-FFF2-40B4-BE49-F238E27FC236}">
                <a16:creationId xmlns:a16="http://schemas.microsoft.com/office/drawing/2014/main" id="{9E0CF6FF-2D61-1D4D-819D-4A9474040C34}"/>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60000"/>
          <a:stretch/>
        </p:blipFill>
        <p:spPr>
          <a:xfrm>
            <a:off x="0" y="0"/>
            <a:ext cx="4876800" cy="6858000"/>
          </a:xfrm>
          <a:prstGeom prst="rect">
            <a:avLst/>
          </a:prstGeom>
        </p:spPr>
      </p:pic>
      <p:pic>
        <p:nvPicPr>
          <p:cNvPr id="15" name="OTag">
            <a:extLst>
              <a:ext uri="{FF2B5EF4-FFF2-40B4-BE49-F238E27FC236}">
                <a16:creationId xmlns:a16="http://schemas.microsoft.com/office/drawing/2014/main" id="{9AF00931-5664-524C-9EEF-7CBC5B1578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0" name="Footer">
            <a:extLst>
              <a:ext uri="{FF2B5EF4-FFF2-40B4-BE49-F238E27FC236}">
                <a16:creationId xmlns:a16="http://schemas.microsoft.com/office/drawing/2014/main" id="{604384E5-A601-EC42-8F35-140225F3EC48}"/>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13" name="Slide Number">
            <a:extLst>
              <a:ext uri="{FF2B5EF4-FFF2-40B4-BE49-F238E27FC236}">
                <a16:creationId xmlns:a16="http://schemas.microsoft.com/office/drawing/2014/main" id="{92A4D63A-A370-2A4C-A33C-8C21ECFC101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21" name="Text Field">
            <a:extLst>
              <a:ext uri="{FF2B5EF4-FFF2-40B4-BE49-F238E27FC236}">
                <a16:creationId xmlns:a16="http://schemas.microsoft.com/office/drawing/2014/main" id="{517ED098-6976-5549-9CFB-EE89734AF8D4}"/>
              </a:ext>
            </a:extLst>
          </p:cNvPr>
          <p:cNvSpPr>
            <a:spLocks noGrp="1"/>
          </p:cNvSpPr>
          <p:nvPr>
            <p:ph type="body" sz="quarter" idx="16" hasCustomPrompt="1"/>
          </p:nvPr>
        </p:nvSpPr>
        <p:spPr>
          <a:xfrm>
            <a:off x="5126737" y="3682683"/>
            <a:ext cx="6297168" cy="1132486"/>
          </a:xfrm>
          <a:prstGeom prst="rect">
            <a:avLst/>
          </a:prstGeom>
        </p:spPr>
        <p:txBody>
          <a:bodyPr lIns="0" tIns="0" rIns="0" bIns="0">
            <a:normAutofit/>
          </a:bodyPr>
          <a:lstStyle>
            <a:lvl1pPr>
              <a:defRPr sz="2000">
                <a:solidFill>
                  <a:schemeClr val="bg1"/>
                </a:solidFill>
              </a:defRPr>
            </a:lvl1pPr>
          </a:lstStyle>
          <a:p>
            <a:pPr lvl="0"/>
            <a:r>
              <a:rPr lang="en-US" dirty="0"/>
              <a:t>Title</a:t>
            </a:r>
          </a:p>
          <a:p>
            <a:pPr lvl="0"/>
            <a:r>
              <a:rPr lang="en-US" dirty="0"/>
              <a:t>Company</a:t>
            </a:r>
          </a:p>
          <a:p>
            <a:pPr lvl="0"/>
            <a:r>
              <a:rPr lang="en-US" dirty="0"/>
              <a:t>Date</a:t>
            </a:r>
          </a:p>
        </p:txBody>
      </p:sp>
      <p:cxnSp>
        <p:nvCxnSpPr>
          <p:cNvPr id="22" name="Accent Mark">
            <a:extLst>
              <a:ext uri="{FF2B5EF4-FFF2-40B4-BE49-F238E27FC236}">
                <a16:creationId xmlns:a16="http://schemas.microsoft.com/office/drawing/2014/main" id="{7A6B761E-671F-4A43-9B1D-C5C5AC5BF314}"/>
              </a:ext>
            </a:extLst>
          </p:cNvPr>
          <p:cNvCxnSpPr>
            <a:cxnSpLocks/>
          </p:cNvCxnSpPr>
          <p:nvPr userDrawn="1"/>
        </p:nvCxnSpPr>
        <p:spPr>
          <a:xfrm flipH="1">
            <a:off x="5132832" y="3428683"/>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Title">
            <a:extLst>
              <a:ext uri="{FF2B5EF4-FFF2-40B4-BE49-F238E27FC236}">
                <a16:creationId xmlns:a16="http://schemas.microsoft.com/office/drawing/2014/main" id="{D94542D5-A1D6-E542-963D-B72B60EDE019}"/>
              </a:ext>
            </a:extLst>
          </p:cNvPr>
          <p:cNvSpPr>
            <a:spLocks noGrp="1"/>
          </p:cNvSpPr>
          <p:nvPr>
            <p:ph type="title" hasCustomPrompt="1"/>
          </p:nvPr>
        </p:nvSpPr>
        <p:spPr>
          <a:xfrm>
            <a:off x="5126736" y="2351724"/>
            <a:ext cx="6297167"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Add title here. Also remove/replace placeholder image as needed.</a:t>
            </a:r>
          </a:p>
        </p:txBody>
      </p:sp>
      <p:pic>
        <p:nvPicPr>
          <p:cNvPr id="11" name="Abstract Pattern Strip">
            <a:extLst>
              <a:ext uri="{FF2B5EF4-FFF2-40B4-BE49-F238E27FC236}">
                <a16:creationId xmlns:a16="http://schemas.microsoft.com/office/drawing/2014/main" id="{F250772B-6865-E140-9F39-D8998E91A7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41710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Light - Numbered Outline">
    <p:bg>
      <p:bgPr>
        <a:solidFill>
          <a:schemeClr val="bg2"/>
        </a:solidFill>
        <a:effectLst/>
      </p:bgPr>
    </p:bg>
    <p:spTree>
      <p:nvGrpSpPr>
        <p:cNvPr id="1" name=""/>
        <p:cNvGrpSpPr/>
        <p:nvPr/>
      </p:nvGrpSpPr>
      <p:grpSpPr>
        <a:xfrm>
          <a:off x="0" y="0"/>
          <a:ext cx="0" cy="0"/>
          <a:chOff x="0" y="0"/>
          <a:chExt cx="0" cy="0"/>
        </a:xfrm>
      </p:grpSpPr>
      <p:pic>
        <p:nvPicPr>
          <p:cNvPr id="32" name="Data Texture Cloud">
            <a:extLst>
              <a:ext uri="{FF2B5EF4-FFF2-40B4-BE49-F238E27FC236}">
                <a16:creationId xmlns:a16="http://schemas.microsoft.com/office/drawing/2014/main" id="{4F1E65AD-22C9-374C-97B0-B5C16E332CB8}"/>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6" name="OTag">
            <a:extLst>
              <a:ext uri="{FF2B5EF4-FFF2-40B4-BE49-F238E27FC236}">
                <a16:creationId xmlns:a16="http://schemas.microsoft.com/office/drawing/2014/main" id="{6B255320-7797-3244-AB7F-7048F2FDBB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5" name="Footer">
            <a:extLst>
              <a:ext uri="{FF2B5EF4-FFF2-40B4-BE49-F238E27FC236}">
                <a16:creationId xmlns:a16="http://schemas.microsoft.com/office/drawing/2014/main" id="{5C832301-2AE4-1245-BF5A-702B011155AF}"/>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27" name="Slide Number">
            <a:extLst>
              <a:ext uri="{FF2B5EF4-FFF2-40B4-BE49-F238E27FC236}">
                <a16:creationId xmlns:a16="http://schemas.microsoft.com/office/drawing/2014/main" id="{ADC3B97F-4317-2244-A893-1F690DBA4FE4}"/>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1" y="3916426"/>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1" y="3397229"/>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1" y="2878032"/>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1" y="2358835"/>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1" y="1839638"/>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Title">
            <a:extLst>
              <a:ext uri="{FF2B5EF4-FFF2-40B4-BE49-F238E27FC236}">
                <a16:creationId xmlns:a16="http://schemas.microsoft.com/office/drawing/2014/main" id="{1F2D107A-3A71-E74E-9042-888785621363}"/>
              </a:ext>
            </a:extLst>
          </p:cNvPr>
          <p:cNvSpPr>
            <a:spLocks noGrp="1"/>
          </p:cNvSpPr>
          <p:nvPr>
            <p:ph type="body" sz="quarter" idx="20" hasCustomPrompt="1"/>
          </p:nvPr>
        </p:nvSpPr>
        <p:spPr>
          <a:xfrm>
            <a:off x="762000" y="508000"/>
            <a:ext cx="10671048" cy="822960"/>
          </a:xfrm>
        </p:spPr>
        <p:txBody>
          <a:bodyPr anchor="b" anchorCtr="0"/>
          <a:lstStyle>
            <a:lvl1pPr>
              <a:defRPr sz="2400" b="1"/>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40740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 - Numbered Outline">
    <p:bg>
      <p:bgPr>
        <a:solidFill>
          <a:schemeClr val="tx1"/>
        </a:solidFill>
        <a:effectLst/>
      </p:bgPr>
    </p:bg>
    <p:spTree>
      <p:nvGrpSpPr>
        <p:cNvPr id="1" name=""/>
        <p:cNvGrpSpPr/>
        <p:nvPr/>
      </p:nvGrpSpPr>
      <p:grpSpPr>
        <a:xfrm>
          <a:off x="0" y="0"/>
          <a:ext cx="0" cy="0"/>
          <a:chOff x="0" y="0"/>
          <a:chExt cx="0" cy="0"/>
        </a:xfrm>
      </p:grpSpPr>
      <p:pic>
        <p:nvPicPr>
          <p:cNvPr id="4" name="Data Texture Cloud">
            <a:extLst>
              <a:ext uri="{FF2B5EF4-FFF2-40B4-BE49-F238E27FC236}">
                <a16:creationId xmlns:a16="http://schemas.microsoft.com/office/drawing/2014/main" id="{69E13B9F-678E-A049-88C5-7C61A70A280E}"/>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6" name="OTag">
            <a:extLst>
              <a:ext uri="{FF2B5EF4-FFF2-40B4-BE49-F238E27FC236}">
                <a16:creationId xmlns:a16="http://schemas.microsoft.com/office/drawing/2014/main" id="{6B255320-7797-3244-AB7F-7048F2FDBB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25" name="Footer">
            <a:extLst>
              <a:ext uri="{FF2B5EF4-FFF2-40B4-BE49-F238E27FC236}">
                <a16:creationId xmlns:a16="http://schemas.microsoft.com/office/drawing/2014/main" id="{1EBF30CA-C141-344E-8ACF-6678A5BBAFB4}"/>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27" name="Slide Number">
            <a:extLst>
              <a:ext uri="{FF2B5EF4-FFF2-40B4-BE49-F238E27FC236}">
                <a16:creationId xmlns:a16="http://schemas.microsoft.com/office/drawing/2014/main" id="{ADC3B97F-4317-2244-A893-1F690DBA4FE4}"/>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1" y="3916426"/>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1" y="3397229"/>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1" y="2878032"/>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1" y="2358835"/>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1" y="1839638"/>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Title">
            <a:extLst>
              <a:ext uri="{FF2B5EF4-FFF2-40B4-BE49-F238E27FC236}">
                <a16:creationId xmlns:a16="http://schemas.microsoft.com/office/drawing/2014/main" id="{023B1513-D7D1-ED45-9AE9-75BA91464BF8}"/>
              </a:ext>
            </a:extLst>
          </p:cNvPr>
          <p:cNvSpPr>
            <a:spLocks noGrp="1"/>
          </p:cNvSpPr>
          <p:nvPr>
            <p:ph type="body" sz="quarter" idx="20" hasCustomPrompt="1"/>
          </p:nvPr>
        </p:nvSpPr>
        <p:spPr>
          <a:xfrm>
            <a:off x="762000" y="508000"/>
            <a:ext cx="10671048" cy="822960"/>
          </a:xfrm>
        </p:spPr>
        <p:txBody>
          <a:bodyPr anchor="b" anchorCtr="0"/>
          <a:lstStyle>
            <a:lvl1pPr>
              <a:defRPr sz="2400" b="1">
                <a:solidFill>
                  <a:schemeClr val="bg1"/>
                </a:solidFill>
              </a:defRPr>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7464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ight - Numbered Outline 2 Column">
    <p:bg>
      <p:bgPr>
        <a:solidFill>
          <a:schemeClr val="bg2"/>
        </a:solidFill>
        <a:effectLst/>
      </p:bgPr>
    </p:bg>
    <p:spTree>
      <p:nvGrpSpPr>
        <p:cNvPr id="1" name=""/>
        <p:cNvGrpSpPr/>
        <p:nvPr/>
      </p:nvGrpSpPr>
      <p:grpSpPr>
        <a:xfrm>
          <a:off x="0" y="0"/>
          <a:ext cx="0" cy="0"/>
          <a:chOff x="0" y="0"/>
          <a:chExt cx="0" cy="0"/>
        </a:xfrm>
      </p:grpSpPr>
      <p:pic>
        <p:nvPicPr>
          <p:cNvPr id="33" name="Data Texture Cloud">
            <a:extLst>
              <a:ext uri="{FF2B5EF4-FFF2-40B4-BE49-F238E27FC236}">
                <a16:creationId xmlns:a16="http://schemas.microsoft.com/office/drawing/2014/main" id="{6BADE36C-1CA5-5845-B02A-AEABA73DB1CD}"/>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48609"/>
          <a:stretch/>
        </p:blipFill>
        <p:spPr>
          <a:xfrm>
            <a:off x="9881411" y="521208"/>
            <a:ext cx="2310589" cy="1700784"/>
          </a:xfrm>
          <a:prstGeom prst="rect">
            <a:avLst/>
          </a:prstGeom>
        </p:spPr>
      </p:pic>
      <p:pic>
        <p:nvPicPr>
          <p:cNvPr id="26" name="OTag">
            <a:extLst>
              <a:ext uri="{FF2B5EF4-FFF2-40B4-BE49-F238E27FC236}">
                <a16:creationId xmlns:a16="http://schemas.microsoft.com/office/drawing/2014/main" id="{6B255320-7797-3244-AB7F-7048F2FDBB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45" name="Footer">
            <a:extLst>
              <a:ext uri="{FF2B5EF4-FFF2-40B4-BE49-F238E27FC236}">
                <a16:creationId xmlns:a16="http://schemas.microsoft.com/office/drawing/2014/main" id="{6437C572-88B3-0F48-9AC6-404CE959FA05}"/>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31" name="Slide Number">
            <a:extLst>
              <a:ext uri="{FF2B5EF4-FFF2-40B4-BE49-F238E27FC236}">
                <a16:creationId xmlns:a16="http://schemas.microsoft.com/office/drawing/2014/main" id="{CC5C0CA0-2B8A-9F4E-A261-9C8E089C7C6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8" name="Number">
            <a:extLst>
              <a:ext uri="{FF2B5EF4-FFF2-40B4-BE49-F238E27FC236}">
                <a16:creationId xmlns:a16="http://schemas.microsoft.com/office/drawing/2014/main" id="{2F38CE05-2128-F946-832B-CF7806F2B597}"/>
              </a:ext>
            </a:extLst>
          </p:cNvPr>
          <p:cNvSpPr>
            <a:spLocks noGrp="1"/>
          </p:cNvSpPr>
          <p:nvPr>
            <p:ph type="body" sz="quarter" idx="26" hasCustomPrompt="1"/>
          </p:nvPr>
        </p:nvSpPr>
        <p:spPr>
          <a:xfrm>
            <a:off x="6342892" y="3916426"/>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7" name="Number">
            <a:extLst>
              <a:ext uri="{FF2B5EF4-FFF2-40B4-BE49-F238E27FC236}">
                <a16:creationId xmlns:a16="http://schemas.microsoft.com/office/drawing/2014/main" id="{57B2FD3E-93EE-0A45-9E7C-CB3E5765653D}"/>
              </a:ext>
            </a:extLst>
          </p:cNvPr>
          <p:cNvSpPr>
            <a:spLocks noGrp="1"/>
          </p:cNvSpPr>
          <p:nvPr>
            <p:ph type="body" sz="quarter" idx="25" hasCustomPrompt="1"/>
          </p:nvPr>
        </p:nvSpPr>
        <p:spPr>
          <a:xfrm>
            <a:off x="6342892" y="3397254"/>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6" name="Number">
            <a:extLst>
              <a:ext uri="{FF2B5EF4-FFF2-40B4-BE49-F238E27FC236}">
                <a16:creationId xmlns:a16="http://schemas.microsoft.com/office/drawing/2014/main" id="{4C37858A-AC21-CB41-8C96-65D9002230E4}"/>
              </a:ext>
            </a:extLst>
          </p:cNvPr>
          <p:cNvSpPr>
            <a:spLocks noGrp="1"/>
          </p:cNvSpPr>
          <p:nvPr>
            <p:ph type="body" sz="quarter" idx="24" hasCustomPrompt="1"/>
          </p:nvPr>
        </p:nvSpPr>
        <p:spPr>
          <a:xfrm>
            <a:off x="6342892" y="2878080"/>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5" name="Number">
            <a:extLst>
              <a:ext uri="{FF2B5EF4-FFF2-40B4-BE49-F238E27FC236}">
                <a16:creationId xmlns:a16="http://schemas.microsoft.com/office/drawing/2014/main" id="{97B05350-6C68-E84A-81F0-64BB53EE5EE5}"/>
              </a:ext>
            </a:extLst>
          </p:cNvPr>
          <p:cNvSpPr>
            <a:spLocks noGrp="1"/>
          </p:cNvSpPr>
          <p:nvPr>
            <p:ph type="body" sz="quarter" idx="23" hasCustomPrompt="1"/>
          </p:nvPr>
        </p:nvSpPr>
        <p:spPr>
          <a:xfrm>
            <a:off x="6342892" y="2358906"/>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4" name="Number">
            <a:extLst>
              <a:ext uri="{FF2B5EF4-FFF2-40B4-BE49-F238E27FC236}">
                <a16:creationId xmlns:a16="http://schemas.microsoft.com/office/drawing/2014/main" id="{50B157E0-DFD4-4442-837D-FEFEE0ED83D0}"/>
              </a:ext>
            </a:extLst>
          </p:cNvPr>
          <p:cNvSpPr>
            <a:spLocks noGrp="1"/>
          </p:cNvSpPr>
          <p:nvPr>
            <p:ph type="body" sz="quarter" idx="22" hasCustomPrompt="1"/>
          </p:nvPr>
        </p:nvSpPr>
        <p:spPr>
          <a:xfrm>
            <a:off x="6342892" y="1839732"/>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42" name="Text Field">
            <a:extLst>
              <a:ext uri="{FF2B5EF4-FFF2-40B4-BE49-F238E27FC236}">
                <a16:creationId xmlns:a16="http://schemas.microsoft.com/office/drawing/2014/main" id="{513F9047-4D4F-4944-A54F-6838E69D529C}"/>
              </a:ext>
            </a:extLst>
          </p:cNvPr>
          <p:cNvSpPr>
            <a:spLocks noGrp="1"/>
          </p:cNvSpPr>
          <p:nvPr>
            <p:ph type="body" idx="30"/>
          </p:nvPr>
        </p:nvSpPr>
        <p:spPr>
          <a:xfrm>
            <a:off x="6946209"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41" name="Text Field">
            <a:extLst>
              <a:ext uri="{FF2B5EF4-FFF2-40B4-BE49-F238E27FC236}">
                <a16:creationId xmlns:a16="http://schemas.microsoft.com/office/drawing/2014/main" id="{AB0EA59E-C5BD-2449-B9B1-56DEAED420FF}"/>
              </a:ext>
            </a:extLst>
          </p:cNvPr>
          <p:cNvSpPr>
            <a:spLocks noGrp="1"/>
          </p:cNvSpPr>
          <p:nvPr>
            <p:ph type="body" idx="29"/>
          </p:nvPr>
        </p:nvSpPr>
        <p:spPr>
          <a:xfrm>
            <a:off x="6946209"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40" name="Text Field">
            <a:extLst>
              <a:ext uri="{FF2B5EF4-FFF2-40B4-BE49-F238E27FC236}">
                <a16:creationId xmlns:a16="http://schemas.microsoft.com/office/drawing/2014/main" id="{22511F22-E591-F74E-BFD2-CDD45D3AD3EB}"/>
              </a:ext>
            </a:extLst>
          </p:cNvPr>
          <p:cNvSpPr>
            <a:spLocks noGrp="1"/>
          </p:cNvSpPr>
          <p:nvPr>
            <p:ph type="body" idx="28"/>
          </p:nvPr>
        </p:nvSpPr>
        <p:spPr>
          <a:xfrm>
            <a:off x="6946209"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39" name="Text Field">
            <a:extLst>
              <a:ext uri="{FF2B5EF4-FFF2-40B4-BE49-F238E27FC236}">
                <a16:creationId xmlns:a16="http://schemas.microsoft.com/office/drawing/2014/main" id="{22D41171-F1BC-0242-9A58-63B4D72A490C}"/>
              </a:ext>
            </a:extLst>
          </p:cNvPr>
          <p:cNvSpPr>
            <a:spLocks noGrp="1"/>
          </p:cNvSpPr>
          <p:nvPr>
            <p:ph type="body" idx="27"/>
          </p:nvPr>
        </p:nvSpPr>
        <p:spPr>
          <a:xfrm>
            <a:off x="6946209"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43" name="Text Field">
            <a:extLst>
              <a:ext uri="{FF2B5EF4-FFF2-40B4-BE49-F238E27FC236}">
                <a16:creationId xmlns:a16="http://schemas.microsoft.com/office/drawing/2014/main" id="{3D9253FE-8D61-AC4A-B664-3F8478D670B8}"/>
              </a:ext>
            </a:extLst>
          </p:cNvPr>
          <p:cNvSpPr>
            <a:spLocks noGrp="1"/>
          </p:cNvSpPr>
          <p:nvPr>
            <p:ph type="body" idx="31"/>
          </p:nvPr>
        </p:nvSpPr>
        <p:spPr>
          <a:xfrm>
            <a:off x="6946209"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cxnSp>
        <p:nvCxnSpPr>
          <p:cNvPr id="27" name="Column Divider">
            <a:extLst>
              <a:ext uri="{FF2B5EF4-FFF2-40B4-BE49-F238E27FC236}">
                <a16:creationId xmlns:a16="http://schemas.microsoft.com/office/drawing/2014/main" id="{90C130B8-DB30-A047-8311-FCD7EEDF456C}"/>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lIns="0" rIns="0">
            <a:noAutofit/>
          </a:bodyPr>
          <a:lstStyle>
            <a:lvl1pPr marL="0" marR="0" indent="0" algn="ctr" defTabSz="914400" rtl="0" eaLnBrk="1" fontAlgn="auto" latinLnBrk="0" hangingPunct="1">
              <a:lnSpc>
                <a:spcPct val="95000"/>
              </a:lnSpc>
              <a:spcBef>
                <a:spcPts val="0"/>
              </a:spcBef>
              <a:spcAft>
                <a:spcPts val="600"/>
              </a:spcAft>
              <a:buClrTx/>
              <a:buSzTx/>
              <a:buFont typeface="System Font Regular"/>
              <a:buNone/>
              <a:tabLst/>
              <a:defRPr sz="2000">
                <a:solidFill>
                  <a:schemeClr val="accent5"/>
                </a:solidFill>
                <a:latin typeface="Georgia" panose="02040502050405020303" pitchFamily="18" charset="0"/>
              </a:defRPr>
            </a:lvl1pPr>
          </a:lstStyle>
          <a:p>
            <a:pPr marL="0" marR="0" lvl="0" indent="0" algn="ctr" defTabSz="914400" rtl="0" eaLnBrk="1" fontAlgn="auto" latinLnBrk="0" hangingPunct="1">
              <a:lnSpc>
                <a:spcPct val="95000"/>
              </a:lnSpc>
              <a:spcBef>
                <a:spcPts val="0"/>
              </a:spcBef>
              <a:spcAft>
                <a:spcPts val="600"/>
              </a:spcAft>
              <a:buClrTx/>
              <a:buSzTx/>
              <a:buFont typeface="System Font Regular"/>
              <a:buNone/>
              <a:tabLst/>
              <a:defRPr/>
            </a:pPr>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lIns="0" rIns="0">
            <a:noAutofit/>
          </a:bodyPr>
          <a:lstStyle>
            <a:lvl1pPr marL="0" marR="0" indent="0" algn="ctr" defTabSz="914400" rtl="0" eaLnBrk="1" fontAlgn="auto" latinLnBrk="0" hangingPunct="1">
              <a:lnSpc>
                <a:spcPct val="95000"/>
              </a:lnSpc>
              <a:spcBef>
                <a:spcPts val="0"/>
              </a:spcBef>
              <a:spcAft>
                <a:spcPts val="600"/>
              </a:spcAft>
              <a:buClrTx/>
              <a:buSzTx/>
              <a:buFont typeface="System Font Regular"/>
              <a:buNone/>
              <a:tabLst/>
              <a:defRPr sz="2000">
                <a:solidFill>
                  <a:schemeClr val="accent5"/>
                </a:solidFill>
                <a:latin typeface="Georgia" panose="02040502050405020303" pitchFamily="18" charset="0"/>
              </a:defRPr>
            </a:lvl1pPr>
          </a:lstStyle>
          <a:p>
            <a:pPr marL="0" marR="0" lvl="0" indent="0" algn="ctr" defTabSz="914400" rtl="0" eaLnBrk="1" fontAlgn="auto" latinLnBrk="0" hangingPunct="1">
              <a:lnSpc>
                <a:spcPct val="95000"/>
              </a:lnSpc>
              <a:spcBef>
                <a:spcPts val="0"/>
              </a:spcBef>
              <a:spcAft>
                <a:spcPts val="600"/>
              </a:spcAft>
              <a:buClrTx/>
              <a:buSzTx/>
              <a:buFont typeface="System Font Regular"/>
              <a:buNone/>
              <a:tabLst/>
              <a:defRPr/>
            </a:pPr>
            <a:r>
              <a:rPr lang="en-US" dirty="0"/>
              <a:t>X</a:t>
            </a:r>
          </a:p>
          <a:p>
            <a:pPr lvl="0"/>
            <a:endParaRPr lang="en-US" dirty="0"/>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lIns="0" rIns="0">
            <a:noAutofit/>
          </a:bodyPr>
          <a:lstStyle>
            <a:lvl1pPr marL="0" marR="0" indent="0" algn="ctr" defTabSz="914400" rtl="0" eaLnBrk="1" fontAlgn="auto" latinLnBrk="0" hangingPunct="1">
              <a:lnSpc>
                <a:spcPct val="95000"/>
              </a:lnSpc>
              <a:spcBef>
                <a:spcPts val="0"/>
              </a:spcBef>
              <a:spcAft>
                <a:spcPts val="600"/>
              </a:spcAft>
              <a:buClrTx/>
              <a:buSzTx/>
              <a:buFont typeface="System Font Regular"/>
              <a:buNone/>
              <a:tabLst/>
              <a:defRPr sz="2000">
                <a:solidFill>
                  <a:schemeClr val="accent5"/>
                </a:solidFill>
                <a:latin typeface="Georgia" panose="02040502050405020303" pitchFamily="18" charset="0"/>
              </a:defRPr>
            </a:lvl1pPr>
          </a:lstStyle>
          <a:p>
            <a:pPr marL="0" marR="0" lvl="0" indent="0" algn="ctr" defTabSz="914400" rtl="0" eaLnBrk="1" fontAlgn="auto" latinLnBrk="0" hangingPunct="1">
              <a:lnSpc>
                <a:spcPct val="95000"/>
              </a:lnSpc>
              <a:spcBef>
                <a:spcPts val="0"/>
              </a:spcBef>
              <a:spcAft>
                <a:spcPts val="600"/>
              </a:spcAft>
              <a:buClrTx/>
              <a:buSzTx/>
              <a:buFont typeface="System Font Regular"/>
              <a:buNone/>
              <a:tabLst/>
              <a:defRPr/>
            </a:pPr>
            <a:r>
              <a:rPr lang="en-US" dirty="0"/>
              <a:t>X</a:t>
            </a:r>
          </a:p>
          <a:p>
            <a:pPr lvl="0"/>
            <a:endParaRPr lang="en-US" dirty="0"/>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2"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2"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2"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2"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2"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4" name="Title">
            <a:extLst>
              <a:ext uri="{FF2B5EF4-FFF2-40B4-BE49-F238E27FC236}">
                <a16:creationId xmlns:a16="http://schemas.microsoft.com/office/drawing/2014/main" id="{985C1EE6-5D28-F64E-BD6D-93704583EE44}"/>
              </a:ext>
            </a:extLst>
          </p:cNvPr>
          <p:cNvSpPr>
            <a:spLocks noGrp="1"/>
          </p:cNvSpPr>
          <p:nvPr>
            <p:ph type="body" sz="quarter" idx="32" hasCustomPrompt="1"/>
          </p:nvPr>
        </p:nvSpPr>
        <p:spPr>
          <a:xfrm>
            <a:off x="762000" y="508000"/>
            <a:ext cx="10671048" cy="822960"/>
          </a:xfrm>
        </p:spPr>
        <p:txBody>
          <a:bodyPr anchor="b" anchorCtr="0"/>
          <a:lstStyle>
            <a:lvl1pPr>
              <a:defRPr sz="2400" b="1"/>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3381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ark - Numbered Outline 2 Column">
    <p:bg>
      <p:bgPr>
        <a:solidFill>
          <a:schemeClr val="tx1"/>
        </a:solidFill>
        <a:effectLst/>
      </p:bgPr>
    </p:bg>
    <p:spTree>
      <p:nvGrpSpPr>
        <p:cNvPr id="1" name=""/>
        <p:cNvGrpSpPr/>
        <p:nvPr/>
      </p:nvGrpSpPr>
      <p:grpSpPr>
        <a:xfrm>
          <a:off x="0" y="0"/>
          <a:ext cx="0" cy="0"/>
          <a:chOff x="0" y="0"/>
          <a:chExt cx="0" cy="0"/>
        </a:xfrm>
      </p:grpSpPr>
      <p:pic>
        <p:nvPicPr>
          <p:cNvPr id="44" name="Data Texture Cloud">
            <a:extLst>
              <a:ext uri="{FF2B5EF4-FFF2-40B4-BE49-F238E27FC236}">
                <a16:creationId xmlns:a16="http://schemas.microsoft.com/office/drawing/2014/main" id="{8704FFD7-23EE-EC4D-ABF6-35D3AD95107F}"/>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48641"/>
          <a:stretch/>
        </p:blipFill>
        <p:spPr>
          <a:xfrm>
            <a:off x="9881411" y="521208"/>
            <a:ext cx="2310589" cy="1701811"/>
          </a:xfrm>
          <a:prstGeom prst="rect">
            <a:avLst/>
          </a:prstGeom>
        </p:spPr>
      </p:pic>
      <p:pic>
        <p:nvPicPr>
          <p:cNvPr id="26" name="OTag">
            <a:extLst>
              <a:ext uri="{FF2B5EF4-FFF2-40B4-BE49-F238E27FC236}">
                <a16:creationId xmlns:a16="http://schemas.microsoft.com/office/drawing/2014/main" id="{6B255320-7797-3244-AB7F-7048F2FDBB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46" name="Footer">
            <a:extLst>
              <a:ext uri="{FF2B5EF4-FFF2-40B4-BE49-F238E27FC236}">
                <a16:creationId xmlns:a16="http://schemas.microsoft.com/office/drawing/2014/main" id="{FCC6647B-EC4B-AB42-BF10-5C8E8A23A9DC}"/>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31" name="Slide Number">
            <a:extLst>
              <a:ext uri="{FF2B5EF4-FFF2-40B4-BE49-F238E27FC236}">
                <a16:creationId xmlns:a16="http://schemas.microsoft.com/office/drawing/2014/main" id="{CC5C0CA0-2B8A-9F4E-A261-9C8E089C7C6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38" name="Number">
            <a:extLst>
              <a:ext uri="{FF2B5EF4-FFF2-40B4-BE49-F238E27FC236}">
                <a16:creationId xmlns:a16="http://schemas.microsoft.com/office/drawing/2014/main" id="{2F38CE05-2128-F946-832B-CF7806F2B597}"/>
              </a:ext>
            </a:extLst>
          </p:cNvPr>
          <p:cNvSpPr>
            <a:spLocks noGrp="1"/>
          </p:cNvSpPr>
          <p:nvPr>
            <p:ph type="body" sz="quarter" idx="26" hasCustomPrompt="1"/>
          </p:nvPr>
        </p:nvSpPr>
        <p:spPr>
          <a:xfrm>
            <a:off x="6342892" y="391642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7" name="Number">
            <a:extLst>
              <a:ext uri="{FF2B5EF4-FFF2-40B4-BE49-F238E27FC236}">
                <a16:creationId xmlns:a16="http://schemas.microsoft.com/office/drawing/2014/main" id="{57B2FD3E-93EE-0A45-9E7C-CB3E5765653D}"/>
              </a:ext>
            </a:extLst>
          </p:cNvPr>
          <p:cNvSpPr>
            <a:spLocks noGrp="1"/>
          </p:cNvSpPr>
          <p:nvPr>
            <p:ph type="body" sz="quarter" idx="25" hasCustomPrompt="1"/>
          </p:nvPr>
        </p:nvSpPr>
        <p:spPr>
          <a:xfrm>
            <a:off x="6342892" y="3397254"/>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6" name="Number">
            <a:extLst>
              <a:ext uri="{FF2B5EF4-FFF2-40B4-BE49-F238E27FC236}">
                <a16:creationId xmlns:a16="http://schemas.microsoft.com/office/drawing/2014/main" id="{4C37858A-AC21-CB41-8C96-65D9002230E4}"/>
              </a:ext>
            </a:extLst>
          </p:cNvPr>
          <p:cNvSpPr>
            <a:spLocks noGrp="1"/>
          </p:cNvSpPr>
          <p:nvPr>
            <p:ph type="body" sz="quarter" idx="24" hasCustomPrompt="1"/>
          </p:nvPr>
        </p:nvSpPr>
        <p:spPr>
          <a:xfrm>
            <a:off x="6342892" y="2878080"/>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5" name="Number">
            <a:extLst>
              <a:ext uri="{FF2B5EF4-FFF2-40B4-BE49-F238E27FC236}">
                <a16:creationId xmlns:a16="http://schemas.microsoft.com/office/drawing/2014/main" id="{97B05350-6C68-E84A-81F0-64BB53EE5EE5}"/>
              </a:ext>
            </a:extLst>
          </p:cNvPr>
          <p:cNvSpPr>
            <a:spLocks noGrp="1"/>
          </p:cNvSpPr>
          <p:nvPr>
            <p:ph type="body" sz="quarter" idx="23" hasCustomPrompt="1"/>
          </p:nvPr>
        </p:nvSpPr>
        <p:spPr>
          <a:xfrm>
            <a:off x="6342892" y="235890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4" name="Number">
            <a:extLst>
              <a:ext uri="{FF2B5EF4-FFF2-40B4-BE49-F238E27FC236}">
                <a16:creationId xmlns:a16="http://schemas.microsoft.com/office/drawing/2014/main" id="{50B157E0-DFD4-4442-837D-FEFEE0ED83D0}"/>
              </a:ext>
            </a:extLst>
          </p:cNvPr>
          <p:cNvSpPr>
            <a:spLocks noGrp="1"/>
          </p:cNvSpPr>
          <p:nvPr>
            <p:ph type="body" sz="quarter" idx="22" hasCustomPrompt="1"/>
          </p:nvPr>
        </p:nvSpPr>
        <p:spPr>
          <a:xfrm>
            <a:off x="6342892" y="1839732"/>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42" name="Text Field">
            <a:extLst>
              <a:ext uri="{FF2B5EF4-FFF2-40B4-BE49-F238E27FC236}">
                <a16:creationId xmlns:a16="http://schemas.microsoft.com/office/drawing/2014/main" id="{513F9047-4D4F-4944-A54F-6838E69D529C}"/>
              </a:ext>
            </a:extLst>
          </p:cNvPr>
          <p:cNvSpPr>
            <a:spLocks noGrp="1"/>
          </p:cNvSpPr>
          <p:nvPr>
            <p:ph type="body" idx="30"/>
          </p:nvPr>
        </p:nvSpPr>
        <p:spPr>
          <a:xfrm>
            <a:off x="6946209"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41" name="Text Field">
            <a:extLst>
              <a:ext uri="{FF2B5EF4-FFF2-40B4-BE49-F238E27FC236}">
                <a16:creationId xmlns:a16="http://schemas.microsoft.com/office/drawing/2014/main" id="{AB0EA59E-C5BD-2449-B9B1-56DEAED420FF}"/>
              </a:ext>
            </a:extLst>
          </p:cNvPr>
          <p:cNvSpPr>
            <a:spLocks noGrp="1"/>
          </p:cNvSpPr>
          <p:nvPr>
            <p:ph type="body" idx="29"/>
          </p:nvPr>
        </p:nvSpPr>
        <p:spPr>
          <a:xfrm>
            <a:off x="6946209"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40" name="Text Field">
            <a:extLst>
              <a:ext uri="{FF2B5EF4-FFF2-40B4-BE49-F238E27FC236}">
                <a16:creationId xmlns:a16="http://schemas.microsoft.com/office/drawing/2014/main" id="{22511F22-E591-F74E-BFD2-CDD45D3AD3EB}"/>
              </a:ext>
            </a:extLst>
          </p:cNvPr>
          <p:cNvSpPr>
            <a:spLocks noGrp="1"/>
          </p:cNvSpPr>
          <p:nvPr>
            <p:ph type="body" idx="28"/>
          </p:nvPr>
        </p:nvSpPr>
        <p:spPr>
          <a:xfrm>
            <a:off x="6946209"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39" name="Text Field">
            <a:extLst>
              <a:ext uri="{FF2B5EF4-FFF2-40B4-BE49-F238E27FC236}">
                <a16:creationId xmlns:a16="http://schemas.microsoft.com/office/drawing/2014/main" id="{22D41171-F1BC-0242-9A58-63B4D72A490C}"/>
              </a:ext>
            </a:extLst>
          </p:cNvPr>
          <p:cNvSpPr>
            <a:spLocks noGrp="1"/>
          </p:cNvSpPr>
          <p:nvPr>
            <p:ph type="body" idx="27"/>
          </p:nvPr>
        </p:nvSpPr>
        <p:spPr>
          <a:xfrm>
            <a:off x="6946209"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43" name="Text Field">
            <a:extLst>
              <a:ext uri="{FF2B5EF4-FFF2-40B4-BE49-F238E27FC236}">
                <a16:creationId xmlns:a16="http://schemas.microsoft.com/office/drawing/2014/main" id="{3D9253FE-8D61-AC4A-B664-3F8478D670B8}"/>
              </a:ext>
            </a:extLst>
          </p:cNvPr>
          <p:cNvSpPr>
            <a:spLocks noGrp="1"/>
          </p:cNvSpPr>
          <p:nvPr>
            <p:ph type="body" idx="31"/>
          </p:nvPr>
        </p:nvSpPr>
        <p:spPr>
          <a:xfrm>
            <a:off x="6946209"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cxnSp>
        <p:nvCxnSpPr>
          <p:cNvPr id="27" name="Column Divider">
            <a:extLst>
              <a:ext uri="{FF2B5EF4-FFF2-40B4-BE49-F238E27FC236}">
                <a16:creationId xmlns:a16="http://schemas.microsoft.com/office/drawing/2014/main" id="{90C130B8-DB30-A047-8311-FCD7EEDF456C}"/>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2"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2"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2"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2"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2"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Deuxième niveau
Troisième niveau
Quatrième niveau
Cinquième niveau</a:t>
            </a:r>
            <a:endParaRPr lang="en-US" dirty="0"/>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3" name="Title">
            <a:extLst>
              <a:ext uri="{FF2B5EF4-FFF2-40B4-BE49-F238E27FC236}">
                <a16:creationId xmlns:a16="http://schemas.microsoft.com/office/drawing/2014/main" id="{D9AA50B9-ED2D-9E4E-B345-DABFD93D5FB7}"/>
              </a:ext>
            </a:extLst>
          </p:cNvPr>
          <p:cNvSpPr>
            <a:spLocks noGrp="1"/>
          </p:cNvSpPr>
          <p:nvPr>
            <p:ph type="body" sz="quarter" idx="20" hasCustomPrompt="1"/>
          </p:nvPr>
        </p:nvSpPr>
        <p:spPr>
          <a:xfrm>
            <a:off x="762000" y="508000"/>
            <a:ext cx="10671048" cy="822960"/>
          </a:xfrm>
        </p:spPr>
        <p:txBody>
          <a:bodyPr anchor="b" anchorCtr="0"/>
          <a:lstStyle>
            <a:lvl1pPr>
              <a:defRPr sz="2400" b="1">
                <a:solidFill>
                  <a:schemeClr val="bg1"/>
                </a:solidFill>
              </a:defRPr>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416706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Light - Quote with Data Texture Background">
    <p:bg>
      <p:bgPr>
        <a:solidFill>
          <a:schemeClr val="bg1"/>
        </a:solidFill>
        <a:effectLst/>
      </p:bgPr>
    </p:bg>
    <p:spTree>
      <p:nvGrpSpPr>
        <p:cNvPr id="1" name=""/>
        <p:cNvGrpSpPr/>
        <p:nvPr/>
      </p:nvGrpSpPr>
      <p:grpSpPr>
        <a:xfrm>
          <a:off x="0" y="0"/>
          <a:ext cx="0" cy="0"/>
          <a:chOff x="0" y="0"/>
          <a:chExt cx="0" cy="0"/>
        </a:xfrm>
      </p:grpSpPr>
      <p:pic>
        <p:nvPicPr>
          <p:cNvPr id="11" name="Data Texture Image">
            <a:extLst>
              <a:ext uri="{FF2B5EF4-FFF2-40B4-BE49-F238E27FC236}">
                <a16:creationId xmlns:a16="http://schemas.microsoft.com/office/drawing/2014/main" id="{37719A65-A15E-D649-BA4C-EB7554C2C99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0" name="OTag">
            <a:extLst>
              <a:ext uri="{FF2B5EF4-FFF2-40B4-BE49-F238E27FC236}">
                <a16:creationId xmlns:a16="http://schemas.microsoft.com/office/drawing/2014/main" id="{7DC71B8D-1AA8-1D49-9770-9D8CD0F61F9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5" name="Footer">
            <a:extLst>
              <a:ext uri="{FF2B5EF4-FFF2-40B4-BE49-F238E27FC236}">
                <a16:creationId xmlns:a16="http://schemas.microsoft.com/office/drawing/2014/main" id="{BD6A4DBE-C2D1-0143-B03F-46AD99BF53BE}"/>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25" name="Slide Number">
            <a:extLst>
              <a:ext uri="{FF2B5EF4-FFF2-40B4-BE49-F238E27FC236}">
                <a16:creationId xmlns:a16="http://schemas.microsoft.com/office/drawing/2014/main" id="{CF4AC442-1E4B-8E49-A1D2-97D0EDB48C4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2" name="Text Field">
            <a:extLst>
              <a:ext uri="{FF2B5EF4-FFF2-40B4-BE49-F238E27FC236}">
                <a16:creationId xmlns:a16="http://schemas.microsoft.com/office/drawing/2014/main" id="{36C31D35-A48A-6B46-A3DB-FDB99CCA72F4}"/>
              </a:ext>
            </a:extLst>
          </p:cNvPr>
          <p:cNvSpPr>
            <a:spLocks noGrp="1"/>
          </p:cNvSpPr>
          <p:nvPr>
            <p:ph type="body" sz="quarter" idx="36" hasCustomPrompt="1"/>
          </p:nvPr>
        </p:nvSpPr>
        <p:spPr>
          <a:xfrm>
            <a:off x="761999" y="4706392"/>
            <a:ext cx="5333999" cy="895181"/>
          </a:xfrm>
        </p:spPr>
        <p:txBody>
          <a:bodyPr>
            <a:noAutofit/>
          </a:bodyPr>
          <a:lstStyle>
            <a:lvl1pPr>
              <a:defRPr/>
            </a:lvl1pPr>
          </a:lstStyle>
          <a:p>
            <a:pPr lvl="0"/>
            <a:r>
              <a:rPr lang="en-US" dirty="0"/>
              <a:t>Additional information if needed</a:t>
            </a:r>
          </a:p>
        </p:txBody>
      </p:sp>
      <p:sp>
        <p:nvSpPr>
          <p:cNvPr id="13" name="Text Field">
            <a:extLst>
              <a:ext uri="{FF2B5EF4-FFF2-40B4-BE49-F238E27FC236}">
                <a16:creationId xmlns:a16="http://schemas.microsoft.com/office/drawing/2014/main" id="{B09058E5-A74E-C340-89D0-4D15C2F3B8D0}"/>
              </a:ext>
            </a:extLst>
          </p:cNvPr>
          <p:cNvSpPr>
            <a:spLocks noGrp="1"/>
          </p:cNvSpPr>
          <p:nvPr>
            <p:ph type="body" sz="quarter" idx="37" hasCustomPrompt="1"/>
          </p:nvPr>
        </p:nvSpPr>
        <p:spPr>
          <a:xfrm>
            <a:off x="761999" y="4368799"/>
            <a:ext cx="5333999" cy="266291"/>
          </a:xfrm>
        </p:spPr>
        <p:txBody>
          <a:bodyPr>
            <a:noAutofit/>
          </a:bodyPr>
          <a:lstStyle>
            <a:lvl1pPr>
              <a:defRPr b="1"/>
            </a:lvl1pPr>
          </a:lstStyle>
          <a:p>
            <a:pPr lvl="0"/>
            <a:r>
              <a:rPr lang="en-US" dirty="0"/>
              <a:t>Name of person quoted</a:t>
            </a:r>
          </a:p>
        </p:txBody>
      </p:sp>
      <p:cxnSp>
        <p:nvCxnSpPr>
          <p:cNvPr id="22" name="Accent Mark">
            <a:extLst>
              <a:ext uri="{FF2B5EF4-FFF2-40B4-BE49-F238E27FC236}">
                <a16:creationId xmlns:a16="http://schemas.microsoft.com/office/drawing/2014/main" id="{F363974D-C85A-FE42-A520-65FD80C0574A}"/>
              </a:ext>
            </a:extLst>
          </p:cNvPr>
          <p:cNvCxnSpPr>
            <a:cxnSpLocks/>
          </p:cNvCxnSpPr>
          <p:nvPr userDrawn="1"/>
        </p:nvCxnSpPr>
        <p:spPr>
          <a:xfrm flipH="1">
            <a:off x="762000"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Quote">
            <a:extLst>
              <a:ext uri="{FF2B5EF4-FFF2-40B4-BE49-F238E27FC236}">
                <a16:creationId xmlns:a16="http://schemas.microsoft.com/office/drawing/2014/main" id="{2986242B-B8ED-0E49-8935-3E4635F59B04}"/>
              </a:ext>
            </a:extLst>
          </p:cNvPr>
          <p:cNvSpPr>
            <a:spLocks noGrp="1"/>
          </p:cNvSpPr>
          <p:nvPr>
            <p:ph type="body" sz="quarter" idx="13" hasCustomPrompt="1"/>
          </p:nvPr>
        </p:nvSpPr>
        <p:spPr>
          <a:xfrm>
            <a:off x="762000" y="2383542"/>
            <a:ext cx="10671048" cy="1477328"/>
          </a:xfrm>
          <a:prstGeom prst="rect">
            <a:avLst/>
          </a:prstGeom>
        </p:spPr>
        <p:txBody>
          <a:bodyPr wrap="square" lIns="0" anchor="b" anchorCtr="0">
            <a:noAutofit/>
          </a:bodyPr>
          <a:lstStyle>
            <a:lvl1pPr marL="0" indent="0" algn="l" fontAlgn="t">
              <a:lnSpc>
                <a:spcPct val="100000"/>
              </a:lnSpc>
              <a:spcBef>
                <a:spcPts val="0"/>
              </a:spcBef>
              <a:buNone/>
              <a:defRPr sz="3200" b="0" i="0">
                <a:latin typeface="+mj-lt"/>
                <a:cs typeface="Oracle Sans" panose="020B0503020204020204" pitchFamily="34" charset="0"/>
              </a:defRPr>
            </a:lvl1pPr>
          </a:lstStyle>
          <a:p>
            <a:pPr lvl="0"/>
            <a:r>
              <a:rPr lang="en-US" dirty="0"/>
              <a:t>“Click to type customer or partner quote surrounded by quotation marks.” Remove/replace placeholder logo as needed.</a:t>
            </a:r>
          </a:p>
        </p:txBody>
      </p:sp>
      <p:pic>
        <p:nvPicPr>
          <p:cNvPr id="14" name="Abstract Pattern Strip">
            <a:extLst>
              <a:ext uri="{FF2B5EF4-FFF2-40B4-BE49-F238E27FC236}">
                <a16:creationId xmlns:a16="http://schemas.microsoft.com/office/drawing/2014/main" id="{5806996B-D092-2840-A020-2C61A285CB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34062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ark - Quote with Data Texture Background">
    <p:bg>
      <p:bgPr>
        <a:solidFill>
          <a:schemeClr val="tx1"/>
        </a:solidFill>
        <a:effectLst/>
      </p:bgPr>
    </p:bg>
    <p:spTree>
      <p:nvGrpSpPr>
        <p:cNvPr id="1" name=""/>
        <p:cNvGrpSpPr/>
        <p:nvPr/>
      </p:nvGrpSpPr>
      <p:grpSpPr>
        <a:xfrm>
          <a:off x="0" y="0"/>
          <a:ext cx="0" cy="0"/>
          <a:chOff x="0" y="0"/>
          <a:chExt cx="0" cy="0"/>
        </a:xfrm>
      </p:grpSpPr>
      <p:pic>
        <p:nvPicPr>
          <p:cNvPr id="11" name="Data Texture Image">
            <a:extLst>
              <a:ext uri="{FF2B5EF4-FFF2-40B4-BE49-F238E27FC236}">
                <a16:creationId xmlns:a16="http://schemas.microsoft.com/office/drawing/2014/main" id="{2A03F3C1-CA90-8D4E-8140-0BAB92B0448B}"/>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0" name="OTag">
            <a:extLst>
              <a:ext uri="{FF2B5EF4-FFF2-40B4-BE49-F238E27FC236}">
                <a16:creationId xmlns:a16="http://schemas.microsoft.com/office/drawing/2014/main" id="{7DC71B8D-1AA8-1D49-9770-9D8CD0F61F9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5" name="Footer">
            <a:extLst>
              <a:ext uri="{FF2B5EF4-FFF2-40B4-BE49-F238E27FC236}">
                <a16:creationId xmlns:a16="http://schemas.microsoft.com/office/drawing/2014/main" id="{807B0D80-D422-124E-B1ED-B5145C521B17}"/>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25" name="Slide Number">
            <a:extLst>
              <a:ext uri="{FF2B5EF4-FFF2-40B4-BE49-F238E27FC236}">
                <a16:creationId xmlns:a16="http://schemas.microsoft.com/office/drawing/2014/main" id="{CF4AC442-1E4B-8E49-A1D2-97D0EDB48C4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2" name="Text Field">
            <a:extLst>
              <a:ext uri="{FF2B5EF4-FFF2-40B4-BE49-F238E27FC236}">
                <a16:creationId xmlns:a16="http://schemas.microsoft.com/office/drawing/2014/main" id="{D30B703F-7C44-2E41-89E2-5AA0A8394333}"/>
              </a:ext>
            </a:extLst>
          </p:cNvPr>
          <p:cNvSpPr>
            <a:spLocks noGrp="1"/>
          </p:cNvSpPr>
          <p:nvPr>
            <p:ph type="body" sz="quarter" idx="36" hasCustomPrompt="1"/>
          </p:nvPr>
        </p:nvSpPr>
        <p:spPr>
          <a:xfrm>
            <a:off x="761999" y="4706392"/>
            <a:ext cx="5333999" cy="895181"/>
          </a:xfrm>
        </p:spPr>
        <p:txBody>
          <a:bodyPr>
            <a:noAutofit/>
          </a:bodyPr>
          <a:lstStyle>
            <a:lvl1pPr>
              <a:defRPr>
                <a:solidFill>
                  <a:schemeClr val="bg1"/>
                </a:solidFill>
              </a:defRPr>
            </a:lvl1pPr>
          </a:lstStyle>
          <a:p>
            <a:pPr lvl="0"/>
            <a:r>
              <a:rPr lang="en-US" dirty="0"/>
              <a:t>Additional information if needed</a:t>
            </a:r>
          </a:p>
        </p:txBody>
      </p:sp>
      <p:sp>
        <p:nvSpPr>
          <p:cNvPr id="13" name="Text Field">
            <a:extLst>
              <a:ext uri="{FF2B5EF4-FFF2-40B4-BE49-F238E27FC236}">
                <a16:creationId xmlns:a16="http://schemas.microsoft.com/office/drawing/2014/main" id="{5808C5F6-8931-0747-B5A3-19EC1C4A4095}"/>
              </a:ext>
            </a:extLst>
          </p:cNvPr>
          <p:cNvSpPr>
            <a:spLocks noGrp="1"/>
          </p:cNvSpPr>
          <p:nvPr>
            <p:ph type="body" sz="quarter" idx="37" hasCustomPrompt="1"/>
          </p:nvPr>
        </p:nvSpPr>
        <p:spPr>
          <a:xfrm>
            <a:off x="761999" y="4368799"/>
            <a:ext cx="5333999" cy="266291"/>
          </a:xfrm>
        </p:spPr>
        <p:txBody>
          <a:bodyPr>
            <a:noAutofit/>
          </a:bodyPr>
          <a:lstStyle>
            <a:lvl1pPr>
              <a:defRPr b="1">
                <a:solidFill>
                  <a:schemeClr val="bg1"/>
                </a:solidFill>
              </a:defRPr>
            </a:lvl1pPr>
          </a:lstStyle>
          <a:p>
            <a:pPr lvl="0"/>
            <a:r>
              <a:rPr lang="en-US" dirty="0"/>
              <a:t>Name of person quoted</a:t>
            </a:r>
          </a:p>
        </p:txBody>
      </p:sp>
      <p:cxnSp>
        <p:nvCxnSpPr>
          <p:cNvPr id="22" name="Accent Mark">
            <a:extLst>
              <a:ext uri="{FF2B5EF4-FFF2-40B4-BE49-F238E27FC236}">
                <a16:creationId xmlns:a16="http://schemas.microsoft.com/office/drawing/2014/main" id="{F363974D-C85A-FE42-A520-65FD80C0574A}"/>
              </a:ext>
            </a:extLst>
          </p:cNvPr>
          <p:cNvCxnSpPr>
            <a:cxnSpLocks/>
          </p:cNvCxnSpPr>
          <p:nvPr userDrawn="1"/>
        </p:nvCxnSpPr>
        <p:spPr>
          <a:xfrm flipH="1">
            <a:off x="762000"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Quote">
            <a:extLst>
              <a:ext uri="{FF2B5EF4-FFF2-40B4-BE49-F238E27FC236}">
                <a16:creationId xmlns:a16="http://schemas.microsoft.com/office/drawing/2014/main" id="{2986242B-B8ED-0E49-8935-3E4635F59B04}"/>
              </a:ext>
            </a:extLst>
          </p:cNvPr>
          <p:cNvSpPr>
            <a:spLocks noGrp="1"/>
          </p:cNvSpPr>
          <p:nvPr>
            <p:ph type="body" sz="quarter" idx="13" hasCustomPrompt="1"/>
          </p:nvPr>
        </p:nvSpPr>
        <p:spPr>
          <a:xfrm>
            <a:off x="762000" y="2383542"/>
            <a:ext cx="10671048" cy="1477328"/>
          </a:xfrm>
          <a:prstGeom prst="rect">
            <a:avLst/>
          </a:prstGeom>
        </p:spPr>
        <p:txBody>
          <a:bodyPr wrap="square" lIns="0" anchor="b" anchorCtr="0">
            <a:no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Click to type customer or partner quote surrounded by quotation marks.” Remove/replace placeholder logo as needed.</a:t>
            </a:r>
          </a:p>
        </p:txBody>
      </p:sp>
      <p:pic>
        <p:nvPicPr>
          <p:cNvPr id="14" name="Abstract Pattern Strip">
            <a:extLst>
              <a:ext uri="{FF2B5EF4-FFF2-40B4-BE49-F238E27FC236}">
                <a16:creationId xmlns:a16="http://schemas.microsoft.com/office/drawing/2014/main" id="{5806996B-D092-2840-A020-2C61A285CB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80278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Light - Quote with Picture">
    <p:bg>
      <p:bgPr>
        <a:solidFill>
          <a:schemeClr val="bg2"/>
        </a:solidFill>
        <a:effectLst/>
      </p:bgPr>
    </p:bg>
    <p:spTree>
      <p:nvGrpSpPr>
        <p:cNvPr id="1" name=""/>
        <p:cNvGrpSpPr/>
        <p:nvPr/>
      </p:nvGrpSpPr>
      <p:grpSpPr>
        <a:xfrm>
          <a:off x="0" y="0"/>
          <a:ext cx="0" cy="0"/>
          <a:chOff x="0" y="0"/>
          <a:chExt cx="0" cy="0"/>
        </a:xfrm>
      </p:grpSpPr>
      <p:pic>
        <p:nvPicPr>
          <p:cNvPr id="17" name="Data Texture Image">
            <a:extLst>
              <a:ext uri="{FF2B5EF4-FFF2-40B4-BE49-F238E27FC236}">
                <a16:creationId xmlns:a16="http://schemas.microsoft.com/office/drawing/2014/main" id="{5E3EE33C-3C81-A14C-A3AC-19B702C14923}"/>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r="60000"/>
          <a:stretch/>
        </p:blipFill>
        <p:spPr>
          <a:xfrm>
            <a:off x="0" y="0"/>
            <a:ext cx="4876800" cy="6858000"/>
          </a:xfrm>
          <a:prstGeom prst="rect">
            <a:avLst/>
          </a:prstGeom>
        </p:spPr>
      </p:pic>
      <p:pic>
        <p:nvPicPr>
          <p:cNvPr id="15" name="OTag">
            <a:extLst>
              <a:ext uri="{FF2B5EF4-FFF2-40B4-BE49-F238E27FC236}">
                <a16:creationId xmlns:a16="http://schemas.microsoft.com/office/drawing/2014/main" id="{E10A4478-5FA6-BA43-91CD-CFE852EBF2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4" name="Footer">
            <a:extLst>
              <a:ext uri="{FF2B5EF4-FFF2-40B4-BE49-F238E27FC236}">
                <a16:creationId xmlns:a16="http://schemas.microsoft.com/office/drawing/2014/main" id="{DE2C5228-7B29-2845-809E-1891554EBF52}"/>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20" name="Slide Number">
            <a:extLst>
              <a:ext uri="{FF2B5EF4-FFF2-40B4-BE49-F238E27FC236}">
                <a16:creationId xmlns:a16="http://schemas.microsoft.com/office/drawing/2014/main" id="{EE72B65C-E243-794C-857A-A0D39057C3A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1" name="Text Field">
            <a:extLst>
              <a:ext uri="{FF2B5EF4-FFF2-40B4-BE49-F238E27FC236}">
                <a16:creationId xmlns:a16="http://schemas.microsoft.com/office/drawing/2014/main" id="{CBFB97F9-F988-C34C-8B6D-BB4A4D881736}"/>
              </a:ext>
            </a:extLst>
          </p:cNvPr>
          <p:cNvSpPr>
            <a:spLocks noGrp="1"/>
          </p:cNvSpPr>
          <p:nvPr>
            <p:ph type="body" sz="quarter" idx="36" hasCustomPrompt="1"/>
          </p:nvPr>
        </p:nvSpPr>
        <p:spPr>
          <a:xfrm>
            <a:off x="5126734" y="5152453"/>
            <a:ext cx="6300216" cy="895181"/>
          </a:xfrm>
        </p:spPr>
        <p:txBody>
          <a:bodyPr>
            <a:noAutofit/>
          </a:bodyPr>
          <a:lstStyle>
            <a:lvl1pPr>
              <a:defRPr/>
            </a:lvl1pPr>
          </a:lstStyle>
          <a:p>
            <a:pPr lvl="0"/>
            <a:r>
              <a:rPr lang="en-US" dirty="0"/>
              <a:t>Additional information if needed</a:t>
            </a:r>
          </a:p>
        </p:txBody>
      </p:sp>
      <p:sp>
        <p:nvSpPr>
          <p:cNvPr id="13" name="Text Field">
            <a:extLst>
              <a:ext uri="{FF2B5EF4-FFF2-40B4-BE49-F238E27FC236}">
                <a16:creationId xmlns:a16="http://schemas.microsoft.com/office/drawing/2014/main" id="{04A571F4-71E4-264A-BBD5-0475995E681B}"/>
              </a:ext>
            </a:extLst>
          </p:cNvPr>
          <p:cNvSpPr>
            <a:spLocks noGrp="1"/>
          </p:cNvSpPr>
          <p:nvPr>
            <p:ph type="body" sz="quarter" idx="37" hasCustomPrompt="1"/>
          </p:nvPr>
        </p:nvSpPr>
        <p:spPr>
          <a:xfrm>
            <a:off x="5126734" y="4814860"/>
            <a:ext cx="6300216" cy="266291"/>
          </a:xfrm>
        </p:spPr>
        <p:txBody>
          <a:bodyPr>
            <a:noAutofit/>
          </a:bodyPr>
          <a:lstStyle>
            <a:lvl1pPr>
              <a:defRPr b="1"/>
            </a:lvl1pPr>
          </a:lstStyle>
          <a:p>
            <a:pPr lvl="0"/>
            <a:r>
              <a:rPr lang="en-US" dirty="0"/>
              <a:t>Name of person quoted</a:t>
            </a:r>
          </a:p>
        </p:txBody>
      </p:sp>
      <p:cxnSp>
        <p:nvCxnSpPr>
          <p:cNvPr id="26" name="Accent Mark">
            <a:extLst>
              <a:ext uri="{FF2B5EF4-FFF2-40B4-BE49-F238E27FC236}">
                <a16:creationId xmlns:a16="http://schemas.microsoft.com/office/drawing/2014/main" id="{6DB377B9-92D3-3147-8E15-DDEA78616B10}"/>
              </a:ext>
            </a:extLst>
          </p:cNvPr>
          <p:cNvCxnSpPr>
            <a:cxnSpLocks/>
          </p:cNvCxnSpPr>
          <p:nvPr userDrawn="1"/>
        </p:nvCxnSpPr>
        <p:spPr>
          <a:xfrm flipH="1">
            <a:off x="5132832"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Quote">
            <a:extLst>
              <a:ext uri="{FF2B5EF4-FFF2-40B4-BE49-F238E27FC236}">
                <a16:creationId xmlns:a16="http://schemas.microsoft.com/office/drawing/2014/main" id="{38A1ED2B-730F-DB4F-8E69-07241B0A4987}"/>
              </a:ext>
            </a:extLst>
          </p:cNvPr>
          <p:cNvSpPr>
            <a:spLocks noGrp="1"/>
          </p:cNvSpPr>
          <p:nvPr>
            <p:ph type="body" sz="quarter" idx="13" hasCustomPrompt="1"/>
          </p:nvPr>
        </p:nvSpPr>
        <p:spPr>
          <a:xfrm>
            <a:off x="5126735" y="2337161"/>
            <a:ext cx="6300216" cy="1969770"/>
          </a:xfrm>
          <a:prstGeom prst="rect">
            <a:avLst/>
          </a:prstGeom>
        </p:spPr>
        <p:txBody>
          <a:bodyPr lIns="0" anchor="b" anchorCtr="0">
            <a:spAutoFit/>
          </a:bodyPr>
          <a:lstStyle>
            <a:lvl1pPr marL="0" indent="0" algn="l" fontAlgn="t">
              <a:lnSpc>
                <a:spcPct val="100000"/>
              </a:lnSpc>
              <a:spcBef>
                <a:spcPts val="0"/>
              </a:spcBef>
              <a:buNone/>
              <a:defRPr sz="3200" b="0" i="0">
                <a:latin typeface="+mj-lt"/>
                <a:cs typeface="Oracle Sans" panose="020B0503020204020204" pitchFamily="34" charset="0"/>
              </a:defRPr>
            </a:lvl1pPr>
          </a:lstStyle>
          <a:p>
            <a:pPr lvl="0"/>
            <a:r>
              <a:rPr lang="en-US" dirty="0"/>
              <a:t>“Click to type customer or partner quote surrounded by quotation marks.” Remove/replace placeholder image as needed.</a:t>
            </a:r>
          </a:p>
        </p:txBody>
      </p:sp>
      <p:pic>
        <p:nvPicPr>
          <p:cNvPr id="12" name="Abstract Pattern Strip">
            <a:extLst>
              <a:ext uri="{FF2B5EF4-FFF2-40B4-BE49-F238E27FC236}">
                <a16:creationId xmlns:a16="http://schemas.microsoft.com/office/drawing/2014/main" id="{D185B491-D394-0B46-9060-DA769BEF87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200178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 Quote with Picture">
    <p:bg>
      <p:bgPr>
        <a:solidFill>
          <a:schemeClr val="tx1"/>
        </a:solidFill>
        <a:effectLst/>
      </p:bgPr>
    </p:bg>
    <p:spTree>
      <p:nvGrpSpPr>
        <p:cNvPr id="1" name=""/>
        <p:cNvGrpSpPr/>
        <p:nvPr/>
      </p:nvGrpSpPr>
      <p:grpSpPr>
        <a:xfrm>
          <a:off x="0" y="0"/>
          <a:ext cx="0" cy="0"/>
          <a:chOff x="0" y="0"/>
          <a:chExt cx="0" cy="0"/>
        </a:xfrm>
      </p:grpSpPr>
      <p:pic>
        <p:nvPicPr>
          <p:cNvPr id="14" name="Data Texture Image">
            <a:extLst>
              <a:ext uri="{FF2B5EF4-FFF2-40B4-BE49-F238E27FC236}">
                <a16:creationId xmlns:a16="http://schemas.microsoft.com/office/drawing/2014/main" id="{7D65492D-593B-D243-921C-EAA6988BB880}"/>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60000"/>
          <a:stretch/>
        </p:blipFill>
        <p:spPr>
          <a:xfrm>
            <a:off x="0" y="0"/>
            <a:ext cx="4876800" cy="6858000"/>
          </a:xfrm>
          <a:prstGeom prst="rect">
            <a:avLst/>
          </a:prstGeom>
        </p:spPr>
      </p:pic>
      <p:pic>
        <p:nvPicPr>
          <p:cNvPr id="15" name="OTag">
            <a:extLst>
              <a:ext uri="{FF2B5EF4-FFF2-40B4-BE49-F238E27FC236}">
                <a16:creationId xmlns:a16="http://schemas.microsoft.com/office/drawing/2014/main" id="{E10A4478-5FA6-BA43-91CD-CFE852EBF2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
        <p:nvSpPr>
          <p:cNvPr id="17" name="Footer">
            <a:extLst>
              <a:ext uri="{FF2B5EF4-FFF2-40B4-BE49-F238E27FC236}">
                <a16:creationId xmlns:a16="http://schemas.microsoft.com/office/drawing/2014/main" id="{0F07A509-F8B6-F046-8834-4AD08ABD3A10}"/>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20" name="Slide Number">
            <a:extLst>
              <a:ext uri="{FF2B5EF4-FFF2-40B4-BE49-F238E27FC236}">
                <a16:creationId xmlns:a16="http://schemas.microsoft.com/office/drawing/2014/main" id="{EE72B65C-E243-794C-857A-A0D39057C3A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cxnSp>
        <p:nvCxnSpPr>
          <p:cNvPr id="26" name="Accent Mark">
            <a:extLst>
              <a:ext uri="{FF2B5EF4-FFF2-40B4-BE49-F238E27FC236}">
                <a16:creationId xmlns:a16="http://schemas.microsoft.com/office/drawing/2014/main" id="{6DB377B9-92D3-3147-8E15-DDEA78616B10}"/>
              </a:ext>
            </a:extLst>
          </p:cNvPr>
          <p:cNvCxnSpPr>
            <a:cxnSpLocks/>
          </p:cNvCxnSpPr>
          <p:nvPr userDrawn="1"/>
        </p:nvCxnSpPr>
        <p:spPr>
          <a:xfrm flipH="1">
            <a:off x="5132832"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Quote">
            <a:extLst>
              <a:ext uri="{FF2B5EF4-FFF2-40B4-BE49-F238E27FC236}">
                <a16:creationId xmlns:a16="http://schemas.microsoft.com/office/drawing/2014/main" id="{38A1ED2B-730F-DB4F-8E69-07241B0A4987}"/>
              </a:ext>
            </a:extLst>
          </p:cNvPr>
          <p:cNvSpPr>
            <a:spLocks noGrp="1"/>
          </p:cNvSpPr>
          <p:nvPr>
            <p:ph type="body" sz="quarter" idx="13" hasCustomPrompt="1"/>
          </p:nvPr>
        </p:nvSpPr>
        <p:spPr>
          <a:xfrm>
            <a:off x="5126735" y="2337161"/>
            <a:ext cx="6300216" cy="1969770"/>
          </a:xfrm>
          <a:prstGeom prst="rect">
            <a:avLst/>
          </a:prstGeom>
        </p:spPr>
        <p:txBody>
          <a:bodyPr lIns="0" anchor="b" anchorCtr="0">
            <a:sp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Click to type customer or partner quote surrounded by quotation marks.” Remove/replace placeholder image as needed.</a:t>
            </a:r>
          </a:p>
        </p:txBody>
      </p:sp>
      <p:pic>
        <p:nvPicPr>
          <p:cNvPr id="12" name="Abstract Pattern Strip">
            <a:extLst>
              <a:ext uri="{FF2B5EF4-FFF2-40B4-BE49-F238E27FC236}">
                <a16:creationId xmlns:a16="http://schemas.microsoft.com/office/drawing/2014/main" id="{D185B491-D394-0B46-9060-DA769BEF87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
        <p:nvSpPr>
          <p:cNvPr id="11" name="Text Field">
            <a:extLst>
              <a:ext uri="{FF2B5EF4-FFF2-40B4-BE49-F238E27FC236}">
                <a16:creationId xmlns:a16="http://schemas.microsoft.com/office/drawing/2014/main" id="{9EB85C99-047B-894D-AECB-C07A531DC4B1}"/>
              </a:ext>
            </a:extLst>
          </p:cNvPr>
          <p:cNvSpPr>
            <a:spLocks noGrp="1"/>
          </p:cNvSpPr>
          <p:nvPr>
            <p:ph type="body" sz="quarter" idx="36" hasCustomPrompt="1"/>
          </p:nvPr>
        </p:nvSpPr>
        <p:spPr>
          <a:xfrm>
            <a:off x="5126734" y="5152453"/>
            <a:ext cx="6300216" cy="895181"/>
          </a:xfrm>
        </p:spPr>
        <p:txBody>
          <a:bodyPr>
            <a:noAutofit/>
          </a:bodyPr>
          <a:lstStyle>
            <a:lvl1pPr>
              <a:defRPr>
                <a:solidFill>
                  <a:schemeClr val="bg1"/>
                </a:solidFill>
              </a:defRPr>
            </a:lvl1pPr>
          </a:lstStyle>
          <a:p>
            <a:pPr lvl="0"/>
            <a:r>
              <a:rPr lang="en-US" dirty="0"/>
              <a:t>Additional information if needed</a:t>
            </a:r>
          </a:p>
        </p:txBody>
      </p:sp>
      <p:sp>
        <p:nvSpPr>
          <p:cNvPr id="13" name="Text Field">
            <a:extLst>
              <a:ext uri="{FF2B5EF4-FFF2-40B4-BE49-F238E27FC236}">
                <a16:creationId xmlns:a16="http://schemas.microsoft.com/office/drawing/2014/main" id="{9B702811-6927-C64B-8A43-AF047A905AC3}"/>
              </a:ext>
            </a:extLst>
          </p:cNvPr>
          <p:cNvSpPr>
            <a:spLocks noGrp="1"/>
          </p:cNvSpPr>
          <p:nvPr>
            <p:ph type="body" sz="quarter" idx="37" hasCustomPrompt="1"/>
          </p:nvPr>
        </p:nvSpPr>
        <p:spPr>
          <a:xfrm>
            <a:off x="5126734" y="4814860"/>
            <a:ext cx="6300216" cy="266291"/>
          </a:xfrm>
        </p:spPr>
        <p:txBody>
          <a:bodyPr>
            <a:noAutofit/>
          </a:bodyPr>
          <a:lstStyle>
            <a:lvl1pPr>
              <a:defRPr b="1">
                <a:solidFill>
                  <a:schemeClr val="bg1"/>
                </a:solidFill>
              </a:defRPr>
            </a:lvl1pPr>
          </a:lstStyle>
          <a:p>
            <a:pPr lvl="0"/>
            <a:r>
              <a:rPr lang="en-US" dirty="0"/>
              <a:t>Name of person quoted</a:t>
            </a:r>
          </a:p>
        </p:txBody>
      </p:sp>
    </p:spTree>
    <p:extLst>
      <p:ext uri="{BB962C8B-B14F-4D97-AF65-F5344CB8AC3E}">
        <p14:creationId xmlns:p14="http://schemas.microsoft.com/office/powerpoint/2010/main" val="301627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tags" Target="../tags/tag1.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3.png"/><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image" Target="../media/image2.jpg"/><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image" Target="../media/image1.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19.jpe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image" Target="../media/image18.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image" Target="../media/image19.jpeg"/><Relationship Id="rId3" Type="http://schemas.openxmlformats.org/officeDocument/2006/relationships/theme" Target="../theme/theme4.xml"/><Relationship Id="rId7" Type="http://schemas.openxmlformats.org/officeDocument/2006/relationships/tags" Target="../tags/tag5.xml"/><Relationship Id="rId12" Type="http://schemas.openxmlformats.org/officeDocument/2006/relationships/image" Target="../media/image18.emf"/><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0" Type="http://schemas.openxmlformats.org/officeDocument/2006/relationships/tags" Target="../tags/tag8.xml"/><Relationship Id="rId4" Type="http://schemas.openxmlformats.org/officeDocument/2006/relationships/tags" Target="../tags/tag2.xml"/><Relationship Id="rId9"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image" Target="../media/image31.png"/><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image" Target="../media/image25.jp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image" Target="../media/image18.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slideLayout" Target="../slideLayouts/slideLayout130.xml"/><Relationship Id="rId50" Type="http://schemas.openxmlformats.org/officeDocument/2006/relationships/slideLayout" Target="../slideLayouts/slideLayout133.xml"/><Relationship Id="rId55" Type="http://schemas.openxmlformats.org/officeDocument/2006/relationships/slideLayout" Target="../slideLayouts/slideLayout138.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slideLayout" Target="../slideLayouts/slideLayout129.xml"/><Relationship Id="rId59" Type="http://schemas.openxmlformats.org/officeDocument/2006/relationships/theme" Target="../theme/theme7.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41" Type="http://schemas.openxmlformats.org/officeDocument/2006/relationships/slideLayout" Target="../slideLayouts/slideLayout124.xml"/><Relationship Id="rId54" Type="http://schemas.openxmlformats.org/officeDocument/2006/relationships/slideLayout" Target="../slideLayouts/slideLayout137.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slideLayout" Target="../slideLayouts/slideLayout128.xml"/><Relationship Id="rId53" Type="http://schemas.openxmlformats.org/officeDocument/2006/relationships/slideLayout" Target="../slideLayouts/slideLayout136.xml"/><Relationship Id="rId58" Type="http://schemas.openxmlformats.org/officeDocument/2006/relationships/slideLayout" Target="../slideLayouts/slideLayout141.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slideLayout" Target="../slideLayouts/slideLayout132.xml"/><Relationship Id="rId57" Type="http://schemas.openxmlformats.org/officeDocument/2006/relationships/slideLayout" Target="../slideLayouts/slideLayout140.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52" Type="http://schemas.openxmlformats.org/officeDocument/2006/relationships/slideLayout" Target="../slideLayouts/slideLayout135.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slideLayout" Target="../slideLayouts/slideLayout131.xml"/><Relationship Id="rId56" Type="http://schemas.openxmlformats.org/officeDocument/2006/relationships/slideLayout" Target="../slideLayouts/slideLayout139.xml"/><Relationship Id="rId8" Type="http://schemas.openxmlformats.org/officeDocument/2006/relationships/slideLayout" Target="../slideLayouts/slideLayout91.xml"/><Relationship Id="rId51" Type="http://schemas.openxmlformats.org/officeDocument/2006/relationships/slideLayout" Target="../slideLayouts/slideLayout134.xml"/><Relationship Id="rId3"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5" Type="http://schemas.openxmlformats.org/officeDocument/2006/relationships/image" Target="../media/image25.jpg"/><Relationship Id="rId4" Type="http://schemas.openxmlformats.org/officeDocument/2006/relationships/image" Target="../media/image43.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146.xml"/><Relationship Id="rId7" Type="http://schemas.openxmlformats.org/officeDocument/2006/relationships/image" Target="../media/image1.emf"/><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oleObject" Target="../embeddings/oleObject2.bin"/><Relationship Id="rId5" Type="http://schemas.openxmlformats.org/officeDocument/2006/relationships/tags" Target="../tags/tag29.xml"/><Relationship Id="rId4" Type="http://schemas.openxmlformats.org/officeDocument/2006/relationships/theme" Target="../theme/theme9.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Espace réservé du titre 3">
            <a:extLst>
              <a:ext uri="{FF2B5EF4-FFF2-40B4-BE49-F238E27FC236}">
                <a16:creationId xmlns:a16="http://schemas.microsoft.com/office/drawing/2014/main" id="{D9EAF6CD-DBAA-7F48-91BA-C2A692712448}"/>
              </a:ext>
            </a:extLst>
          </p:cNvPr>
          <p:cNvSpPr>
            <a:spLocks noGrp="1"/>
          </p:cNvSpPr>
          <p:nvPr>
            <p:ph type="title"/>
          </p:nvPr>
        </p:nvSpPr>
        <p:spPr>
          <a:xfrm>
            <a:off x="2316163" y="133004"/>
            <a:ext cx="9648675" cy="850453"/>
          </a:xfrm>
          <a:prstGeom prst="rect">
            <a:avLst/>
          </a:prstGeom>
        </p:spPr>
        <p:txBody>
          <a:bodyPr vert="horz" lIns="91440" tIns="45720" rIns="91440" bIns="45720" rtlCol="0" anchor="ctr">
            <a:noAutofit/>
          </a:bodyPr>
          <a:lstStyle/>
          <a:p>
            <a:r>
              <a:rPr lang="fr-FR"/>
              <a:t>Cliquez pour modifier le titre</a:t>
            </a:r>
          </a:p>
        </p:txBody>
      </p:sp>
      <p:sp>
        <p:nvSpPr>
          <p:cNvPr id="3" name="Espace réservé du numéro de diapositive 2">
            <a:extLst>
              <a:ext uri="{FF2B5EF4-FFF2-40B4-BE49-F238E27FC236}">
                <a16:creationId xmlns:a16="http://schemas.microsoft.com/office/drawing/2014/main" id="{0F717B23-22C9-4F8E-A7AC-F43D9126789C}"/>
              </a:ext>
            </a:extLst>
          </p:cNvPr>
          <p:cNvSpPr>
            <a:spLocks noGrp="1"/>
          </p:cNvSpPr>
          <p:nvPr>
            <p:ph type="sldNum" sz="quarter" idx="4"/>
          </p:nvPr>
        </p:nvSpPr>
        <p:spPr>
          <a:xfrm>
            <a:off x="11451770" y="6415088"/>
            <a:ext cx="513067" cy="365125"/>
          </a:xfrm>
          <a:prstGeom prst="rect">
            <a:avLst/>
          </a:prstGeom>
        </p:spPr>
        <p:txBody>
          <a:bodyPr vert="horz" lIns="91440" tIns="45720" rIns="91440" bIns="45720" rtlCol="0" anchor="ctr"/>
          <a:lstStyle>
            <a:lvl1pPr algn="r">
              <a:defRPr sz="1000" b="1">
                <a:solidFill>
                  <a:srgbClr val="714C6C"/>
                </a:solidFill>
                <a:latin typeface="Noto Sans" panose="020B0502040504020204" pitchFamily="34" charset="0"/>
              </a:defRPr>
            </a:lvl1pPr>
          </a:lstStyle>
          <a:p>
            <a:fld id="{1DCA0A7C-70FE-4DA8-BFDF-9B5B0D096ACE}" type="slidenum">
              <a:rPr lang="fr-FR" smtClean="0"/>
              <a:pPr/>
              <a:t>‹N°›</a:t>
            </a:fld>
            <a:endParaRPr lang="fr-FR"/>
          </a:p>
        </p:txBody>
      </p:sp>
    </p:spTree>
    <p:extLst>
      <p:ext uri="{BB962C8B-B14F-4D97-AF65-F5344CB8AC3E}">
        <p14:creationId xmlns:p14="http://schemas.microsoft.com/office/powerpoint/2010/main" val="2627803693"/>
      </p:ext>
    </p:extLst>
  </p:cSld>
  <p:clrMap bg1="lt1" tx1="dk1" bg2="lt2" tx2="dk2" accent1="accent1" accent2="accent2" accent3="accent3" accent4="accent4" accent5="accent5" accent6="accent6" hlink="hlink" folHlink="folHlink"/>
  <p:sldLayoutIdLst>
    <p:sldLayoutId id="2147483757" r:id="rId1"/>
    <p:sldLayoutId id="2147483768" r:id="rId2"/>
    <p:sldLayoutId id="2147483769" r:id="rId3"/>
    <p:sldLayoutId id="2147483770"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r" rtl="0" eaLnBrk="1" fontAlgn="base" hangingPunct="1">
        <a:lnSpc>
          <a:spcPts val="2800"/>
        </a:lnSpc>
        <a:spcBef>
          <a:spcPct val="0"/>
        </a:spcBef>
        <a:spcAft>
          <a:spcPct val="0"/>
        </a:spcAft>
        <a:defRPr sz="3200" b="0" i="0">
          <a:solidFill>
            <a:schemeClr val="bg1"/>
          </a:solidFill>
          <a:latin typeface="Noto Sans UI" panose="020B0502040504020204" pitchFamily="34" charset="0"/>
          <a:ea typeface="+mj-ea"/>
          <a:cs typeface="Poppins" panose="02000000000000000000" pitchFamily="2" charset="77"/>
        </a:defRPr>
      </a:lvl1pPr>
      <a:lvl2pPr algn="r" rtl="0" eaLnBrk="1" fontAlgn="base" hangingPunct="1">
        <a:spcBef>
          <a:spcPct val="0"/>
        </a:spcBef>
        <a:spcAft>
          <a:spcPct val="0"/>
        </a:spcAft>
        <a:defRPr sz="2100" b="1">
          <a:solidFill>
            <a:schemeClr val="bg1"/>
          </a:solidFill>
          <a:latin typeface="Arial" charset="0"/>
        </a:defRPr>
      </a:lvl2pPr>
      <a:lvl3pPr algn="r" rtl="0" eaLnBrk="1" fontAlgn="base" hangingPunct="1">
        <a:spcBef>
          <a:spcPct val="0"/>
        </a:spcBef>
        <a:spcAft>
          <a:spcPct val="0"/>
        </a:spcAft>
        <a:defRPr sz="2100" b="1">
          <a:solidFill>
            <a:schemeClr val="bg1"/>
          </a:solidFill>
          <a:latin typeface="Arial" charset="0"/>
        </a:defRPr>
      </a:lvl3pPr>
      <a:lvl4pPr algn="r" rtl="0" eaLnBrk="1" fontAlgn="base" hangingPunct="1">
        <a:spcBef>
          <a:spcPct val="0"/>
        </a:spcBef>
        <a:spcAft>
          <a:spcPct val="0"/>
        </a:spcAft>
        <a:defRPr sz="2100" b="1">
          <a:solidFill>
            <a:schemeClr val="bg1"/>
          </a:solidFill>
          <a:latin typeface="Arial" charset="0"/>
        </a:defRPr>
      </a:lvl4pPr>
      <a:lvl5pPr algn="r" rtl="0" eaLnBrk="1" fontAlgn="base" hangingPunct="1">
        <a:spcBef>
          <a:spcPct val="0"/>
        </a:spcBef>
        <a:spcAft>
          <a:spcPct val="0"/>
        </a:spcAft>
        <a:defRPr sz="2100" b="1">
          <a:solidFill>
            <a:schemeClr val="bg1"/>
          </a:solidFill>
          <a:latin typeface="Arial" charset="0"/>
        </a:defRPr>
      </a:lvl5pPr>
      <a:lvl6pPr marL="342891" algn="r" rtl="0" eaLnBrk="1" fontAlgn="base" hangingPunct="1">
        <a:spcBef>
          <a:spcPct val="0"/>
        </a:spcBef>
        <a:spcAft>
          <a:spcPct val="0"/>
        </a:spcAft>
        <a:defRPr sz="2100" b="1">
          <a:solidFill>
            <a:schemeClr val="bg1"/>
          </a:solidFill>
          <a:latin typeface="Arial" charset="0"/>
        </a:defRPr>
      </a:lvl6pPr>
      <a:lvl7pPr marL="685783" algn="r" rtl="0" eaLnBrk="1" fontAlgn="base" hangingPunct="1">
        <a:spcBef>
          <a:spcPct val="0"/>
        </a:spcBef>
        <a:spcAft>
          <a:spcPct val="0"/>
        </a:spcAft>
        <a:defRPr sz="2100" b="1">
          <a:solidFill>
            <a:schemeClr val="bg1"/>
          </a:solidFill>
          <a:latin typeface="Arial" charset="0"/>
        </a:defRPr>
      </a:lvl7pPr>
      <a:lvl8pPr marL="1028674" algn="r" rtl="0" eaLnBrk="1" fontAlgn="base" hangingPunct="1">
        <a:spcBef>
          <a:spcPct val="0"/>
        </a:spcBef>
        <a:spcAft>
          <a:spcPct val="0"/>
        </a:spcAft>
        <a:defRPr sz="2100" b="1">
          <a:solidFill>
            <a:schemeClr val="bg1"/>
          </a:solidFill>
          <a:latin typeface="Arial" charset="0"/>
        </a:defRPr>
      </a:lvl8pPr>
      <a:lvl9pPr marL="1371566" algn="r" rtl="0" eaLnBrk="1" fontAlgn="base" hangingPunct="1">
        <a:spcBef>
          <a:spcPct val="0"/>
        </a:spcBef>
        <a:spcAft>
          <a:spcPct val="0"/>
        </a:spcAft>
        <a:defRPr sz="2100" b="1">
          <a:solidFill>
            <a:schemeClr val="bg1"/>
          </a:solidFill>
          <a:latin typeface="Arial" charset="0"/>
        </a:defRPr>
      </a:lvl9pPr>
    </p:titleStyle>
    <p:bodyStyle>
      <a:lvl1pPr marL="257168" indent="-257168" algn="l" rtl="0" eaLnBrk="1" fontAlgn="base" hangingPunct="1">
        <a:lnSpc>
          <a:spcPct val="85000"/>
        </a:lnSpc>
        <a:spcBef>
          <a:spcPct val="100000"/>
        </a:spcBef>
        <a:spcAft>
          <a:spcPct val="30000"/>
        </a:spcAft>
        <a:buClr>
          <a:srgbClr val="77496E"/>
        </a:buClr>
        <a:buSzPct val="95000"/>
        <a:buFont typeface="Wingdings" pitchFamily="2" charset="2"/>
        <a:buChar char="n"/>
        <a:defRPr lang="fr-FR" sz="2400" b="0" i="0" dirty="0">
          <a:solidFill>
            <a:srgbClr val="714C6C"/>
          </a:solidFill>
          <a:latin typeface="Noto Sans UI" panose="020B0502040504020204" pitchFamily="34" charset="0"/>
          <a:ea typeface="+mn-ea"/>
          <a:cs typeface="Poppins" panose="02000000000000000000" pitchFamily="2" charset="77"/>
        </a:defRPr>
      </a:lvl1pPr>
      <a:lvl2pPr marL="557199" indent="-214308" algn="l" rtl="0" eaLnBrk="1" fontAlgn="base" hangingPunct="1">
        <a:lnSpc>
          <a:spcPct val="85000"/>
        </a:lnSpc>
        <a:spcBef>
          <a:spcPct val="25000"/>
        </a:spcBef>
        <a:spcAft>
          <a:spcPct val="15000"/>
        </a:spcAft>
        <a:buClr>
          <a:srgbClr val="00C3A4"/>
        </a:buClr>
        <a:buSzPct val="85000"/>
        <a:buFont typeface="Wingdings" pitchFamily="2" charset="2"/>
        <a:buChar char="n"/>
        <a:defRPr lang="fr-FR" sz="2000" b="0" i="0" dirty="0">
          <a:solidFill>
            <a:srgbClr val="3C4857"/>
          </a:solidFill>
          <a:latin typeface="Noto Sans UI" panose="020B0502040504020204" pitchFamily="34" charset="0"/>
          <a:cs typeface="Poppins Light" panose="02000000000000000000" pitchFamily="2" charset="77"/>
        </a:defRPr>
      </a:lvl2pPr>
      <a:lvl3pPr marL="814368" indent="-171446" algn="l" rtl="0" eaLnBrk="1" fontAlgn="base" hangingPunct="1">
        <a:spcBef>
          <a:spcPct val="10000"/>
        </a:spcBef>
        <a:spcAft>
          <a:spcPct val="15000"/>
        </a:spcAft>
        <a:buClr>
          <a:srgbClr val="FFC000"/>
        </a:buClr>
        <a:buSzPct val="75000"/>
        <a:buFont typeface="Wingdings" pitchFamily="2" charset="2"/>
        <a:buChar char="n"/>
        <a:defRPr lang="fr-FR" sz="1800" b="0" i="0" dirty="0">
          <a:solidFill>
            <a:srgbClr val="3C4857"/>
          </a:solidFill>
          <a:latin typeface="Noto Sans UI" panose="020B0502040504020204" pitchFamily="34" charset="0"/>
          <a:cs typeface="Poppins Light" panose="02000000000000000000" pitchFamily="2" charset="77"/>
        </a:defRPr>
      </a:lvl3pPr>
      <a:lvl4pPr marL="1071536" indent="-171446" algn="l" rtl="0" eaLnBrk="1" fontAlgn="base" hangingPunct="1">
        <a:spcBef>
          <a:spcPct val="5000"/>
        </a:spcBef>
        <a:spcAft>
          <a:spcPct val="0"/>
        </a:spcAft>
        <a:buClr>
          <a:srgbClr val="FD0061"/>
        </a:buClr>
        <a:buSzPct val="75000"/>
        <a:buFont typeface="Wingdings" pitchFamily="2" charset="2"/>
        <a:buChar char="n"/>
        <a:defRPr lang="fr-FR" sz="1800" b="0" i="0" dirty="0">
          <a:solidFill>
            <a:srgbClr val="3C4857"/>
          </a:solidFill>
          <a:latin typeface="Noto Sans UI" panose="020B0502040504020204" pitchFamily="34" charset="0"/>
          <a:cs typeface="Poppins Light" panose="02000000000000000000" pitchFamily="2" charset="77"/>
        </a:defRPr>
      </a:lvl4pPr>
      <a:lvl5pPr marL="1328705" indent="-171446" algn="l" rtl="0" eaLnBrk="1" fontAlgn="base" hangingPunct="1">
        <a:spcBef>
          <a:spcPct val="20000"/>
        </a:spcBef>
        <a:spcAft>
          <a:spcPct val="20000"/>
        </a:spcAft>
        <a:buClr>
          <a:schemeClr val="bg2"/>
        </a:buClr>
        <a:buSzPct val="75000"/>
        <a:buFont typeface="Wingdings" pitchFamily="2" charset="2"/>
        <a:buChar char="n"/>
        <a:defRPr lang="fr-FR" sz="1800" b="0" i="0" dirty="0">
          <a:solidFill>
            <a:srgbClr val="3C4857"/>
          </a:solidFill>
          <a:latin typeface="Noto Sans UI" panose="020B0502040504020204" pitchFamily="34" charset="0"/>
          <a:cs typeface="Poppins Light" panose="02000000000000000000" pitchFamily="2" charset="77"/>
        </a:defRPr>
      </a:lvl5pPr>
      <a:lvl6pPr marL="1671597" indent="-171446" algn="l" rtl="0" eaLnBrk="1" fontAlgn="base" hangingPunct="1">
        <a:spcBef>
          <a:spcPct val="20000"/>
        </a:spcBef>
        <a:spcAft>
          <a:spcPct val="20000"/>
        </a:spcAft>
        <a:buClr>
          <a:schemeClr val="bg2"/>
        </a:buClr>
        <a:buSzPct val="75000"/>
        <a:buFont typeface="Wingdings" pitchFamily="2" charset="2"/>
        <a:buChar char="n"/>
        <a:defRPr sz="1051" b="1">
          <a:solidFill>
            <a:schemeClr val="bg2"/>
          </a:solidFill>
          <a:latin typeface="+mn-lt"/>
        </a:defRPr>
      </a:lvl6pPr>
      <a:lvl7pPr marL="2014488" indent="-171446" algn="l" rtl="0" eaLnBrk="1" fontAlgn="base" hangingPunct="1">
        <a:spcBef>
          <a:spcPct val="20000"/>
        </a:spcBef>
        <a:spcAft>
          <a:spcPct val="20000"/>
        </a:spcAft>
        <a:buClr>
          <a:schemeClr val="bg2"/>
        </a:buClr>
        <a:buSzPct val="75000"/>
        <a:buFont typeface="Wingdings" pitchFamily="2" charset="2"/>
        <a:buChar char="n"/>
        <a:defRPr sz="1051" b="1">
          <a:solidFill>
            <a:schemeClr val="bg2"/>
          </a:solidFill>
          <a:latin typeface="+mn-lt"/>
        </a:defRPr>
      </a:lvl7pPr>
      <a:lvl8pPr marL="2357380" indent="-171446" algn="l" rtl="0" eaLnBrk="1" fontAlgn="base" hangingPunct="1">
        <a:spcBef>
          <a:spcPct val="20000"/>
        </a:spcBef>
        <a:spcAft>
          <a:spcPct val="20000"/>
        </a:spcAft>
        <a:buClr>
          <a:schemeClr val="bg2"/>
        </a:buClr>
        <a:buSzPct val="75000"/>
        <a:buFont typeface="Wingdings" pitchFamily="2" charset="2"/>
        <a:buChar char="n"/>
        <a:defRPr sz="1051" b="1">
          <a:solidFill>
            <a:schemeClr val="bg2"/>
          </a:solidFill>
          <a:latin typeface="+mn-lt"/>
        </a:defRPr>
      </a:lvl8pPr>
      <a:lvl9pPr marL="2700271" indent="-171446" algn="l" rtl="0" eaLnBrk="1" fontAlgn="base" hangingPunct="1">
        <a:spcBef>
          <a:spcPct val="20000"/>
        </a:spcBef>
        <a:spcAft>
          <a:spcPct val="20000"/>
        </a:spcAft>
        <a:buClr>
          <a:schemeClr val="bg2"/>
        </a:buClr>
        <a:buSzPct val="75000"/>
        <a:buFont typeface="Wingdings" pitchFamily="2" charset="2"/>
        <a:buChar char="n"/>
        <a:defRPr sz="1051" b="1">
          <a:solidFill>
            <a:schemeClr val="bg2"/>
          </a:solidFill>
          <a:latin typeface="+mn-lt"/>
        </a:defRPr>
      </a:lvl9pPr>
    </p:bodyStyle>
    <p:otherStyle>
      <a:defPPr>
        <a:defRPr lang="fr-FR"/>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686">
          <p15:clr>
            <a:srgbClr val="F26B43"/>
          </p15:clr>
        </p15:guide>
        <p15:guide id="4" pos="7537">
          <p15:clr>
            <a:srgbClr val="F26B43"/>
          </p15:clr>
        </p15:guide>
        <p15:guide id="5" pos="211">
          <p15:clr>
            <a:srgbClr val="F26B43"/>
          </p15:clr>
        </p15:guide>
        <p15:guide id="6" orient="horz" pos="913">
          <p15:clr>
            <a:srgbClr val="F26B43"/>
          </p15:clr>
        </p15:guide>
        <p15:guide id="7" pos="1459">
          <p15:clr>
            <a:srgbClr val="F26B43"/>
          </p15:clr>
        </p15:guide>
        <p15:guide id="8" orient="horz" pos="4156">
          <p15:clr>
            <a:srgbClr val="F26B43"/>
          </p15:clr>
        </p15:guide>
        <p15:guide id="9" pos="1776">
          <p15:clr>
            <a:srgbClr val="F26B43"/>
          </p15:clr>
        </p15:guide>
        <p15:guide id="10" pos="5768">
          <p15:clr>
            <a:srgbClr val="F26B43"/>
          </p15:clr>
        </p15:guide>
        <p15:guide id="11" orient="horz" pos="1366">
          <p15:clr>
            <a:srgbClr val="F26B43"/>
          </p15:clr>
        </p15:guide>
        <p15:guide id="12" pos="2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8272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A53CD-37DC-4FBC-B804-503520846D32}"/>
              </a:ext>
            </a:extLst>
          </p:cNvPr>
          <p:cNvGraphicFramePr>
            <a:graphicFrameLocks noChangeAspect="1"/>
          </p:cNvGraphicFramePr>
          <p:nvPr userDrawn="1">
            <p:custDataLst>
              <p:tags r:id="rId21"/>
            </p:custDataLst>
            <p:extLst>
              <p:ext uri="{D42A27DB-BD31-4B8C-83A1-F6EECF244321}">
                <p14:modId xmlns:p14="http://schemas.microsoft.com/office/powerpoint/2010/main" val="94211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1" imgH="472" progId="TCLayout.ActiveDocument.1">
                  <p:embed/>
                </p:oleObj>
              </mc:Choice>
              <mc:Fallback>
                <p:oleObj name="think-cell Slide" r:id="rId22" imgW="471" imgH="472" progId="TCLayout.ActiveDocument.1">
                  <p:embed/>
                  <p:pic>
                    <p:nvPicPr>
                      <p:cNvPr id="4" name="Object 3" hidden="1">
                        <a:extLst>
                          <a:ext uri="{FF2B5EF4-FFF2-40B4-BE49-F238E27FC236}">
                            <a16:creationId xmlns:a16="http://schemas.microsoft.com/office/drawing/2014/main" id="{8ADA53CD-37DC-4FBC-B804-503520846D3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1F6839A-7020-4254-BB27-017A0258DE58}"/>
              </a:ext>
            </a:extLst>
          </p:cNvPr>
          <p:cNvSpPr>
            <a:spLocks noGrp="1"/>
          </p:cNvSpPr>
          <p:nvPr>
            <p:ph type="title"/>
          </p:nvPr>
        </p:nvSpPr>
        <p:spPr>
          <a:xfrm>
            <a:off x="838200" y="365125"/>
            <a:ext cx="10515600" cy="1325563"/>
          </a:xfrm>
          <a:prstGeom prst="rect">
            <a:avLst/>
          </a:prstGeom>
        </p:spPr>
        <p:txBody>
          <a:bodyPr vert="horz" lIns="0" tIns="45720" rIns="0" bIns="45720" rtlCol="0" anchor="ctr">
            <a:noAutofit/>
          </a:bodyPr>
          <a:lstStyle/>
          <a:p>
            <a:r>
              <a:rPr lang="en-US" dirty="0"/>
              <a:t>Headline</a:t>
            </a:r>
          </a:p>
        </p:txBody>
      </p:sp>
      <p:sp>
        <p:nvSpPr>
          <p:cNvPr id="3" name="Text Placeholder 2">
            <a:extLst>
              <a:ext uri="{FF2B5EF4-FFF2-40B4-BE49-F238E27FC236}">
                <a16:creationId xmlns:a16="http://schemas.microsoft.com/office/drawing/2014/main" id="{1F714D97-2391-495E-8C13-180C0EB286B9}"/>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a:extLst>
              <a:ext uri="{FF2B5EF4-FFF2-40B4-BE49-F238E27FC236}">
                <a16:creationId xmlns:a16="http://schemas.microsoft.com/office/drawing/2014/main" id="{D23B6C0B-A6D8-4755-9395-F94ECF5A0491}"/>
              </a:ext>
            </a:extLst>
          </p:cNvPr>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10" name="Slide Number Placeholder 9">
            <a:extLst>
              <a:ext uri="{FF2B5EF4-FFF2-40B4-BE49-F238E27FC236}">
                <a16:creationId xmlns:a16="http://schemas.microsoft.com/office/drawing/2014/main" id="{E446C395-84D2-B842-A7E3-2D0A40669127}"/>
              </a:ext>
            </a:extLst>
          </p:cNvPr>
          <p:cNvSpPr>
            <a:spLocks noGrp="1"/>
          </p:cNvSpPr>
          <p:nvPr>
            <p:ph type="sldNum" sz="quarter" idx="4"/>
          </p:nvPr>
        </p:nvSpPr>
        <p:spPr>
          <a:xfrm>
            <a:off x="757515" y="6356350"/>
            <a:ext cx="386443" cy="365125"/>
          </a:xfrm>
          <a:prstGeom prst="rect">
            <a:avLst/>
          </a:prstGeom>
        </p:spPr>
        <p:txBody>
          <a:bodyPr vert="horz" lIns="91440" tIns="45720" rIns="91440" bIns="45720" rtlCol="0" anchor="ctr"/>
          <a:lstStyle>
            <a:lvl1pPr algn="l">
              <a:defRPr sz="1000">
                <a:solidFill>
                  <a:schemeClr val="bg1"/>
                </a:solidFill>
                <a:latin typeface="+mn-lt"/>
                <a:cs typeface="Oracle Sans" panose="020B0503020204020204" pitchFamily="34" charset="0"/>
              </a:defRPr>
            </a:lvl1pPr>
          </a:lstStyle>
          <a:p>
            <a:fld id="{7C371504-33D9-B044-8C50-620C44A06CB1}" type="slidenum">
              <a:rPr lang="en-US" smtClean="0"/>
              <a:pPr/>
              <a:t>‹N°›</a:t>
            </a:fld>
            <a:endParaRPr lang="en-US" dirty="0"/>
          </a:p>
        </p:txBody>
      </p:sp>
      <p:pic>
        <p:nvPicPr>
          <p:cNvPr id="8" name="Picture 7">
            <a:extLst>
              <a:ext uri="{FF2B5EF4-FFF2-40B4-BE49-F238E27FC236}">
                <a16:creationId xmlns:a16="http://schemas.microsoft.com/office/drawing/2014/main" id="{1EBF6404-9E78-844F-B5FC-770CD9591C85}"/>
              </a:ext>
            </a:extLst>
          </p:cNvPr>
          <p:cNvPicPr>
            <a:picLocks noChangeAspect="1"/>
          </p:cNvPicPr>
          <p:nvPr userDrawn="1"/>
        </p:nvPicPr>
        <p:blipFill>
          <a:blip r:embed="rId25"/>
          <a:stretch>
            <a:fillRect/>
          </a:stretch>
        </p:blipFill>
        <p:spPr>
          <a:xfrm>
            <a:off x="11437197" y="6356350"/>
            <a:ext cx="501650" cy="501650"/>
          </a:xfrm>
          <a:prstGeom prst="rect">
            <a:avLst/>
          </a:prstGeom>
        </p:spPr>
      </p:pic>
      <p:sp>
        <p:nvSpPr>
          <p:cNvPr id="5" name="Footer Placeholder 4">
            <a:extLst>
              <a:ext uri="{FF2B5EF4-FFF2-40B4-BE49-F238E27FC236}">
                <a16:creationId xmlns:a16="http://schemas.microsoft.com/office/drawing/2014/main" id="{E6B168A7-4574-4FD8-965C-D37BC160EC82}"/>
              </a:ext>
            </a:extLst>
          </p:cNvPr>
          <p:cNvSpPr>
            <a:spLocks noGrp="1"/>
          </p:cNvSpPr>
          <p:nvPr>
            <p:ph type="ftr" sz="quarter" idx="3"/>
          </p:nvPr>
        </p:nvSpPr>
        <p:spPr>
          <a:xfrm>
            <a:off x="1143958" y="6356350"/>
            <a:ext cx="4114800" cy="365125"/>
          </a:xfrm>
          <a:prstGeom prst="rect">
            <a:avLst/>
          </a:prstGeom>
        </p:spPr>
        <p:txBody>
          <a:bodyPr vert="horz" lIns="91440" tIns="45720" rIns="91440" bIns="45720" rtlCol="0" anchor="ctr"/>
          <a:lstStyle>
            <a:lvl1pPr algn="l">
              <a:defRPr sz="1000">
                <a:solidFill>
                  <a:schemeClr val="bg1"/>
                </a:solidFill>
              </a:defRPr>
            </a:lvl1pPr>
          </a:lstStyle>
          <a:p>
            <a:r>
              <a:rPr lang="en-US"/>
              <a:t>Confidential – © 2019 Oracle Internal/Restricted/Highly Restricted</a:t>
            </a:r>
            <a:endParaRPr lang="en-US" dirty="0"/>
          </a:p>
        </p:txBody>
      </p:sp>
    </p:spTree>
    <p:extLst>
      <p:ext uri="{BB962C8B-B14F-4D97-AF65-F5344CB8AC3E}">
        <p14:creationId xmlns:p14="http://schemas.microsoft.com/office/powerpoint/2010/main" val="316096431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bg1"/>
          </a:solidFill>
          <a:latin typeface="Georgia" panose="02040502050405020303" pitchFamily="18" charset="0"/>
          <a:ea typeface="+mj-ea"/>
          <a:cs typeface="Oracle Sans" panose="020B05030202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bg1"/>
          </a:solidFill>
          <a:latin typeface="Oracle Sans Light" panose="020B0403020204020204" pitchFamily="34" charset="0"/>
          <a:ea typeface="+mn-ea"/>
          <a:cs typeface="Oracle Sans Light" panose="020B04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 name="OTag">
            <a:extLst>
              <a:ext uri="{FF2B5EF4-FFF2-40B4-BE49-F238E27FC236}">
                <a16:creationId xmlns:a16="http://schemas.microsoft.com/office/drawing/2014/main" id="{DA16EBAD-93BE-4ACF-A78F-3C1CEDB86021}"/>
              </a:ext>
              <a:ext uri="{C183D7F6-B498-43B3-948B-1728B52AA6E4}">
                <adec:decorative xmlns:adec="http://schemas.microsoft.com/office/drawing/2017/decorative" val="1"/>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pic>
        <p:nvPicPr>
          <p:cNvPr id="19" name="Abstract Pattern Strip">
            <a:extLst>
              <a:ext uri="{FF2B5EF4-FFF2-40B4-BE49-F238E27FC236}">
                <a16:creationId xmlns:a16="http://schemas.microsoft.com/office/drawing/2014/main" id="{05515E47-3B1B-446D-A503-3B4EB057715F}"/>
              </a:ext>
              <a:ext uri="{C183D7F6-B498-43B3-948B-1728B52AA6E4}">
                <adec:decorative xmlns:adec="http://schemas.microsoft.com/office/drawing/2017/decorative" val="1"/>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a:off x="0" y="0"/>
            <a:ext cx="12192000" cy="254000"/>
          </a:xfrm>
          <a:prstGeom prst="rect">
            <a:avLst/>
          </a:prstGeom>
        </p:spPr>
      </p:pic>
      <p:cxnSp>
        <p:nvCxnSpPr>
          <p:cNvPr id="9" name="Accent Mark">
            <a:extLst>
              <a:ext uri="{FF2B5EF4-FFF2-40B4-BE49-F238E27FC236}">
                <a16:creationId xmlns:a16="http://schemas.microsoft.com/office/drawing/2014/main" id="{141F41DE-E7B5-4A9E-A9A0-2D72DA029A3A}"/>
              </a:ext>
              <a:ext uri="{C183D7F6-B498-43B3-948B-1728B52AA6E4}">
                <adec:decorative xmlns:adec="http://schemas.microsoft.com/office/drawing/2017/decorative" val="1"/>
              </a:ext>
            </a:extLst>
          </p:cNvPr>
          <p:cNvCxnSpPr/>
          <p:nvPr userDrawn="1"/>
        </p:nvCxnSpPr>
        <p:spPr>
          <a:xfrm flipH="1">
            <a:off x="768095" y="1545863"/>
            <a:ext cx="228600"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sp>
        <p:nvSpPr>
          <p:cNvPr id="2" name="Title">
            <a:extLst>
              <a:ext uri="{FF2B5EF4-FFF2-40B4-BE49-F238E27FC236}">
                <a16:creationId xmlns:a16="http://schemas.microsoft.com/office/drawing/2014/main" id="{8A70F255-3C2A-4AC7-8935-184146E3B6D6}"/>
              </a:ext>
            </a:extLst>
          </p:cNvPr>
          <p:cNvSpPr>
            <a:spLocks noGrp="1"/>
          </p:cNvSpPr>
          <p:nvPr>
            <p:ph type="title"/>
          </p:nvPr>
        </p:nvSpPr>
        <p:spPr>
          <a:xfrm>
            <a:off x="768875" y="508000"/>
            <a:ext cx="10671048" cy="822960"/>
          </a:xfrm>
          <a:prstGeom prst="rect">
            <a:avLst/>
          </a:prstGeom>
        </p:spPr>
        <p:txBody>
          <a:bodyPr vert="horz" lIns="0" tIns="0" rIns="0" bIns="0" rtlCol="0" anchor="b">
            <a:noAutofit/>
          </a:bodyPr>
          <a:lstStyle/>
          <a:p>
            <a:pPr marL="0" lvl="0" indent="0">
              <a:spcBef>
                <a:spcPts val="1000"/>
              </a:spcBef>
              <a:buFont typeface="Arial" panose="020B0604020202020204" pitchFamily="34" charset="0"/>
            </a:pPr>
            <a:r>
              <a:rPr lang="en-US"/>
              <a:t>Title</a:t>
            </a:r>
          </a:p>
        </p:txBody>
      </p:sp>
      <p:sp>
        <p:nvSpPr>
          <p:cNvPr id="4" name="Text Field">
            <a:extLst>
              <a:ext uri="{FF2B5EF4-FFF2-40B4-BE49-F238E27FC236}">
                <a16:creationId xmlns:a16="http://schemas.microsoft.com/office/drawing/2014/main" id="{E46619B6-A626-4CDA-96E2-B94F4637C628}"/>
              </a:ext>
            </a:extLst>
          </p:cNvPr>
          <p:cNvSpPr>
            <a:spLocks noGrp="1"/>
          </p:cNvSpPr>
          <p:nvPr>
            <p:ph type="body" idx="1"/>
          </p:nvPr>
        </p:nvSpPr>
        <p:spPr>
          <a:xfrm>
            <a:off x="768875" y="1830234"/>
            <a:ext cx="10671048" cy="4276880"/>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a:extLst>
              <a:ext uri="{FF2B5EF4-FFF2-40B4-BE49-F238E27FC236}">
                <a16:creationId xmlns:a16="http://schemas.microsoft.com/office/drawing/2014/main" id="{08A3F6CD-49F4-D74B-8C7F-D6CA71EFB1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N°›</a:t>
            </a:fld>
            <a:endParaRPr lang="en-US"/>
          </a:p>
        </p:txBody>
      </p:sp>
      <p:sp>
        <p:nvSpPr>
          <p:cNvPr id="18" name="Footer">
            <a:extLst>
              <a:ext uri="{FF2B5EF4-FFF2-40B4-BE49-F238E27FC236}">
                <a16:creationId xmlns:a16="http://schemas.microsoft.com/office/drawing/2014/main" id="{8E003242-6B91-1949-A5CA-15BA57A045C9}"/>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All rights reserved.</a:t>
            </a:r>
          </a:p>
        </p:txBody>
      </p:sp>
      <p:sp>
        <p:nvSpPr>
          <p:cNvPr id="20" name="Date">
            <a:extLst>
              <a:ext uri="{FF2B5EF4-FFF2-40B4-BE49-F238E27FC236}">
                <a16:creationId xmlns:a16="http://schemas.microsoft.com/office/drawing/2014/main" id="{65BA88F5-EF53-415B-8446-19188BE675D3}"/>
              </a:ext>
            </a:extLst>
          </p:cNvPr>
          <p:cNvSpPr>
            <a:spLocks noGrp="1"/>
          </p:cNvSpPr>
          <p:nvPr>
            <p:ph type="dt" sz="half" idx="2"/>
          </p:nvPr>
        </p:nvSpPr>
        <p:spPr>
          <a:xfrm>
            <a:off x="6873138" y="6425604"/>
            <a:ext cx="2743200" cy="363500"/>
          </a:xfrm>
          <a:prstGeom prst="rect">
            <a:avLst/>
          </a:prstGeom>
        </p:spPr>
        <p:txBody>
          <a:bodyPr vert="horz" lIns="0" tIns="0" rIns="0" bIns="0" rtlCol="0" anchor="ctr"/>
          <a:lstStyle>
            <a:lvl1pPr>
              <a:defRPr lang="en-US" sz="1000" smtClean="0">
                <a:solidFill>
                  <a:srgbClr val="8B8580"/>
                </a:solidFill>
              </a:defRPr>
            </a:lvl1pPr>
          </a:lstStyle>
          <a:p>
            <a:r>
              <a:rPr lang="en-US"/>
              <a:t>[Date]</a:t>
            </a:r>
          </a:p>
        </p:txBody>
      </p:sp>
    </p:spTree>
    <p:extLst>
      <p:ext uri="{BB962C8B-B14F-4D97-AF65-F5344CB8AC3E}">
        <p14:creationId xmlns:p14="http://schemas.microsoft.com/office/powerpoint/2010/main" val="293083919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Lst>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hf hdr="0" dt="0"/>
  <p:txStyles>
    <p:titleStyle>
      <a:lvl1pPr algn="l" defTabSz="914400" rtl="0" eaLnBrk="1" latinLnBrk="0" hangingPunct="1">
        <a:lnSpc>
          <a:spcPct val="95000"/>
        </a:lnSpc>
        <a:spcBef>
          <a:spcPct val="0"/>
        </a:spcBef>
        <a:buNone/>
        <a:defRPr lang="en-US" sz="2400" b="1" i="0" kern="1200" baseline="0">
          <a:solidFill>
            <a:schemeClr val="tx1"/>
          </a:solidFill>
          <a:latin typeface="+mn-lt"/>
          <a:ea typeface="+mn-ea"/>
          <a:cs typeface="+mj-cs"/>
        </a:defRPr>
      </a:lvl1pPr>
    </p:titleStyle>
    <p:bodyStyle>
      <a:lvl1pPr marL="0" marR="0" indent="0" algn="l" defTabSz="914400" rtl="0" eaLnBrk="1" fontAlgn="auto" latinLnBrk="0" hangingPunct="1">
        <a:lnSpc>
          <a:spcPct val="95000"/>
        </a:lnSpc>
        <a:spcBef>
          <a:spcPts val="600"/>
        </a:spcBef>
        <a:spcAft>
          <a:spcPct val="0"/>
        </a:spcAft>
        <a:buClrTx/>
        <a:buSzTx/>
        <a:buFont typeface="System Font Regular"/>
        <a:buNone/>
        <a:defRPr sz="1800" b="0" i="0" kern="1200">
          <a:solidFill>
            <a:schemeClr val="tx1"/>
          </a:solidFill>
          <a:latin typeface="+mn-lt"/>
          <a:ea typeface="+mn-ea"/>
          <a:cs typeface="Oracle Sans" panose="020B0503020204020204" pitchFamily="34" charset="0"/>
        </a:defRPr>
      </a:lvl1pPr>
      <a:lvl2pPr marL="365760" marR="0" indent="-182880" algn="l" defTabSz="914400" rtl="0" eaLnBrk="1" fontAlgn="auto" latinLnBrk="0" hangingPunct="1">
        <a:lnSpc>
          <a:spcPct val="95000"/>
        </a:lnSpc>
        <a:spcBef>
          <a:spcPts val="600"/>
        </a:spcBef>
        <a:spcAft>
          <a:spcPct val="0"/>
        </a:spcAft>
        <a:buClrTx/>
        <a:buSzTx/>
        <a:buFont typeface="Arial" panose="020B0604020202020204" pitchFamily="34" charset="0"/>
        <a:buChar char="•"/>
        <a:defRPr sz="1800" b="0" i="0" kern="1200">
          <a:solidFill>
            <a:schemeClr val="tx1"/>
          </a:solidFill>
          <a:latin typeface="+mn-lt"/>
          <a:ea typeface="+mn-ea"/>
          <a:cs typeface="Oracle Sans" panose="020B0503020204020204" pitchFamily="34" charset="0"/>
        </a:defRPr>
      </a:lvl2pPr>
      <a:lvl3pPr marL="731520" marR="0" indent="-182880" algn="l" defTabSz="914400" rtl="0" eaLnBrk="1" fontAlgn="auto" latinLnBrk="0" hangingPunct="1">
        <a:lnSpc>
          <a:spcPct val="95000"/>
        </a:lnSpc>
        <a:spcBef>
          <a:spcPts val="400"/>
        </a:spcBef>
        <a:spcAft>
          <a:spcPct val="0"/>
        </a:spcAft>
        <a:buClrTx/>
        <a:buSzPct val="120000"/>
        <a:buFont typeface="System Font Regular"/>
        <a:buChar char="-"/>
        <a:defRPr sz="1600" kern="1200">
          <a:solidFill>
            <a:schemeClr val="tx1"/>
          </a:solidFill>
          <a:latin typeface="Oracle Sans Light" panose="020B0403020204020204" pitchFamily="34" charset="0"/>
          <a:ea typeface="+mn-ea"/>
          <a:cs typeface="Oracle Sans Light" panose="020B0403020204020204" pitchFamily="34" charset="0"/>
        </a:defRPr>
      </a:lvl3pPr>
      <a:lvl4pPr marL="1097280" marR="0" indent="-182880" algn="l" defTabSz="914400" rtl="0" eaLnBrk="1" fontAlgn="auto" latinLnBrk="0" hangingPunct="1">
        <a:lnSpc>
          <a:spcPct val="95000"/>
        </a:lnSpc>
        <a:spcBef>
          <a:spcPts val="400"/>
        </a:spcBef>
        <a:spcAft>
          <a:spcPct val="0"/>
        </a:spcAft>
        <a:buClrTx/>
        <a:buSzTx/>
        <a:buFont typeface="System Font Regular"/>
        <a:buChar char="◦"/>
        <a:defRPr sz="1400" kern="1200">
          <a:solidFill>
            <a:schemeClr val="tx1"/>
          </a:solidFill>
          <a:latin typeface="Oracle Sans Light" panose="020B0403020204020204" pitchFamily="34" charset="0"/>
          <a:ea typeface="+mn-ea"/>
          <a:cs typeface="Oracle Sans Light" panose="020B0403020204020204" pitchFamily="34" charset="0"/>
        </a:defRPr>
      </a:lvl4pPr>
      <a:lvl5pPr marL="1463040" marR="0" indent="-182880" algn="l" defTabSz="914400" rtl="0" eaLnBrk="1" fontAlgn="auto" latinLnBrk="0" hangingPunct="1">
        <a:lnSpc>
          <a:spcPct val="95000"/>
        </a:lnSpc>
        <a:spcBef>
          <a:spcPts val="400"/>
        </a:spcBef>
        <a:spcAft>
          <a:spcPct val="0"/>
        </a:spcAft>
        <a:buClrTx/>
        <a:buSzTx/>
        <a:buFont typeface="System Font Regular"/>
        <a:buChar char="•"/>
        <a:defRPr sz="1200" kern="1200">
          <a:solidFill>
            <a:schemeClr val="tx1"/>
          </a:solidFill>
          <a:latin typeface="Oracle Sans Light" panose="020B0403020204020204" pitchFamily="34" charset="0"/>
          <a:ea typeface="+mn-ea"/>
          <a:cs typeface="Oracle Sans Light" panose="020B0403020204020204" pitchFamily="34" charset="0"/>
        </a:defRPr>
      </a:lvl5pPr>
      <a:lvl6pPr marL="1828800" indent="-182880" algn="l" defTabSz="914400" rtl="0" eaLnBrk="1" latinLnBrk="0" hangingPunct="1">
        <a:lnSpc>
          <a:spcPct val="95000"/>
        </a:lnSpc>
        <a:spcBef>
          <a:spcPts val="400"/>
        </a:spcBef>
        <a:spcAft>
          <a:spcPct val="0"/>
        </a:spcAft>
        <a:buSzPct val="120000"/>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6pPr>
      <a:lvl7pPr marL="2194560" indent="-182880" algn="l" defTabSz="914400" rtl="0" eaLnBrk="1" latinLnBrk="0" hangingPunct="1">
        <a:lnSpc>
          <a:spcPct val="95000"/>
        </a:lnSpc>
        <a:spcBef>
          <a:spcPts val="400"/>
        </a:spcBef>
        <a:spcAft>
          <a:spcPct val="0"/>
        </a:spcAft>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1152">
          <p15:clr>
            <a:srgbClr val="F26B43"/>
          </p15:clr>
        </p15:guide>
        <p15:guide id="4" orient="horz" pos="3852">
          <p15:clr>
            <a:srgbClr val="F26B43"/>
          </p15:clr>
        </p15:guide>
        <p15:guide id="5" pos="480">
          <p15:clr>
            <a:srgbClr val="F26B43"/>
          </p15:clr>
        </p15:guide>
        <p15:guide id="6" orient="horz" pos="7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 name="OTag">
            <a:extLst>
              <a:ext uri="{FF2B5EF4-FFF2-40B4-BE49-F238E27FC236}">
                <a16:creationId xmlns:a16="http://schemas.microsoft.com/office/drawing/2014/main" id="{DA16EBAD-93BE-4ACF-A78F-3C1CEDB86021}"/>
              </a:ext>
              <a:ext uri="{C183D7F6-B498-43B3-948B-1728B52AA6E4}">
                <adec:decorative xmlns:adec="http://schemas.microsoft.com/office/drawing/2017/decorative" val="1"/>
              </a:ext>
            </a:extLst>
          </p:cNvPr>
          <p:cNvPicPr>
            <a:picLocks noChangeAspect="1"/>
          </p:cNvPicPr>
          <p:nvPr userDrawn="1">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pic>
        <p:nvPicPr>
          <p:cNvPr id="19" name="Abstract Pattern Strip">
            <a:extLst>
              <a:ext uri="{FF2B5EF4-FFF2-40B4-BE49-F238E27FC236}">
                <a16:creationId xmlns:a16="http://schemas.microsoft.com/office/drawing/2014/main" id="{05515E47-3B1B-446D-A503-3B4EB057715F}"/>
              </a:ext>
              <a:ext uri="{C183D7F6-B498-43B3-948B-1728B52AA6E4}">
                <adec:decorative xmlns:adec="http://schemas.microsoft.com/office/drawing/2017/decorative" val="1"/>
              </a:ext>
            </a:extLst>
          </p:cNvPr>
          <p:cNvPicPr>
            <a:picLocks noChangeAspect="1"/>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cxnSp>
        <p:nvCxnSpPr>
          <p:cNvPr id="9" name="Accent Mark">
            <a:extLst>
              <a:ext uri="{FF2B5EF4-FFF2-40B4-BE49-F238E27FC236}">
                <a16:creationId xmlns:a16="http://schemas.microsoft.com/office/drawing/2014/main" id="{141F41DE-E7B5-4A9E-A9A0-2D72DA029A3A}"/>
              </a:ext>
              <a:ext uri="{C183D7F6-B498-43B3-948B-1728B52AA6E4}">
                <adec:decorative xmlns:adec="http://schemas.microsoft.com/office/drawing/2017/decorative" val="1"/>
              </a:ext>
            </a:extLst>
          </p:cNvPr>
          <p:cNvCxnSpPr/>
          <p:nvPr userDrawn="1">
            <p:custDataLst>
              <p:tags r:id="rId6"/>
            </p:custDataLst>
          </p:nvPr>
        </p:nvCxnSpPr>
        <p:spPr>
          <a:xfrm flipH="1">
            <a:off x="768095" y="1545863"/>
            <a:ext cx="228600" cy="0"/>
          </a:xfrm>
          <a:prstGeom prst="line">
            <a:avLst/>
          </a:prstGeom>
          <a:ln w="38100" cap="flat">
            <a:solidFill>
              <a:srgbClr val="FACD62"/>
            </a:solidFill>
            <a:prstDash val="solid"/>
          </a:ln>
        </p:spPr>
        <p:style>
          <a:lnRef idx="1">
            <a:schemeClr val="accent1"/>
          </a:lnRef>
          <a:fillRef idx="0">
            <a:schemeClr val="accent1"/>
          </a:fillRef>
          <a:effectRef idx="0">
            <a:schemeClr val="accent1"/>
          </a:effectRef>
          <a:fontRef idx="minor">
            <a:schemeClr val="tx1"/>
          </a:fontRef>
        </p:style>
      </p:cxnSp>
      <p:sp>
        <p:nvSpPr>
          <p:cNvPr id="2" name="Title">
            <a:extLst>
              <a:ext uri="{FF2B5EF4-FFF2-40B4-BE49-F238E27FC236}">
                <a16:creationId xmlns:a16="http://schemas.microsoft.com/office/drawing/2014/main" id="{8A70F255-3C2A-4AC7-8935-184146E3B6D6}"/>
              </a:ext>
            </a:extLst>
          </p:cNvPr>
          <p:cNvSpPr>
            <a:spLocks noGrp="1"/>
          </p:cNvSpPr>
          <p:nvPr>
            <p:ph type="title"/>
            <p:custDataLst>
              <p:tags r:id="rId7"/>
            </p:custDataLst>
          </p:nvPr>
        </p:nvSpPr>
        <p:spPr>
          <a:xfrm>
            <a:off x="768875" y="508000"/>
            <a:ext cx="10671048" cy="822960"/>
          </a:xfrm>
          <a:prstGeom prst="rect">
            <a:avLst/>
          </a:prstGeom>
        </p:spPr>
        <p:txBody>
          <a:bodyPr vert="horz" lIns="0" tIns="0" rIns="0" bIns="0" rtlCol="0" anchor="b">
            <a:noAutofit/>
          </a:bodyPr>
          <a:lstStyle/>
          <a:p>
            <a:pPr marL="0" lvl="0" indent="0">
              <a:spcBef>
                <a:spcPts val="1000"/>
              </a:spcBef>
              <a:buFont typeface="Arial" panose="020B0604020202020204" pitchFamily="34" charset="0"/>
            </a:pPr>
            <a:r>
              <a:rPr lang="en-US"/>
              <a:t>Title</a:t>
            </a:r>
          </a:p>
        </p:txBody>
      </p:sp>
      <p:sp>
        <p:nvSpPr>
          <p:cNvPr id="4" name="Text Field">
            <a:extLst>
              <a:ext uri="{FF2B5EF4-FFF2-40B4-BE49-F238E27FC236}">
                <a16:creationId xmlns:a16="http://schemas.microsoft.com/office/drawing/2014/main" id="{E46619B6-A626-4CDA-96E2-B94F4637C628}"/>
              </a:ext>
            </a:extLst>
          </p:cNvPr>
          <p:cNvSpPr>
            <a:spLocks noGrp="1"/>
          </p:cNvSpPr>
          <p:nvPr>
            <p:ph type="body" idx="1"/>
            <p:custDataLst>
              <p:tags r:id="rId8"/>
            </p:custDataLst>
          </p:nvPr>
        </p:nvSpPr>
        <p:spPr>
          <a:xfrm>
            <a:off x="768875" y="1830234"/>
            <a:ext cx="10671048" cy="4276880"/>
          </a:xfrm>
          <a:prstGeom prst="rect">
            <a:avLst/>
          </a:prstGeom>
          <a:noFill/>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Slide Number">
            <a:extLst>
              <a:ext uri="{FF2B5EF4-FFF2-40B4-BE49-F238E27FC236}">
                <a16:creationId xmlns:a16="http://schemas.microsoft.com/office/drawing/2014/main" id="{08A3F6CD-49F4-D74B-8C7F-D6CA71EFB13B}"/>
              </a:ext>
            </a:extLst>
          </p:cNvPr>
          <p:cNvSpPr>
            <a:spLocks noGrp="1"/>
          </p:cNvSpPr>
          <p:nvPr>
            <p:ph type="sldNum" sz="quarter" idx="4"/>
            <p:custDataLst>
              <p:tags r:id="rId9"/>
            </p:custDataLst>
          </p:nvPr>
        </p:nvSpPr>
        <p:spPr>
          <a:xfrm>
            <a:off x="762000" y="6423660"/>
            <a:ext cx="365760" cy="365760"/>
          </a:xfrm>
          <a:prstGeom prst="rect">
            <a:avLst/>
          </a:prstGeom>
        </p:spPr>
        <p:txBody>
          <a:bodyPr vert="horz" lIns="0" tIns="0" rIns="0" bIns="0" rtlCol="0" anchor="ctr"/>
          <a:lstStyle>
            <a:lvl1pPr algn="l">
              <a:defRPr sz="1000" b="0" i="0">
                <a:solidFill>
                  <a:srgbClr val="8B8580"/>
                </a:solidFill>
                <a:latin typeface="Oracle Sans" panose="020B0503020204020204" pitchFamily="34" charset="0"/>
              </a:defRPr>
            </a:lvl1pPr>
          </a:lstStyle>
          <a:p>
            <a:fld id="{345D60D9-5372-5F40-9443-0F9AE5BDC3C8}" type="slidenum">
              <a:rPr lang="en-US" smtClean="0"/>
              <a:t>‹N°›</a:t>
            </a:fld>
            <a:endParaRPr lang="en-US"/>
          </a:p>
        </p:txBody>
      </p:sp>
      <p:sp>
        <p:nvSpPr>
          <p:cNvPr id="18" name="Footer">
            <a:extLst>
              <a:ext uri="{FF2B5EF4-FFF2-40B4-BE49-F238E27FC236}">
                <a16:creationId xmlns:a16="http://schemas.microsoft.com/office/drawing/2014/main" id="{8E003242-6B91-1949-A5CA-15BA57A045C9}"/>
              </a:ext>
            </a:extLst>
          </p:cNvPr>
          <p:cNvSpPr>
            <a:spLocks noGrp="1"/>
          </p:cNvSpPr>
          <p:nvPr>
            <p:ph type="ftr" sz="quarter" idx="3"/>
            <p:custDataLst>
              <p:tags r:id="rId10"/>
            </p:custDataLst>
          </p:nvPr>
        </p:nvSpPr>
        <p:spPr>
          <a:xfrm>
            <a:off x="1127759" y="6423978"/>
            <a:ext cx="5745379" cy="365125"/>
          </a:xfrm>
          <a:prstGeom prst="rect">
            <a:avLst/>
          </a:prstGeom>
        </p:spPr>
        <p:txBody>
          <a:bodyPr vert="horz" lIns="0" tIns="0" rIns="0" bIns="0" rtlCol="0" anchor="ctr"/>
          <a:lstStyle>
            <a:lvl1pPr algn="l">
              <a:defRPr sz="1000" b="0" i="0">
                <a:solidFill>
                  <a:srgbClr val="8B8580"/>
                </a:solidFill>
                <a:latin typeface="Oracle Sans" panose="020B0503020204020204" pitchFamily="34" charset="0"/>
              </a:defRPr>
            </a:lvl1pPr>
          </a:lstStyle>
          <a:p>
            <a:r>
              <a:rPr lang="en-US"/>
              <a:t>Copyright © 2020, Oracle and/or its affiliates. All rights reserved.</a:t>
            </a:r>
          </a:p>
        </p:txBody>
      </p:sp>
      <p:sp>
        <p:nvSpPr>
          <p:cNvPr id="20" name="Date">
            <a:extLst>
              <a:ext uri="{FF2B5EF4-FFF2-40B4-BE49-F238E27FC236}">
                <a16:creationId xmlns:a16="http://schemas.microsoft.com/office/drawing/2014/main" id="{65BA88F5-EF53-415B-8446-19188BE675D3}"/>
              </a:ext>
            </a:extLst>
          </p:cNvPr>
          <p:cNvSpPr>
            <a:spLocks noGrp="1"/>
          </p:cNvSpPr>
          <p:nvPr>
            <p:ph type="dt" sz="half" idx="2"/>
            <p:custDataLst>
              <p:tags r:id="rId11"/>
            </p:custDataLst>
          </p:nvPr>
        </p:nvSpPr>
        <p:spPr>
          <a:xfrm>
            <a:off x="6873138" y="6425604"/>
            <a:ext cx="2743200" cy="363500"/>
          </a:xfrm>
          <a:prstGeom prst="rect">
            <a:avLst/>
          </a:prstGeom>
        </p:spPr>
        <p:txBody>
          <a:bodyPr vert="horz" lIns="0" tIns="0" rIns="0" bIns="0" rtlCol="0" anchor="ctr"/>
          <a:lstStyle>
            <a:lvl1pPr>
              <a:defRPr lang="en-US" sz="1000" b="0" i="0" smtClean="0">
                <a:solidFill>
                  <a:srgbClr val="8B8580"/>
                </a:solidFill>
                <a:latin typeface="Oracle Sans" panose="020B0503020204020204" pitchFamily="34" charset="0"/>
              </a:defRPr>
            </a:lvl1pPr>
          </a:lstStyle>
          <a:p>
            <a:r>
              <a:rPr lang="en-US"/>
              <a:t>[Date]</a:t>
            </a:r>
            <a:endParaRPr lang="en-GB"/>
          </a:p>
        </p:txBody>
      </p:sp>
    </p:spTree>
    <p:extLst>
      <p:ext uri="{BB962C8B-B14F-4D97-AF65-F5344CB8AC3E}">
        <p14:creationId xmlns:p14="http://schemas.microsoft.com/office/powerpoint/2010/main" val="2723051607"/>
      </p:ext>
    </p:extLst>
  </p:cSld>
  <p:clrMap bg1="lt1" tx1="dk1" bg2="lt2" tx2="dk2" accent1="accent1" accent2="accent2" accent3="accent3" accent4="accent4" accent5="accent5" accent6="accent6" hlink="hlink" folHlink="folHlink"/>
  <p:sldLayoutIdLst>
    <p:sldLayoutId id="2147483811" r:id="rId1"/>
    <p:sldLayoutId id="2147483812" r:id="rId2"/>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hf hdr="0" dt="0"/>
  <p:txStyles>
    <p:titleStyle>
      <a:lvl1pPr algn="l" defTabSz="914400" rtl="0" eaLnBrk="1" latinLnBrk="0" hangingPunct="1">
        <a:lnSpc>
          <a:spcPct val="95000"/>
        </a:lnSpc>
        <a:spcBef>
          <a:spcPct val="0"/>
        </a:spcBef>
        <a:buNone/>
        <a:defRPr lang="en-US" sz="2400" b="1" i="0" kern="1200" baseline="0">
          <a:solidFill>
            <a:schemeClr val="tx1"/>
          </a:solidFill>
          <a:latin typeface="Oracle Sans" panose="020B0503020204020204" pitchFamily="34" charset="0"/>
          <a:ea typeface="+mn-ea"/>
          <a:cs typeface="+mj-cs"/>
        </a:defRPr>
      </a:lvl1pPr>
    </p:titleStyle>
    <p:bodyStyle>
      <a:lvl1pPr marL="0" marR="0" indent="0" algn="l" defTabSz="914400" rtl="0" eaLnBrk="1" fontAlgn="auto" latinLnBrk="0" hangingPunct="1">
        <a:lnSpc>
          <a:spcPct val="95000"/>
        </a:lnSpc>
        <a:spcBef>
          <a:spcPts val="600"/>
        </a:spcBef>
        <a:spcAft>
          <a:spcPct val="0"/>
        </a:spcAft>
        <a:buClrTx/>
        <a:buSzTx/>
        <a:buFont typeface="System Font Regular"/>
        <a:buNone/>
        <a:defRPr sz="1800" b="0" i="0" kern="1200">
          <a:solidFill>
            <a:schemeClr val="tx1"/>
          </a:solidFill>
          <a:latin typeface="Oracle Sans" panose="020B0503020204020204" pitchFamily="34" charset="0"/>
          <a:ea typeface="+mn-ea"/>
          <a:cs typeface="Oracle Sans" panose="020B0503020204020204" pitchFamily="34" charset="0"/>
        </a:defRPr>
      </a:lvl1pPr>
      <a:lvl2pPr marL="365760" marR="0" indent="-182880" algn="l" defTabSz="914400" rtl="0" eaLnBrk="1" fontAlgn="auto" latinLnBrk="0" hangingPunct="1">
        <a:lnSpc>
          <a:spcPct val="95000"/>
        </a:lnSpc>
        <a:spcBef>
          <a:spcPts val="600"/>
        </a:spcBef>
        <a:spcAft>
          <a:spcPct val="0"/>
        </a:spcAft>
        <a:buClrTx/>
        <a:buSzTx/>
        <a:buFont typeface="Arial" panose="020B0604020202020204" pitchFamily="34" charset="0"/>
        <a:buChar char="•"/>
        <a:defRPr sz="1800" b="0" i="0" kern="1200">
          <a:solidFill>
            <a:schemeClr val="tx1"/>
          </a:solidFill>
          <a:latin typeface="Oracle Sans" panose="020B0503020204020204" pitchFamily="34" charset="0"/>
          <a:ea typeface="+mn-ea"/>
          <a:cs typeface="Oracle Sans" panose="020B0503020204020204" pitchFamily="34" charset="0"/>
        </a:defRPr>
      </a:lvl2pPr>
      <a:lvl3pPr marL="731520" marR="0" indent="-182880" algn="l" defTabSz="914400" rtl="0" eaLnBrk="1" fontAlgn="auto" latinLnBrk="0" hangingPunct="1">
        <a:lnSpc>
          <a:spcPct val="95000"/>
        </a:lnSpc>
        <a:spcBef>
          <a:spcPts val="400"/>
        </a:spcBef>
        <a:spcAft>
          <a:spcPct val="0"/>
        </a:spcAft>
        <a:buClrTx/>
        <a:buSzPct val="120000"/>
        <a:buFont typeface="System Font Regular"/>
        <a:buChar char="-"/>
        <a:defRPr sz="1600" kern="1200">
          <a:solidFill>
            <a:schemeClr val="tx1"/>
          </a:solidFill>
          <a:latin typeface="Oracle Sans Light" panose="020B0403020204020204" pitchFamily="34" charset="0"/>
          <a:ea typeface="+mn-ea"/>
          <a:cs typeface="Oracle Sans Light" panose="020B0403020204020204" pitchFamily="34" charset="0"/>
        </a:defRPr>
      </a:lvl3pPr>
      <a:lvl4pPr marL="1097280" marR="0" indent="-182880" algn="l" defTabSz="914400" rtl="0" eaLnBrk="1" fontAlgn="auto" latinLnBrk="0" hangingPunct="1">
        <a:lnSpc>
          <a:spcPct val="95000"/>
        </a:lnSpc>
        <a:spcBef>
          <a:spcPts val="400"/>
        </a:spcBef>
        <a:spcAft>
          <a:spcPct val="0"/>
        </a:spcAft>
        <a:buClrTx/>
        <a:buSzTx/>
        <a:buFont typeface="System Font Regular"/>
        <a:buChar char="◦"/>
        <a:defRPr sz="1400" kern="1200">
          <a:solidFill>
            <a:schemeClr val="tx1"/>
          </a:solidFill>
          <a:latin typeface="Oracle Sans Light" panose="020B0403020204020204" pitchFamily="34" charset="0"/>
          <a:ea typeface="+mn-ea"/>
          <a:cs typeface="Oracle Sans Light" panose="020B0403020204020204" pitchFamily="34" charset="0"/>
        </a:defRPr>
      </a:lvl4pPr>
      <a:lvl5pPr marL="1463040" marR="0" indent="-182880" algn="l" defTabSz="914400" rtl="0" eaLnBrk="1" fontAlgn="auto" latinLnBrk="0" hangingPunct="1">
        <a:lnSpc>
          <a:spcPct val="95000"/>
        </a:lnSpc>
        <a:spcBef>
          <a:spcPts val="400"/>
        </a:spcBef>
        <a:spcAft>
          <a:spcPct val="0"/>
        </a:spcAft>
        <a:buClrTx/>
        <a:buSzTx/>
        <a:buFont typeface="System Font Regular"/>
        <a:buChar char="•"/>
        <a:defRPr sz="1200" kern="1200">
          <a:solidFill>
            <a:schemeClr val="tx1"/>
          </a:solidFill>
          <a:latin typeface="Oracle Sans Light" panose="020B0403020204020204" pitchFamily="34" charset="0"/>
          <a:ea typeface="+mn-ea"/>
          <a:cs typeface="Oracle Sans Light" panose="020B0403020204020204" pitchFamily="34" charset="0"/>
        </a:defRPr>
      </a:lvl5pPr>
      <a:lvl6pPr marL="1828800" indent="-182880" algn="l" defTabSz="914400" rtl="0" eaLnBrk="1" latinLnBrk="0" hangingPunct="1">
        <a:lnSpc>
          <a:spcPct val="95000"/>
        </a:lnSpc>
        <a:spcBef>
          <a:spcPts val="400"/>
        </a:spcBef>
        <a:spcAft>
          <a:spcPct val="0"/>
        </a:spcAft>
        <a:buSzPct val="120000"/>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6pPr>
      <a:lvl7pPr marL="2194560" indent="-182880" algn="l" defTabSz="914400" rtl="0" eaLnBrk="1" latinLnBrk="0" hangingPunct="1">
        <a:lnSpc>
          <a:spcPct val="95000"/>
        </a:lnSpc>
        <a:spcBef>
          <a:spcPts val="400"/>
        </a:spcBef>
        <a:spcAft>
          <a:spcPct val="0"/>
        </a:spcAft>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1152">
          <p15:clr>
            <a:srgbClr val="F26B43"/>
          </p15:clr>
        </p15:guide>
        <p15:guide id="4" orient="horz" pos="3852">
          <p15:clr>
            <a:srgbClr val="F26B43"/>
          </p15:clr>
        </p15:guide>
        <p15:guide id="5" pos="480">
          <p15:clr>
            <a:srgbClr val="F26B43"/>
          </p15:clr>
        </p15:guide>
        <p15:guide id="6" orient="horz" pos="79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82723"/>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F6839A-7020-4254-BB27-017A0258DE58}"/>
              </a:ext>
            </a:extLst>
          </p:cNvPr>
          <p:cNvSpPr>
            <a:spLocks noGrp="1"/>
          </p:cNvSpPr>
          <p:nvPr>
            <p:ph type="title"/>
          </p:nvPr>
        </p:nvSpPr>
        <p:spPr>
          <a:xfrm>
            <a:off x="838200" y="365125"/>
            <a:ext cx="10515600" cy="1325563"/>
          </a:xfrm>
          <a:prstGeom prst="rect">
            <a:avLst/>
          </a:prstGeom>
        </p:spPr>
        <p:txBody>
          <a:bodyPr vert="horz" lIns="0" tIns="4572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F714D97-2391-495E-8C13-180C0EB286B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880C9023-637D-494C-95E3-A86047569BA4}"/>
              </a:ext>
            </a:extLst>
          </p:cNvPr>
          <p:cNvSpPr>
            <a:spLocks noGrp="1"/>
          </p:cNvSpPr>
          <p:nvPr>
            <p:ph type="ftr" sz="quarter" idx="3"/>
          </p:nvPr>
        </p:nvSpPr>
        <p:spPr>
          <a:xfrm>
            <a:off x="694943" y="6514977"/>
            <a:ext cx="7703621" cy="365125"/>
          </a:xfrm>
          <a:prstGeom prst="rect">
            <a:avLst/>
          </a:prstGeom>
        </p:spPr>
        <p:txBody>
          <a:bodyPr vert="horz" lIns="0" tIns="45720" rIns="0" bIns="45720" rtlCol="0" anchor="ctr"/>
          <a:lstStyle>
            <a:lvl1pPr algn="l">
              <a:defRPr sz="650">
                <a:solidFill>
                  <a:schemeClr val="tx1">
                    <a:tint val="75000"/>
                  </a:schemeClr>
                </a:solidFill>
              </a:defRPr>
            </a:lvl1pPr>
          </a:lstStyle>
          <a:p>
            <a:r>
              <a:rPr lang="en-US" sz="700" dirty="0"/>
              <a:t>Copyright © 2019 Oracle and/or its affiliates.</a:t>
            </a:r>
          </a:p>
        </p:txBody>
      </p:sp>
      <p:pic>
        <p:nvPicPr>
          <p:cNvPr id="10" name="Picture 9">
            <a:extLst>
              <a:ext uri="{FF2B5EF4-FFF2-40B4-BE49-F238E27FC236}">
                <a16:creationId xmlns:a16="http://schemas.microsoft.com/office/drawing/2014/main" id="{89097BF2-8BD6-4DE7-A9F6-0896CC65822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437197" y="6356350"/>
            <a:ext cx="501650" cy="501650"/>
          </a:xfrm>
          <a:prstGeom prst="rect">
            <a:avLst/>
          </a:prstGeom>
        </p:spPr>
      </p:pic>
      <p:pic>
        <p:nvPicPr>
          <p:cNvPr id="14" name="Picture 13">
            <a:extLst>
              <a:ext uri="{FF2B5EF4-FFF2-40B4-BE49-F238E27FC236}">
                <a16:creationId xmlns:a16="http://schemas.microsoft.com/office/drawing/2014/main" id="{D23B6C0B-A6D8-4755-9395-F94ECF5A0491}"/>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133024768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Lst>
  <p:hf sldNum="0" hdr="0" dt="0"/>
  <p:txStyles>
    <p:titleStyle>
      <a:lvl1pPr algn="l" defTabSz="914400" rtl="0" eaLnBrk="1" latinLnBrk="0" hangingPunct="1">
        <a:lnSpc>
          <a:spcPct val="90000"/>
        </a:lnSpc>
        <a:spcBef>
          <a:spcPct val="0"/>
        </a:spcBef>
        <a:buNone/>
        <a:defRPr sz="4400" kern="1200">
          <a:solidFill>
            <a:schemeClr val="bg1"/>
          </a:solidFill>
          <a:latin typeface="Georgia" panose="02040502050405020303" pitchFamily="18" charset="0"/>
          <a:ea typeface="+mj-ea"/>
          <a:cs typeface="Oracle Sans" panose="020B05030202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bg1"/>
          </a:solidFill>
          <a:latin typeface="Oracle Sans Light" panose="020B0403020204020204" pitchFamily="34" charset="0"/>
          <a:ea typeface="+mn-ea"/>
          <a:cs typeface="Oracle Sans Light" panose="020B04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70F255-3C2A-4AC7-8935-184146E3B6D6}"/>
              </a:ext>
            </a:extLst>
          </p:cNvPr>
          <p:cNvSpPr>
            <a:spLocks noGrp="1"/>
          </p:cNvSpPr>
          <p:nvPr>
            <p:ph type="title"/>
          </p:nvPr>
        </p:nvSpPr>
        <p:spPr>
          <a:xfrm>
            <a:off x="762000" y="508000"/>
            <a:ext cx="10671048" cy="822960"/>
          </a:xfrm>
          <a:prstGeom prst="rect">
            <a:avLst/>
          </a:prstGeom>
        </p:spPr>
        <p:txBody>
          <a:bodyPr vert="horz" lIns="0" tIns="0" rIns="0" bIns="0" rtlCol="0" anchor="ctr">
            <a:noAutofit/>
          </a:bodyPr>
          <a:lstStyle/>
          <a:p>
            <a:r>
              <a:rPr lang="en-US"/>
              <a:t>Headline</a:t>
            </a:r>
          </a:p>
        </p:txBody>
      </p:sp>
      <p:sp>
        <p:nvSpPr>
          <p:cNvPr id="17" name="Slide Number">
            <a:extLst>
              <a:ext uri="{FF2B5EF4-FFF2-40B4-BE49-F238E27FC236}">
                <a16:creationId xmlns:a16="http://schemas.microsoft.com/office/drawing/2014/main" id="{08A3F6CD-49F4-D74B-8C7F-D6CA71EFB1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a:p>
        </p:txBody>
      </p:sp>
      <p:sp>
        <p:nvSpPr>
          <p:cNvPr id="18" name="Footer">
            <a:extLst>
              <a:ext uri="{FF2B5EF4-FFF2-40B4-BE49-F238E27FC236}">
                <a16:creationId xmlns:a16="http://schemas.microsoft.com/office/drawing/2014/main" id="{8E003242-6B91-1949-A5CA-15BA57A045C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a:t>Copyright © 2019, Oracle and/or its affiliates. All rights reserved.</a:t>
            </a:r>
          </a:p>
        </p:txBody>
      </p:sp>
      <p:sp>
        <p:nvSpPr>
          <p:cNvPr id="5" name="Text Placeholder 4">
            <a:extLst>
              <a:ext uri="{FF2B5EF4-FFF2-40B4-BE49-F238E27FC236}">
                <a16:creationId xmlns:a16="http://schemas.microsoft.com/office/drawing/2014/main" id="{2F704250-C0B4-A84F-9EB2-31C880A9C2D6}"/>
              </a:ext>
            </a:extLst>
          </p:cNvPr>
          <p:cNvSpPr>
            <a:spLocks noGrp="1"/>
          </p:cNvSpPr>
          <p:nvPr>
            <p:ph type="body" idx="1"/>
          </p:nvPr>
        </p:nvSpPr>
        <p:spPr>
          <a:xfrm>
            <a:off x="758952" y="1837944"/>
            <a:ext cx="10671048" cy="4261104"/>
          </a:xfrm>
          <a:prstGeom prst="rect">
            <a:avLst/>
          </a:prstGeom>
        </p:spPr>
        <p:txBody>
          <a:bodyPr vert="horz" lIns="0" tIns="0" rIns="0" bIns="0" rtlCol="0">
            <a:noAutofit/>
          </a:bodyPr>
          <a:lstStyle/>
          <a:p>
            <a:pPr lvl="0"/>
            <a:r>
              <a:rPr lang="en-US"/>
              <a:t>Click to edit Master text styles</a:t>
            </a:r>
          </a:p>
          <a:p>
            <a:pPr lvl="1"/>
            <a:r>
              <a:rPr lang="en-US"/>
              <a:t>First indent</a:t>
            </a:r>
          </a:p>
          <a:p>
            <a:pPr lvl="2"/>
            <a:r>
              <a:rPr lang="en-US"/>
              <a:t>Second indent</a:t>
            </a:r>
          </a:p>
          <a:p>
            <a:pPr lvl="3"/>
            <a:r>
              <a:rPr lang="en-US"/>
              <a:t>Third indent</a:t>
            </a:r>
          </a:p>
          <a:p>
            <a:pPr lvl="4"/>
            <a:r>
              <a:rPr lang="en-US"/>
              <a:t>Fourth indent</a:t>
            </a:r>
          </a:p>
          <a:p>
            <a:pPr lvl="5"/>
            <a:r>
              <a:rPr lang="en-US"/>
              <a:t>Fifth indent</a:t>
            </a:r>
          </a:p>
          <a:p>
            <a:pPr lvl="6"/>
            <a:r>
              <a:rPr lang="en-US"/>
              <a:t>Sixth indent</a:t>
            </a:r>
          </a:p>
        </p:txBody>
      </p:sp>
      <p:sp>
        <p:nvSpPr>
          <p:cNvPr id="8" name="Slide Number">
            <a:extLst>
              <a:ext uri="{FF2B5EF4-FFF2-40B4-BE49-F238E27FC236}">
                <a16:creationId xmlns:a16="http://schemas.microsoft.com/office/drawing/2014/main" id="{C174EA89-E19D-6245-A011-4F7EB78FF170}"/>
              </a:ext>
            </a:extLst>
          </p:cNvPr>
          <p:cNvSpPr txBox="1"/>
          <p:nvPr userDrawn="1"/>
        </p:nvSpPr>
        <p:spPr>
          <a:xfrm>
            <a:off x="762000" y="6057900"/>
            <a:ext cx="234696" cy="365760"/>
          </a:xfrm>
          <a:prstGeom prst="rect">
            <a:avLst/>
          </a:prstGeom>
        </p:spPr>
        <p:txBody>
          <a:bodyPr vert="horz" lIns="0" tIns="0" rIns="0" bIns="0" rtlCol="0" anchor="ctr"/>
          <a:lstStyle>
            <a:defPPr>
              <a:defRPr lang="en-US"/>
            </a:defPPr>
            <a:lvl1pPr marL="0" algn="l" defTabSz="914400" rtl="0" eaLnBrk="1" latinLnBrk="0" hangingPunct="1">
              <a:defRPr sz="1000" kern="1200">
                <a:solidFill>
                  <a:srgbClr val="8B85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9" name="OTag">
            <a:extLst>
              <a:ext uri="{FF2B5EF4-FFF2-40B4-BE49-F238E27FC236}">
                <a16:creationId xmlns:a16="http://schemas.microsoft.com/office/drawing/2014/main" id="{31B17AFD-D26F-6F49-9FDF-535EB457ABD7}"/>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183112" y="6355080"/>
            <a:ext cx="502920" cy="502920"/>
          </a:xfrm>
          <a:prstGeom prst="rect">
            <a:avLst/>
          </a:prstGeom>
        </p:spPr>
      </p:pic>
    </p:spTree>
    <p:extLst>
      <p:ext uri="{BB962C8B-B14F-4D97-AF65-F5344CB8AC3E}">
        <p14:creationId xmlns:p14="http://schemas.microsoft.com/office/powerpoint/2010/main" val="2391890915"/>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Lst>
  <p:hf hdr="0" dt="0"/>
  <p:txStyles>
    <p:titleStyle>
      <a:lvl1pPr algn="l" defTabSz="914400" rtl="0" eaLnBrk="1" latinLnBrk="0" hangingPunct="1">
        <a:lnSpc>
          <a:spcPct val="95000"/>
        </a:lnSpc>
        <a:spcBef>
          <a:spcPct val="0"/>
        </a:spcBef>
        <a:buNone/>
        <a:defRPr sz="4000" kern="1200">
          <a:solidFill>
            <a:schemeClr val="tx1"/>
          </a:solidFill>
          <a:latin typeface="+mj-lt"/>
          <a:ea typeface="+mj-ea"/>
          <a:cs typeface="+mj-cs"/>
        </a:defRPr>
      </a:lvl1pPr>
    </p:titleStyle>
    <p:bodyStyle>
      <a:lvl1pPr marL="0" marR="0" indent="0" algn="l" defTabSz="914400" rtl="0" eaLnBrk="1" fontAlgn="auto" latinLnBrk="0" hangingPunct="1">
        <a:lnSpc>
          <a:spcPct val="95000"/>
        </a:lnSpc>
        <a:spcBef>
          <a:spcPts val="600"/>
        </a:spcBef>
        <a:spcAft>
          <a:spcPct val="0"/>
        </a:spcAft>
        <a:buClrTx/>
        <a:buSzTx/>
        <a:buFont typeface="System Font Regular"/>
        <a:buNone/>
        <a:defRPr sz="1800" b="0" i="0" kern="1200">
          <a:solidFill>
            <a:schemeClr val="tx1"/>
          </a:solidFill>
          <a:latin typeface="Oracle Sans" panose="020B0503020204020204" pitchFamily="34" charset="0"/>
          <a:ea typeface="+mn-ea"/>
          <a:cs typeface="Oracle Sans" panose="020B0503020204020204" pitchFamily="34" charset="0"/>
        </a:defRPr>
      </a:lvl1pPr>
      <a:lvl2pPr marL="365760" marR="0" indent="-182880" algn="l" defTabSz="914400" rtl="0" eaLnBrk="1" fontAlgn="auto" latinLnBrk="0" hangingPunct="1">
        <a:lnSpc>
          <a:spcPct val="95000"/>
        </a:lnSpc>
        <a:spcBef>
          <a:spcPts val="600"/>
        </a:spcBef>
        <a:spcAft>
          <a:spcPct val="0"/>
        </a:spcAft>
        <a:buClrTx/>
        <a:buSzTx/>
        <a:buFont typeface="Arial" panose="020B0604020202020204" pitchFamily="34" charset="0"/>
        <a:buChar char="•"/>
        <a:defRPr sz="1800" b="0" i="0" kern="1200">
          <a:solidFill>
            <a:schemeClr val="tx1"/>
          </a:solidFill>
          <a:latin typeface="Oracle Sans" panose="020B0503020204020204" pitchFamily="34" charset="0"/>
          <a:ea typeface="+mn-ea"/>
          <a:cs typeface="Oracle Sans" panose="020B0503020204020204" pitchFamily="34" charset="0"/>
        </a:defRPr>
      </a:lvl2pPr>
      <a:lvl3pPr marL="731520" marR="0" indent="-182880" algn="l" defTabSz="914400" rtl="0" eaLnBrk="1" fontAlgn="auto" latinLnBrk="0" hangingPunct="1">
        <a:lnSpc>
          <a:spcPct val="95000"/>
        </a:lnSpc>
        <a:spcBef>
          <a:spcPts val="400"/>
        </a:spcBef>
        <a:spcAft>
          <a:spcPct val="0"/>
        </a:spcAft>
        <a:buClrTx/>
        <a:buSzPct val="120000"/>
        <a:buFont typeface="System Font Regular"/>
        <a:buChar char="-"/>
        <a:defRPr sz="1600" kern="1200">
          <a:solidFill>
            <a:schemeClr val="tx1"/>
          </a:solidFill>
          <a:latin typeface="Oracle Sans Light" panose="020B0403020204020204" pitchFamily="34" charset="0"/>
          <a:ea typeface="+mn-ea"/>
          <a:cs typeface="Oracle Sans Light" panose="020B0403020204020204" pitchFamily="34" charset="0"/>
        </a:defRPr>
      </a:lvl3pPr>
      <a:lvl4pPr marL="1097280" marR="0" indent="-182880" algn="l" defTabSz="914400" rtl="0" eaLnBrk="1" fontAlgn="auto" latinLnBrk="0" hangingPunct="1">
        <a:lnSpc>
          <a:spcPct val="95000"/>
        </a:lnSpc>
        <a:spcBef>
          <a:spcPts val="400"/>
        </a:spcBef>
        <a:spcAft>
          <a:spcPct val="0"/>
        </a:spcAft>
        <a:buClrTx/>
        <a:buSzTx/>
        <a:buFont typeface="System Font Regular"/>
        <a:buChar char="◦"/>
        <a:defRPr sz="1400" kern="1200">
          <a:solidFill>
            <a:schemeClr val="tx1"/>
          </a:solidFill>
          <a:latin typeface="Oracle Sans Light" panose="020B0403020204020204" pitchFamily="34" charset="0"/>
          <a:ea typeface="+mn-ea"/>
          <a:cs typeface="Oracle Sans Light" panose="020B0403020204020204" pitchFamily="34" charset="0"/>
        </a:defRPr>
      </a:lvl4pPr>
      <a:lvl5pPr marL="1463040" marR="0" indent="-182880" algn="l" defTabSz="914400" rtl="0" eaLnBrk="1" fontAlgn="auto" latinLnBrk="0" hangingPunct="1">
        <a:lnSpc>
          <a:spcPct val="95000"/>
        </a:lnSpc>
        <a:spcBef>
          <a:spcPts val="400"/>
        </a:spcBef>
        <a:spcAft>
          <a:spcPct val="0"/>
        </a:spcAft>
        <a:buClrTx/>
        <a:buSzTx/>
        <a:buFont typeface="System Font Regular"/>
        <a:buChar char="•"/>
        <a:defRPr sz="1200" kern="1200">
          <a:solidFill>
            <a:schemeClr val="tx1"/>
          </a:solidFill>
          <a:latin typeface="Oracle Sans Light" panose="020B0403020204020204" pitchFamily="34" charset="0"/>
          <a:ea typeface="+mn-ea"/>
          <a:cs typeface="Oracle Sans Light" panose="020B0403020204020204" pitchFamily="34" charset="0"/>
        </a:defRPr>
      </a:lvl5pPr>
      <a:lvl6pPr marL="1828800" indent="-182880" algn="l" defTabSz="914400" rtl="0" eaLnBrk="1" latinLnBrk="0" hangingPunct="1">
        <a:lnSpc>
          <a:spcPct val="95000"/>
        </a:lnSpc>
        <a:spcBef>
          <a:spcPts val="400"/>
        </a:spcBef>
        <a:spcAft>
          <a:spcPct val="0"/>
        </a:spcAft>
        <a:buSzPct val="120000"/>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6pPr>
      <a:lvl7pPr marL="2194560" indent="-182880" algn="l" defTabSz="914400" rtl="0" eaLnBrk="1" latinLnBrk="0" hangingPunct="1">
        <a:lnSpc>
          <a:spcPct val="95000"/>
        </a:lnSpc>
        <a:spcBef>
          <a:spcPts val="400"/>
        </a:spcBef>
        <a:spcAft>
          <a:spcPct val="0"/>
        </a:spcAft>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6">
          <p15:clr>
            <a:srgbClr val="F26B43"/>
          </p15:clr>
        </p15:guide>
        <p15:guide id="2" orient="horz" pos="40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70F255-3C2A-4AC7-8935-184146E3B6D6}"/>
              </a:ext>
            </a:extLst>
          </p:cNvPr>
          <p:cNvSpPr>
            <a:spLocks noGrp="1"/>
          </p:cNvSpPr>
          <p:nvPr>
            <p:ph type="title"/>
          </p:nvPr>
        </p:nvSpPr>
        <p:spPr>
          <a:xfrm>
            <a:off x="762000" y="508000"/>
            <a:ext cx="10671048" cy="822960"/>
          </a:xfrm>
          <a:prstGeom prst="rect">
            <a:avLst/>
          </a:prstGeom>
        </p:spPr>
        <p:txBody>
          <a:bodyPr vert="horz" lIns="0" tIns="0" rIns="0" bIns="0" rtlCol="0" anchor="ctr">
            <a:noAutofit/>
          </a:bodyPr>
          <a:lstStyle/>
          <a:p>
            <a:r>
              <a:rPr lang="en-US" dirty="0"/>
              <a:t>Headline</a:t>
            </a:r>
          </a:p>
        </p:txBody>
      </p:sp>
      <p:sp>
        <p:nvSpPr>
          <p:cNvPr id="17" name="Slide Number">
            <a:extLst>
              <a:ext uri="{FF2B5EF4-FFF2-40B4-BE49-F238E27FC236}">
                <a16:creationId xmlns:a16="http://schemas.microsoft.com/office/drawing/2014/main" id="{08A3F6CD-49F4-D74B-8C7F-D6CA71EFB1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N°›</a:t>
            </a:fld>
            <a:endParaRPr lang="en-US" dirty="0"/>
          </a:p>
        </p:txBody>
      </p:sp>
      <p:sp>
        <p:nvSpPr>
          <p:cNvPr id="18" name="Footer">
            <a:extLst>
              <a:ext uri="{FF2B5EF4-FFF2-40B4-BE49-F238E27FC236}">
                <a16:creationId xmlns:a16="http://schemas.microsoft.com/office/drawing/2014/main" id="{8E003242-6B91-1949-A5CA-15BA57A045C9}"/>
              </a:ext>
            </a:extLst>
          </p:cNvPr>
          <p:cNvSpPr>
            <a:spLocks noGrp="1"/>
          </p:cNvSpPr>
          <p:nvPr>
            <p:ph type="ftr" sz="quarter" idx="3"/>
          </p:nvPr>
        </p:nvSpPr>
        <p:spPr>
          <a:xfrm>
            <a:off x="1127759" y="6423978"/>
            <a:ext cx="5745379" cy="365125"/>
          </a:xfrm>
          <a:prstGeom prst="rect">
            <a:avLst/>
          </a:prstGeom>
        </p:spPr>
        <p:txBody>
          <a:bodyPr vert="horz" lIns="0" tIns="0" rIns="0" bIns="0" rtlCol="0" anchor="ctr"/>
          <a:lstStyle>
            <a:lvl1pPr algn="l">
              <a:defRPr sz="1000">
                <a:solidFill>
                  <a:srgbClr val="8B8580"/>
                </a:solidFill>
              </a:defRPr>
            </a:lvl1pPr>
          </a:lstStyle>
          <a:p>
            <a:r>
              <a:rPr lang="en-US" dirty="0"/>
              <a:t>Copyright © 2020, Oracle and/or its affiliates  |  Confidential: Internal/Restricted/Highly Restricted</a:t>
            </a:r>
          </a:p>
        </p:txBody>
      </p:sp>
      <p:sp>
        <p:nvSpPr>
          <p:cNvPr id="5" name="Text Placeholder 4">
            <a:extLst>
              <a:ext uri="{FF2B5EF4-FFF2-40B4-BE49-F238E27FC236}">
                <a16:creationId xmlns:a16="http://schemas.microsoft.com/office/drawing/2014/main" id="{2F704250-C0B4-A84F-9EB2-31C880A9C2D6}"/>
              </a:ext>
            </a:extLst>
          </p:cNvPr>
          <p:cNvSpPr>
            <a:spLocks noGrp="1"/>
          </p:cNvSpPr>
          <p:nvPr>
            <p:ph type="body" idx="1"/>
          </p:nvPr>
        </p:nvSpPr>
        <p:spPr>
          <a:xfrm>
            <a:off x="758952" y="1837944"/>
            <a:ext cx="10671048" cy="4261104"/>
          </a:xfrm>
          <a:prstGeom prst="rect">
            <a:avLst/>
          </a:prstGeom>
        </p:spPr>
        <p:txBody>
          <a:bodyPr vert="horz" lIns="0" tIns="0" rIns="0" bIns="0" rtlCol="0">
            <a:noAutofit/>
          </a:bodyPr>
          <a:lstStyle/>
          <a:p>
            <a:pPr lvl="0"/>
            <a:r>
              <a:rPr lang="en-US" dirty="0"/>
              <a:t>Click to edit Master text styles</a:t>
            </a:r>
          </a:p>
          <a:p>
            <a:pPr lvl="1"/>
            <a:r>
              <a:rPr lang="en-US" dirty="0"/>
              <a:t>First indent</a:t>
            </a:r>
          </a:p>
          <a:p>
            <a:pPr lvl="2"/>
            <a:r>
              <a:rPr lang="en-US" dirty="0"/>
              <a:t>Second indent</a:t>
            </a:r>
          </a:p>
          <a:p>
            <a:pPr lvl="3"/>
            <a:r>
              <a:rPr lang="en-US" dirty="0"/>
              <a:t>Third indent</a:t>
            </a:r>
          </a:p>
          <a:p>
            <a:pPr lvl="4"/>
            <a:r>
              <a:rPr lang="en-US" dirty="0"/>
              <a:t>Fourth indent</a:t>
            </a:r>
          </a:p>
          <a:p>
            <a:pPr lvl="5"/>
            <a:r>
              <a:rPr lang="en-US" dirty="0"/>
              <a:t>Fifth indent</a:t>
            </a:r>
          </a:p>
          <a:p>
            <a:pPr lvl="6"/>
            <a:r>
              <a:rPr lang="en-US" dirty="0"/>
              <a:t>Sixth indent</a:t>
            </a:r>
          </a:p>
        </p:txBody>
      </p:sp>
      <p:sp>
        <p:nvSpPr>
          <p:cNvPr id="8" name="Slide Number">
            <a:extLst>
              <a:ext uri="{FF2B5EF4-FFF2-40B4-BE49-F238E27FC236}">
                <a16:creationId xmlns:a16="http://schemas.microsoft.com/office/drawing/2014/main" id="{C174EA89-E19D-6245-A011-4F7EB78FF170}"/>
              </a:ext>
            </a:extLst>
          </p:cNvPr>
          <p:cNvSpPr txBox="1">
            <a:spLocks/>
          </p:cNvSpPr>
          <p:nvPr userDrawn="1"/>
        </p:nvSpPr>
        <p:spPr>
          <a:xfrm>
            <a:off x="762000" y="6057900"/>
            <a:ext cx="234696" cy="365760"/>
          </a:xfrm>
          <a:prstGeom prst="rect">
            <a:avLst/>
          </a:prstGeom>
        </p:spPr>
        <p:txBody>
          <a:bodyPr vert="horz" lIns="0" tIns="0" rIns="0" bIns="0" rtlCol="0" anchor="ctr"/>
          <a:lstStyle>
            <a:defPPr>
              <a:defRPr lang="en-US"/>
            </a:defPPr>
            <a:lvl1pPr marL="0" algn="l" defTabSz="914400" rtl="0" eaLnBrk="1" latinLnBrk="0" hangingPunct="1">
              <a:defRPr sz="1000" kern="1200">
                <a:solidFill>
                  <a:srgbClr val="8B85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375851349"/>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 id="2147483893" r:id="rId38"/>
    <p:sldLayoutId id="2147483894" r:id="rId39"/>
    <p:sldLayoutId id="2147483895" r:id="rId40"/>
    <p:sldLayoutId id="2147483896" r:id="rId41"/>
    <p:sldLayoutId id="2147483897" r:id="rId42"/>
    <p:sldLayoutId id="2147483898" r:id="rId43"/>
    <p:sldLayoutId id="2147483899" r:id="rId44"/>
    <p:sldLayoutId id="2147483900" r:id="rId45"/>
    <p:sldLayoutId id="2147483901" r:id="rId46"/>
    <p:sldLayoutId id="2147483902" r:id="rId47"/>
    <p:sldLayoutId id="2147483903" r:id="rId48"/>
    <p:sldLayoutId id="2147483904" r:id="rId49"/>
    <p:sldLayoutId id="2147483905" r:id="rId50"/>
    <p:sldLayoutId id="2147483906" r:id="rId51"/>
    <p:sldLayoutId id="2147483907" r:id="rId52"/>
    <p:sldLayoutId id="2147483908" r:id="rId53"/>
    <p:sldLayoutId id="2147483909" r:id="rId54"/>
    <p:sldLayoutId id="2147483910" r:id="rId55"/>
    <p:sldLayoutId id="2147483911" r:id="rId56"/>
    <p:sldLayoutId id="2147483912" r:id="rId57"/>
    <p:sldLayoutId id="2147483913" r:id="rId58"/>
  </p:sldLayoutIdLst>
  <p:hf hdr="0" dt="0"/>
  <p:txStyles>
    <p:titleStyle>
      <a:lvl1pPr algn="l" defTabSz="914400" rtl="0" eaLnBrk="1" latinLnBrk="0" hangingPunct="1">
        <a:lnSpc>
          <a:spcPct val="95000"/>
        </a:lnSpc>
        <a:spcBef>
          <a:spcPct val="0"/>
        </a:spcBef>
        <a:buNone/>
        <a:defRPr sz="4000" kern="1200">
          <a:solidFill>
            <a:schemeClr val="tx1"/>
          </a:solidFill>
          <a:latin typeface="+mj-lt"/>
          <a:ea typeface="+mj-ea"/>
          <a:cs typeface="+mj-cs"/>
        </a:defRPr>
      </a:lvl1pPr>
    </p:titleStyle>
    <p:bodyStyle>
      <a:lvl1pPr marL="0" marR="0" indent="0" algn="l" defTabSz="914400" rtl="0" eaLnBrk="1" fontAlgn="auto" latinLnBrk="0" hangingPunct="1">
        <a:lnSpc>
          <a:spcPct val="95000"/>
        </a:lnSpc>
        <a:spcBef>
          <a:spcPts val="600"/>
        </a:spcBef>
        <a:spcAft>
          <a:spcPts val="0"/>
        </a:spcAft>
        <a:buClrTx/>
        <a:buSzTx/>
        <a:buFont typeface="System Font Regular"/>
        <a:buNone/>
        <a:tabLst/>
        <a:defRPr sz="1800" b="0" i="0" kern="1200">
          <a:solidFill>
            <a:schemeClr val="tx1"/>
          </a:solidFill>
          <a:latin typeface="Oracle Sans" panose="020B0503020204020204" pitchFamily="34" charset="0"/>
          <a:ea typeface="+mn-ea"/>
          <a:cs typeface="Oracle Sans" panose="020B0503020204020204" pitchFamily="34" charset="0"/>
        </a:defRPr>
      </a:lvl1pPr>
      <a:lvl2pPr marL="365760" marR="0" indent="-182880" algn="l" defTabSz="914400" rtl="0" eaLnBrk="1" fontAlgn="auto" latinLnBrk="0" hangingPunct="1">
        <a:lnSpc>
          <a:spcPct val="95000"/>
        </a:lnSpc>
        <a:spcBef>
          <a:spcPts val="600"/>
        </a:spcBef>
        <a:spcAft>
          <a:spcPts val="0"/>
        </a:spcAft>
        <a:buClrTx/>
        <a:buSzPct val="100000"/>
        <a:buFont typeface="Arial" panose="020B0604020202020204" pitchFamily="34" charset="0"/>
        <a:buChar char="•"/>
        <a:tabLst/>
        <a:defRPr sz="1800" b="0" i="0" kern="1200">
          <a:solidFill>
            <a:schemeClr val="tx1"/>
          </a:solidFill>
          <a:latin typeface="Oracle Sans" panose="020B0503020204020204" pitchFamily="34" charset="0"/>
          <a:ea typeface="+mn-ea"/>
          <a:cs typeface="Oracle Sans" panose="020B0503020204020204" pitchFamily="34" charset="0"/>
        </a:defRPr>
      </a:lvl2pPr>
      <a:lvl3pPr marL="731520" marR="0" indent="-182880" algn="l" defTabSz="914400" rtl="0" eaLnBrk="1" fontAlgn="auto" latinLnBrk="0" hangingPunct="1">
        <a:lnSpc>
          <a:spcPct val="95000"/>
        </a:lnSpc>
        <a:spcBef>
          <a:spcPts val="400"/>
        </a:spcBef>
        <a:spcAft>
          <a:spcPts val="0"/>
        </a:spcAft>
        <a:buClrTx/>
        <a:buSzPct val="120000"/>
        <a:buFont typeface="System Font Regular"/>
        <a:buChar char="-"/>
        <a:tabLst/>
        <a:defRPr sz="1600" kern="1200">
          <a:solidFill>
            <a:schemeClr val="tx1"/>
          </a:solidFill>
          <a:latin typeface="Oracle Sans Light" panose="020B0403020204020204" pitchFamily="34" charset="0"/>
          <a:ea typeface="+mn-ea"/>
          <a:cs typeface="Oracle Sans Light" panose="020B0403020204020204" pitchFamily="34" charset="0"/>
        </a:defRPr>
      </a:lvl3pPr>
      <a:lvl4pPr marL="1097280" marR="0" indent="-182880" algn="l" defTabSz="914400" rtl="0" eaLnBrk="1" fontAlgn="auto" latinLnBrk="0" hangingPunct="1">
        <a:lnSpc>
          <a:spcPct val="95000"/>
        </a:lnSpc>
        <a:spcBef>
          <a:spcPts val="400"/>
        </a:spcBef>
        <a:spcAft>
          <a:spcPts val="0"/>
        </a:spcAft>
        <a:buClrTx/>
        <a:buSzPct val="100000"/>
        <a:buFont typeface="System Font Regular"/>
        <a:buChar char="◦"/>
        <a:tabLst/>
        <a:defRPr sz="1400" kern="1200">
          <a:solidFill>
            <a:schemeClr val="tx1"/>
          </a:solidFill>
          <a:latin typeface="Oracle Sans Light" panose="020B0403020204020204" pitchFamily="34" charset="0"/>
          <a:ea typeface="+mn-ea"/>
          <a:cs typeface="Oracle Sans Light" panose="020B0403020204020204" pitchFamily="34" charset="0"/>
        </a:defRPr>
      </a:lvl4pPr>
      <a:lvl5pPr marL="1463040" marR="0" indent="-182880" algn="l" defTabSz="914400" rtl="0" eaLnBrk="1" fontAlgn="auto" latinLnBrk="0" hangingPunct="1">
        <a:lnSpc>
          <a:spcPct val="95000"/>
        </a:lnSpc>
        <a:spcBef>
          <a:spcPts val="400"/>
        </a:spcBef>
        <a:spcAft>
          <a:spcPts val="0"/>
        </a:spcAft>
        <a:buClrTx/>
        <a:buSzTx/>
        <a:buFont typeface="System Font Regular"/>
        <a:buChar char="•"/>
        <a:tabLst/>
        <a:defRPr sz="1200" kern="1200">
          <a:solidFill>
            <a:schemeClr val="tx1"/>
          </a:solidFill>
          <a:latin typeface="Oracle Sans Light" panose="020B0403020204020204" pitchFamily="34" charset="0"/>
          <a:ea typeface="+mn-ea"/>
          <a:cs typeface="Oracle Sans Light" panose="020B0403020204020204" pitchFamily="34" charset="0"/>
        </a:defRPr>
      </a:lvl5pPr>
      <a:lvl6pPr marL="1828800" indent="-182880" algn="l" defTabSz="914400" rtl="0" eaLnBrk="1" latinLnBrk="0" hangingPunct="1">
        <a:lnSpc>
          <a:spcPct val="95000"/>
        </a:lnSpc>
        <a:spcBef>
          <a:spcPts val="400"/>
        </a:spcBef>
        <a:spcAft>
          <a:spcPts val="0"/>
        </a:spcAft>
        <a:buSzPct val="120000"/>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6pPr>
      <a:lvl7pPr marL="2194560" indent="-182880" algn="l" defTabSz="914400" rtl="0" eaLnBrk="1" latinLnBrk="0" hangingPunct="1">
        <a:lnSpc>
          <a:spcPct val="95000"/>
        </a:lnSpc>
        <a:spcBef>
          <a:spcPts val="400"/>
        </a:spcBef>
        <a:spcAft>
          <a:spcPts val="0"/>
        </a:spcAft>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6">
          <p15:clr>
            <a:srgbClr val="F26B43"/>
          </p15:clr>
        </p15:guide>
        <p15:guide id="2" orient="horz" pos="40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0E2E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F6839A-7020-4254-BB27-017A0258DE58}"/>
              </a:ext>
            </a:extLst>
          </p:cNvPr>
          <p:cNvSpPr>
            <a:spLocks noGrp="1"/>
          </p:cNvSpPr>
          <p:nvPr>
            <p:ph type="title"/>
          </p:nvPr>
        </p:nvSpPr>
        <p:spPr>
          <a:xfrm>
            <a:off x="838200" y="365125"/>
            <a:ext cx="10515600" cy="1325563"/>
          </a:xfrm>
          <a:prstGeom prst="rect">
            <a:avLst/>
          </a:prstGeom>
        </p:spPr>
        <p:txBody>
          <a:bodyPr vert="horz" lIns="0" tIns="4572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F714D97-2391-495E-8C13-180C0EB286B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880C9023-637D-494C-95E3-A86047569BA4}"/>
              </a:ext>
            </a:extLst>
          </p:cNvPr>
          <p:cNvSpPr>
            <a:spLocks noGrp="1"/>
          </p:cNvSpPr>
          <p:nvPr>
            <p:ph type="ftr" sz="quarter" idx="3"/>
          </p:nvPr>
        </p:nvSpPr>
        <p:spPr>
          <a:xfrm>
            <a:off x="1339850" y="6514977"/>
            <a:ext cx="6625502" cy="365125"/>
          </a:xfrm>
          <a:prstGeom prst="rect">
            <a:avLst/>
          </a:prstGeom>
        </p:spPr>
        <p:txBody>
          <a:bodyPr vert="horz" lIns="0" tIns="45720" rIns="0" bIns="45720" rtlCol="0" anchor="ctr"/>
          <a:lstStyle>
            <a:lvl1pPr algn="l">
              <a:defRPr sz="650" b="0" i="0">
                <a:solidFill>
                  <a:schemeClr val="bg2">
                    <a:lumMod val="75000"/>
                  </a:schemeClr>
                </a:solidFill>
                <a:latin typeface="Oracle Sans" panose="020B0503020204020204" pitchFamily="34" charset="0"/>
                <a:cs typeface="Oracle Sans" panose="020B0503020204020204" pitchFamily="34" charset="0"/>
              </a:defRPr>
            </a:lvl1pPr>
          </a:lstStyle>
          <a:p>
            <a:r>
              <a:rPr lang="en-US" sz="800">
                <a:solidFill>
                  <a:srgbClr val="E0E2E1">
                    <a:lumMod val="75000"/>
                  </a:srgbClr>
                </a:solidFill>
              </a:rPr>
              <a:t>Confidential – Gartner SAS Day 8/28/2019</a:t>
            </a:r>
            <a:endParaRPr lang="en-US" sz="800" dirty="0">
              <a:solidFill>
                <a:srgbClr val="E0E2E1">
                  <a:lumMod val="75000"/>
                </a:srgbClr>
              </a:solidFill>
            </a:endParaRPr>
          </a:p>
        </p:txBody>
      </p:sp>
      <p:pic>
        <p:nvPicPr>
          <p:cNvPr id="10" name="Picture 9">
            <a:extLst>
              <a:ext uri="{FF2B5EF4-FFF2-40B4-BE49-F238E27FC236}">
                <a16:creationId xmlns:a16="http://schemas.microsoft.com/office/drawing/2014/main" id="{89097BF2-8BD6-4DE7-A9F6-0896CC65822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437197" y="6356350"/>
            <a:ext cx="501650" cy="501650"/>
          </a:xfrm>
          <a:prstGeom prst="rect">
            <a:avLst/>
          </a:prstGeom>
        </p:spPr>
      </p:pic>
      <p:pic>
        <p:nvPicPr>
          <p:cNvPr id="14" name="Picture 13">
            <a:extLst>
              <a:ext uri="{FF2B5EF4-FFF2-40B4-BE49-F238E27FC236}">
                <a16:creationId xmlns:a16="http://schemas.microsoft.com/office/drawing/2014/main" id="{D23B6C0B-A6D8-4755-9395-F94ECF5A0491}"/>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8" name="Slide Number Placeholder 3">
            <a:extLst>
              <a:ext uri="{FF2B5EF4-FFF2-40B4-BE49-F238E27FC236}">
                <a16:creationId xmlns:a16="http://schemas.microsoft.com/office/drawing/2014/main" id="{C91EE73D-1D23-714C-9DE9-81B11FC79B6B}"/>
              </a:ext>
            </a:extLst>
          </p:cNvPr>
          <p:cNvSpPr>
            <a:spLocks noGrp="1"/>
          </p:cNvSpPr>
          <p:nvPr>
            <p:ph type="sldNum" sz="quarter" idx="4"/>
          </p:nvPr>
        </p:nvSpPr>
        <p:spPr>
          <a:xfrm>
            <a:off x="838200" y="6507623"/>
            <a:ext cx="50165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a:solidFill>
                  <a:schemeClr val="tx1">
                    <a:tint val="75000"/>
                  </a:schemeClr>
                </a:solidFill>
                <a:latin typeface="Oracle Sans" panose="020B0503020204020204" pitchFamily="34" charset="0"/>
                <a:cs typeface="Oracle Sans" panose="020B0503020204020204" pitchFamily="34" charset="0"/>
              </a:defRPr>
            </a:lvl1pPr>
          </a:lstStyle>
          <a:p>
            <a:fld id="{D440507A-669E-A943-A4A7-E531D638091A}" type="slidenum">
              <a:rPr lang="en-US" smtClean="0">
                <a:solidFill>
                  <a:srgbClr val="4E3629">
                    <a:tint val="75000"/>
                  </a:srgbClr>
                </a:solidFill>
              </a:rPr>
              <a:pPr/>
              <a:t>‹N°›</a:t>
            </a:fld>
            <a:endParaRPr lang="en-US" dirty="0">
              <a:solidFill>
                <a:srgbClr val="4E3629">
                  <a:tint val="75000"/>
                </a:srgbClr>
              </a:solidFill>
            </a:endParaRPr>
          </a:p>
        </p:txBody>
      </p:sp>
    </p:spTree>
    <p:extLst>
      <p:ext uri="{BB962C8B-B14F-4D97-AF65-F5344CB8AC3E}">
        <p14:creationId xmlns:p14="http://schemas.microsoft.com/office/powerpoint/2010/main" val="1160283161"/>
      </p:ext>
    </p:extLst>
  </p:cSld>
  <p:clrMap bg1="lt1" tx1="dk1" bg2="lt2" tx2="dk2" accent1="accent1" accent2="accent2" accent3="accent3" accent4="accent4" accent5="accent5" accent6="accent6" hlink="hlink" folHlink="folHlink"/>
  <p:sldLayoutIdLst>
    <p:sldLayoutId id="2147483915" r:id="rId1"/>
    <p:sldLayoutId id="2147483916"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Georgia" panose="02040502050405020303" pitchFamily="18" charset="0"/>
          <a:ea typeface="+mj-ea"/>
          <a:cs typeface="Oracle Sans" panose="020B05030202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Oracle Sans Light" panose="020B0403020204020204" pitchFamily="34" charset="0"/>
          <a:ea typeface="+mn-ea"/>
          <a:cs typeface="Oracle Sans Light" panose="020B04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28272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A53CD-37DC-4FBC-B804-503520846D32}"/>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1" imgH="472" progId="TCLayout.ActiveDocument.1">
                  <p:embed/>
                </p:oleObj>
              </mc:Choice>
              <mc:Fallback>
                <p:oleObj name="think-cell Slide" r:id="rId6" imgW="471" imgH="472" progId="TCLayout.ActiveDocument.1">
                  <p:embed/>
                  <p:pic>
                    <p:nvPicPr>
                      <p:cNvPr id="4" name="Object 3" hidden="1">
                        <a:extLst>
                          <a:ext uri="{FF2B5EF4-FFF2-40B4-BE49-F238E27FC236}">
                            <a16:creationId xmlns:a16="http://schemas.microsoft.com/office/drawing/2014/main" id="{8ADA53CD-37DC-4FBC-B804-503520846D3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1F6839A-7020-4254-BB27-017A0258DE58}"/>
              </a:ext>
            </a:extLst>
          </p:cNvPr>
          <p:cNvSpPr>
            <a:spLocks noGrp="1"/>
          </p:cNvSpPr>
          <p:nvPr>
            <p:ph type="title"/>
          </p:nvPr>
        </p:nvSpPr>
        <p:spPr>
          <a:xfrm>
            <a:off x="838200" y="365125"/>
            <a:ext cx="10515600" cy="1325563"/>
          </a:xfrm>
          <a:prstGeom prst="rect">
            <a:avLst/>
          </a:prstGeom>
        </p:spPr>
        <p:txBody>
          <a:bodyPr vert="horz" lIns="0" tIns="45720" rIns="0" bIns="45720" rtlCol="0" anchor="ctr">
            <a:noAutofit/>
          </a:bodyPr>
          <a:lstStyle/>
          <a:p>
            <a:r>
              <a:rPr lang="en-US" dirty="0"/>
              <a:t>Headline</a:t>
            </a:r>
          </a:p>
        </p:txBody>
      </p:sp>
      <p:sp>
        <p:nvSpPr>
          <p:cNvPr id="3" name="Text Placeholder 2">
            <a:extLst>
              <a:ext uri="{FF2B5EF4-FFF2-40B4-BE49-F238E27FC236}">
                <a16:creationId xmlns:a16="http://schemas.microsoft.com/office/drawing/2014/main" id="{1F714D97-2391-495E-8C13-180C0EB286B9}"/>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a:extLst>
              <a:ext uri="{FF2B5EF4-FFF2-40B4-BE49-F238E27FC236}">
                <a16:creationId xmlns:a16="http://schemas.microsoft.com/office/drawing/2014/main" id="{D23B6C0B-A6D8-4755-9395-F94ECF5A0491}"/>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10" name="Slide Number Placeholder 9">
            <a:extLst>
              <a:ext uri="{FF2B5EF4-FFF2-40B4-BE49-F238E27FC236}">
                <a16:creationId xmlns:a16="http://schemas.microsoft.com/office/drawing/2014/main" id="{E446C395-84D2-B842-A7E3-2D0A40669127}"/>
              </a:ext>
            </a:extLst>
          </p:cNvPr>
          <p:cNvSpPr>
            <a:spLocks noGrp="1"/>
          </p:cNvSpPr>
          <p:nvPr>
            <p:ph type="sldNum" sz="quarter" idx="4"/>
          </p:nvPr>
        </p:nvSpPr>
        <p:spPr>
          <a:xfrm>
            <a:off x="757515" y="6356350"/>
            <a:ext cx="386443" cy="365125"/>
          </a:xfrm>
          <a:prstGeom prst="rect">
            <a:avLst/>
          </a:prstGeom>
        </p:spPr>
        <p:txBody>
          <a:bodyPr vert="horz" lIns="91440" tIns="45720" rIns="91440" bIns="45720" rtlCol="0" anchor="ctr"/>
          <a:lstStyle>
            <a:lvl1pPr algn="l">
              <a:defRPr sz="1000">
                <a:solidFill>
                  <a:schemeClr val="bg1"/>
                </a:solidFill>
                <a:latin typeface="+mn-lt"/>
                <a:cs typeface="Oracle Sans" panose="020B0503020204020204" pitchFamily="34" charset="0"/>
              </a:defRPr>
            </a:lvl1pPr>
          </a:lstStyle>
          <a:p>
            <a:fld id="{7C371504-33D9-B044-8C50-620C44A06CB1}" type="slidenum">
              <a:rPr lang="en-US" smtClean="0">
                <a:solidFill>
                  <a:prstClr val="white"/>
                </a:solidFill>
              </a:rPr>
              <a:pPr/>
              <a:t>‹N°›</a:t>
            </a:fld>
            <a:endParaRPr lang="en-US" dirty="0">
              <a:solidFill>
                <a:prstClr val="white"/>
              </a:solidFill>
            </a:endParaRPr>
          </a:p>
        </p:txBody>
      </p:sp>
      <p:pic>
        <p:nvPicPr>
          <p:cNvPr id="8" name="Picture 7">
            <a:extLst>
              <a:ext uri="{FF2B5EF4-FFF2-40B4-BE49-F238E27FC236}">
                <a16:creationId xmlns:a16="http://schemas.microsoft.com/office/drawing/2014/main" id="{1EBF6404-9E78-844F-B5FC-770CD9591C85}"/>
              </a:ext>
            </a:extLst>
          </p:cNvPr>
          <p:cNvPicPr>
            <a:picLocks noChangeAspect="1"/>
          </p:cNvPicPr>
          <p:nvPr userDrawn="1"/>
        </p:nvPicPr>
        <p:blipFill>
          <a:blip r:embed="rId9"/>
          <a:stretch>
            <a:fillRect/>
          </a:stretch>
        </p:blipFill>
        <p:spPr>
          <a:xfrm>
            <a:off x="11437197" y="6356350"/>
            <a:ext cx="501650" cy="501650"/>
          </a:xfrm>
          <a:prstGeom prst="rect">
            <a:avLst/>
          </a:prstGeom>
        </p:spPr>
      </p:pic>
      <p:sp>
        <p:nvSpPr>
          <p:cNvPr id="5" name="Footer Placeholder 4">
            <a:extLst>
              <a:ext uri="{FF2B5EF4-FFF2-40B4-BE49-F238E27FC236}">
                <a16:creationId xmlns:a16="http://schemas.microsoft.com/office/drawing/2014/main" id="{E6B168A7-4574-4FD8-965C-D37BC160EC82}"/>
              </a:ext>
            </a:extLst>
          </p:cNvPr>
          <p:cNvSpPr>
            <a:spLocks noGrp="1"/>
          </p:cNvSpPr>
          <p:nvPr>
            <p:ph type="ftr" sz="quarter" idx="3"/>
          </p:nvPr>
        </p:nvSpPr>
        <p:spPr>
          <a:xfrm>
            <a:off x="1143958" y="6356350"/>
            <a:ext cx="4114800" cy="365125"/>
          </a:xfrm>
          <a:prstGeom prst="rect">
            <a:avLst/>
          </a:prstGeom>
        </p:spPr>
        <p:txBody>
          <a:bodyPr vert="horz" lIns="91440" tIns="45720" rIns="91440" bIns="45720" rtlCol="0" anchor="ctr"/>
          <a:lstStyle>
            <a:lvl1pPr algn="l">
              <a:defRPr sz="1000">
                <a:solidFill>
                  <a:schemeClr val="bg1"/>
                </a:solidFill>
              </a:defRPr>
            </a:lvl1pPr>
          </a:lstStyle>
          <a:p>
            <a:r>
              <a:rPr lang="en-US">
                <a:solidFill>
                  <a:prstClr val="white"/>
                </a:solidFill>
              </a:rPr>
              <a:t>Confidential – © 2019 Oracle Internal/Restricted/Highly Restricted</a:t>
            </a:r>
            <a:endParaRPr lang="en-US" dirty="0">
              <a:solidFill>
                <a:prstClr val="white"/>
              </a:solidFill>
            </a:endParaRPr>
          </a:p>
        </p:txBody>
      </p:sp>
    </p:spTree>
    <p:extLst>
      <p:ext uri="{BB962C8B-B14F-4D97-AF65-F5344CB8AC3E}">
        <p14:creationId xmlns:p14="http://schemas.microsoft.com/office/powerpoint/2010/main" val="680915615"/>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bg1"/>
          </a:solidFill>
          <a:latin typeface="Georgia" panose="02040502050405020303" pitchFamily="18" charset="0"/>
          <a:ea typeface="+mj-ea"/>
          <a:cs typeface="Oracle Sans" panose="020B05030202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bg1"/>
          </a:solidFill>
          <a:latin typeface="Oracle Sans Light" panose="020B0403020204020204" pitchFamily="34" charset="0"/>
          <a:ea typeface="+mn-ea"/>
          <a:cs typeface="Oracle Sans Light" panose="020B04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78.tiff"/><Relationship Id="rId2" Type="http://schemas.openxmlformats.org/officeDocument/2006/relationships/image" Target="../media/image77.tiff"/><Relationship Id="rId1" Type="http://schemas.openxmlformats.org/officeDocument/2006/relationships/slideLayout" Target="../slideLayouts/slideLayout16.xml"/><Relationship Id="rId4" Type="http://schemas.openxmlformats.org/officeDocument/2006/relationships/image" Target="../media/image79.jpe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2.xml"/><Relationship Id="rId7" Type="http://schemas.openxmlformats.org/officeDocument/2006/relationships/slideLayout" Target="../slideLayouts/slideLayout4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57.xml"/><Relationship Id="rId5" Type="http://schemas.openxmlformats.org/officeDocument/2006/relationships/image" Target="../media/image82.png"/><Relationship Id="rId4" Type="http://schemas.openxmlformats.org/officeDocument/2006/relationships/image" Target="../media/image81.png"/></Relationships>
</file>

<file path=ppt/slides/_rels/slide1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5.xml"/><Relationship Id="rId1" Type="http://schemas.openxmlformats.org/officeDocument/2006/relationships/slideLayout" Target="../slideLayouts/slideLayout57.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1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tags" Target="../tags/tag41.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notesSlide" Target="../notesSlides/notesSlide6.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slideLayout" Target="../slideLayouts/slideLayout26.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s>
</file>

<file path=ppt/slides/_rels/slide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57.xml"/><Relationship Id="rId5" Type="http://schemas.openxmlformats.org/officeDocument/2006/relationships/image" Target="../media/image95.png"/><Relationship Id="rId4" Type="http://schemas.openxmlformats.org/officeDocument/2006/relationships/image" Target="../media/image94.png"/></Relationships>
</file>

<file path=ppt/slides/_rels/slide17.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3" Type="http://schemas.openxmlformats.org/officeDocument/2006/relationships/image" Target="../media/image96.png"/><Relationship Id="rId7" Type="http://schemas.openxmlformats.org/officeDocument/2006/relationships/image" Target="../media/image99.png"/><Relationship Id="rId12" Type="http://schemas.openxmlformats.org/officeDocument/2006/relationships/image" Target="../media/image104.png"/><Relationship Id="rId2" Type="http://schemas.openxmlformats.org/officeDocument/2006/relationships/notesSlide" Target="../notesSlides/notesSlide8.xml"/><Relationship Id="rId1" Type="http://schemas.openxmlformats.org/officeDocument/2006/relationships/slideLayout" Target="../slideLayouts/slideLayout61.xml"/><Relationship Id="rId6" Type="http://schemas.microsoft.com/office/2007/relationships/hdphoto" Target="../media/hdphoto2.wdp"/><Relationship Id="rId11" Type="http://schemas.openxmlformats.org/officeDocument/2006/relationships/image" Target="../media/image103.png"/><Relationship Id="rId5" Type="http://schemas.openxmlformats.org/officeDocument/2006/relationships/image" Target="../media/image98.png"/><Relationship Id="rId15" Type="http://schemas.openxmlformats.org/officeDocument/2006/relationships/image" Target="../media/image107.png"/><Relationship Id="rId10" Type="http://schemas.openxmlformats.org/officeDocument/2006/relationships/image" Target="../media/image102.emf"/><Relationship Id="rId4" Type="http://schemas.openxmlformats.org/officeDocument/2006/relationships/image" Target="../media/image97.tiff"/><Relationship Id="rId9" Type="http://schemas.openxmlformats.org/officeDocument/2006/relationships/image" Target="../media/image101.svg"/><Relationship Id="rId14" Type="http://schemas.openxmlformats.org/officeDocument/2006/relationships/image" Target="../media/image106.png"/></Relationships>
</file>

<file path=ppt/slides/_rels/slide18.xml.rels><?xml version="1.0" encoding="UTF-8" standalone="yes"?>
<Relationships xmlns="http://schemas.openxmlformats.org/package/2006/relationships"><Relationship Id="rId3" Type="http://schemas.openxmlformats.org/officeDocument/2006/relationships/image" Target="../media/image109.tiff"/><Relationship Id="rId2" Type="http://schemas.openxmlformats.org/officeDocument/2006/relationships/image" Target="../media/image108.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41.xml"/><Relationship Id="rId5" Type="http://schemas.openxmlformats.org/officeDocument/2006/relationships/image" Target="../media/image112.png"/><Relationship Id="rId4" Type="http://schemas.openxmlformats.org/officeDocument/2006/relationships/image" Target="../media/image111.png"/></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111.png"/><Relationship Id="rId2" Type="http://schemas.openxmlformats.org/officeDocument/2006/relationships/notesSlide" Target="../notesSlides/notesSlide10.xml"/><Relationship Id="rId1" Type="http://schemas.openxmlformats.org/officeDocument/2006/relationships/slideLayout" Target="../slideLayouts/slideLayout41.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6.tiff"/><Relationship Id="rId2" Type="http://schemas.openxmlformats.org/officeDocument/2006/relationships/notesSlide" Target="../notesSlides/notesSlide11.xml"/><Relationship Id="rId1" Type="http://schemas.openxmlformats.org/officeDocument/2006/relationships/slideLayout" Target="../slideLayouts/slideLayout39.xml"/><Relationship Id="rId4" Type="http://schemas.openxmlformats.org/officeDocument/2006/relationships/image" Target="../media/image117.png"/></Relationships>
</file>

<file path=ppt/slides/_rels/slide23.xml.rels><?xml version="1.0" encoding="UTF-8" standalone="yes"?>
<Relationships xmlns="http://schemas.openxmlformats.org/package/2006/relationships"><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9" Type="http://schemas.openxmlformats.org/officeDocument/2006/relationships/image" Target="../media/image121.svg"/><Relationship Id="rId3" Type="http://schemas.openxmlformats.org/officeDocument/2006/relationships/tags" Target="../tags/tag66.xml"/><Relationship Id="rId21" Type="http://schemas.openxmlformats.org/officeDocument/2006/relationships/tags" Target="../tags/tag84.xml"/><Relationship Id="rId34" Type="http://schemas.openxmlformats.org/officeDocument/2006/relationships/slideLayout" Target="../slideLayouts/slideLayout27.xml"/><Relationship Id="rId42" Type="http://schemas.openxmlformats.org/officeDocument/2006/relationships/image" Target="../media/image123.png"/><Relationship Id="rId47" Type="http://schemas.microsoft.com/office/2007/relationships/hdphoto" Target="../media/hdphoto4.wdp"/><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image" Target="../media/image120.png"/><Relationship Id="rId46" Type="http://schemas.openxmlformats.org/officeDocument/2006/relationships/image" Target="../media/image127.png"/><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tags" Target="../tags/tag92.xml"/><Relationship Id="rId41" Type="http://schemas.microsoft.com/office/2007/relationships/hdphoto" Target="../media/hdphoto3.wdp"/><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37" Type="http://schemas.openxmlformats.org/officeDocument/2006/relationships/image" Target="../media/image119.svg"/><Relationship Id="rId40" Type="http://schemas.openxmlformats.org/officeDocument/2006/relationships/image" Target="../media/image122.png"/><Relationship Id="rId45" Type="http://schemas.openxmlformats.org/officeDocument/2006/relationships/image" Target="../media/image126.svg"/><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image" Target="../media/image118.png"/><Relationship Id="rId49" Type="http://schemas.openxmlformats.org/officeDocument/2006/relationships/image" Target="../media/image129.svg"/><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tags" Target="../tags/tag94.xml"/><Relationship Id="rId44" Type="http://schemas.openxmlformats.org/officeDocument/2006/relationships/image" Target="../media/image125.png"/><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notesSlide" Target="../notesSlides/notesSlide12.xml"/><Relationship Id="rId43" Type="http://schemas.openxmlformats.org/officeDocument/2006/relationships/image" Target="../media/image124.svg"/><Relationship Id="rId48" Type="http://schemas.openxmlformats.org/officeDocument/2006/relationships/image" Target="../media/image128.png"/><Relationship Id="rId8" Type="http://schemas.openxmlformats.org/officeDocument/2006/relationships/tags" Target="../tags/tag71.xml"/></Relationships>
</file>

<file path=ppt/slides/_rels/slide24.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svg"/><Relationship Id="rId2" Type="http://schemas.openxmlformats.org/officeDocument/2006/relationships/notesSlide" Target="../notesSlides/notesSlide13.xml"/><Relationship Id="rId1" Type="http://schemas.openxmlformats.org/officeDocument/2006/relationships/slideLayout" Target="../slideLayouts/slideLayout40.xml"/><Relationship Id="rId6" Type="http://schemas.openxmlformats.org/officeDocument/2006/relationships/image" Target="../media/image133.sv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svg"/><Relationship Id="rId4" Type="http://schemas.openxmlformats.org/officeDocument/2006/relationships/image" Target="../media/image131.svg"/><Relationship Id="rId9" Type="http://schemas.openxmlformats.org/officeDocument/2006/relationships/image" Target="../media/image13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5.xml"/><Relationship Id="rId1" Type="http://schemas.openxmlformats.org/officeDocument/2006/relationships/slideLayout" Target="../slideLayouts/slideLayout81.xml"/><Relationship Id="rId4" Type="http://schemas.openxmlformats.org/officeDocument/2006/relationships/image" Target="../media/image141.png"/></Relationships>
</file>

<file path=ppt/slides/_rels/slide2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3" Type="http://schemas.openxmlformats.org/officeDocument/2006/relationships/image" Target="../media/image143.tiff"/><Relationship Id="rId7" Type="http://schemas.openxmlformats.org/officeDocument/2006/relationships/image" Target="../media/image147.tiff"/><Relationship Id="rId2" Type="http://schemas.openxmlformats.org/officeDocument/2006/relationships/notesSlide" Target="../notesSlides/notesSlide17.xml"/><Relationship Id="rId1" Type="http://schemas.openxmlformats.org/officeDocument/2006/relationships/slideLayout" Target="../slideLayouts/slideLayout82.xml"/><Relationship Id="rId6" Type="http://schemas.openxmlformats.org/officeDocument/2006/relationships/image" Target="../media/image146.jpeg"/><Relationship Id="rId5" Type="http://schemas.openxmlformats.org/officeDocument/2006/relationships/image" Target="../media/image145.png"/><Relationship Id="rId4" Type="http://schemas.openxmlformats.org/officeDocument/2006/relationships/image" Target="../media/image144.png"/></Relationships>
</file>

<file path=ppt/slides/_rels/slide2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8.xml"/><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8.tiff"/><Relationship Id="rId2" Type="http://schemas.openxmlformats.org/officeDocument/2006/relationships/notesSlide" Target="../notesSlides/notesSlide19.xml"/><Relationship Id="rId1" Type="http://schemas.openxmlformats.org/officeDocument/2006/relationships/slideLayout" Target="../slideLayouts/slideLayout142.xml"/><Relationship Id="rId4" Type="http://schemas.openxmlformats.org/officeDocument/2006/relationships/image" Target="../media/image149.png"/></Relationships>
</file>

<file path=ppt/slides/_rels/slide3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75.jpeg"/><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8.tiff"/><Relationship Id="rId2" Type="http://schemas.openxmlformats.org/officeDocument/2006/relationships/image" Target="../media/image77.tiff"/><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2EF499-FB1B-4552-A9CA-A5561CDCA31E}"/>
              </a:ext>
            </a:extLst>
          </p:cNvPr>
          <p:cNvSpPr/>
          <p:nvPr/>
        </p:nvSpPr>
        <p:spPr bwMode="auto">
          <a:xfrm>
            <a:off x="0" y="0"/>
            <a:ext cx="12192000" cy="1200329"/>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fr-FR" dirty="0">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chemeClr val="tx1"/>
              </a:solidFill>
              <a:effectLst/>
              <a:latin typeface="Arial" charset="0"/>
            </a:endParaRPr>
          </a:p>
        </p:txBody>
      </p:sp>
      <p:sp>
        <p:nvSpPr>
          <p:cNvPr id="6" name="Rectangle : coins arrondis 5">
            <a:extLst>
              <a:ext uri="{FF2B5EF4-FFF2-40B4-BE49-F238E27FC236}">
                <a16:creationId xmlns:a16="http://schemas.microsoft.com/office/drawing/2014/main" id="{4345F08C-4E66-448A-93F6-D8E25F032A03}"/>
              </a:ext>
            </a:extLst>
          </p:cNvPr>
          <p:cNvSpPr/>
          <p:nvPr/>
        </p:nvSpPr>
        <p:spPr>
          <a:xfrm>
            <a:off x="701564" y="3437881"/>
            <a:ext cx="10811285" cy="2281983"/>
          </a:xfrm>
          <a:prstGeom prst="roundRect">
            <a:avLst/>
          </a:prstGeom>
          <a:solidFill>
            <a:srgbClr val="E3A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2" name="Titre 1">
            <a:extLst>
              <a:ext uri="{FF2B5EF4-FFF2-40B4-BE49-F238E27FC236}">
                <a16:creationId xmlns:a16="http://schemas.microsoft.com/office/drawing/2014/main" id="{F7C31269-C576-433F-9C80-42543B36935C}"/>
              </a:ext>
            </a:extLst>
          </p:cNvPr>
          <p:cNvSpPr>
            <a:spLocks noGrp="1"/>
          </p:cNvSpPr>
          <p:nvPr>
            <p:ph type="title" idx="4294967295"/>
          </p:nvPr>
        </p:nvSpPr>
        <p:spPr>
          <a:xfrm>
            <a:off x="679151" y="3437881"/>
            <a:ext cx="10811285" cy="2281983"/>
          </a:xfrm>
        </p:spPr>
        <p:txBody>
          <a:bodyPr>
            <a:noAutofit/>
          </a:bodyPr>
          <a:lstStyle/>
          <a:p>
            <a:pPr algn="ctr">
              <a:lnSpc>
                <a:spcPct val="100000"/>
              </a:lnSpc>
            </a:pPr>
            <a:r>
              <a:rPr lang="fr-FR" b="0" i="0" dirty="0">
                <a:effectLst/>
                <a:latin typeface="Avenir Next LT Pro Demi" panose="020B0704020202020204" pitchFamily="34" charset="0"/>
              </a:rPr>
              <a:t>Comment accélérer la valorisation de la donnée </a:t>
            </a:r>
            <a:br>
              <a:rPr lang="fr-FR" b="0" i="0" dirty="0">
                <a:effectLst/>
                <a:latin typeface="Avenir Next LT Pro Demi" panose="020B0704020202020204" pitchFamily="34" charset="0"/>
              </a:rPr>
            </a:br>
            <a:r>
              <a:rPr lang="fr-FR" b="0" i="0" dirty="0">
                <a:effectLst/>
                <a:latin typeface="Avenir Next LT Pro Demi" panose="020B0704020202020204" pitchFamily="34" charset="0"/>
              </a:rPr>
              <a:t>avec les solutions Oracle ?</a:t>
            </a:r>
            <a:br>
              <a:rPr lang="fr-FR" sz="1600" b="0" i="0" dirty="0">
                <a:solidFill>
                  <a:srgbClr val="5E5E5E"/>
                </a:solidFill>
                <a:effectLst/>
                <a:latin typeface="Avenir Next LT Pro Demi" panose="020B0704020202020204" pitchFamily="34" charset="0"/>
              </a:rPr>
            </a:br>
            <a:br>
              <a:rPr lang="fr-FR" sz="2800" b="0" i="0" dirty="0">
                <a:solidFill>
                  <a:schemeClr val="bg1"/>
                </a:solidFill>
                <a:effectLst/>
                <a:latin typeface="Avenir Next LT Pro Demi" panose="020B0704020202020204" pitchFamily="34" charset="0"/>
                <a:ea typeface="Cambria" panose="02040503050406030204" pitchFamily="18" charset="0"/>
              </a:rPr>
            </a:br>
            <a:r>
              <a:rPr lang="fr-FR" sz="2400" i="1" dirty="0">
                <a:solidFill>
                  <a:schemeClr val="bg1"/>
                </a:solidFill>
                <a:effectLst/>
                <a:latin typeface="Avenir Next LT Pro Demi" panose="020B0704020202020204" pitchFamily="34" charset="0"/>
                <a:ea typeface="Cambria" panose="02040503050406030204" pitchFamily="18" charset="0"/>
              </a:rPr>
              <a:t>Mercredi 22 juin 2022</a:t>
            </a:r>
            <a:endParaRPr lang="fr-FR" sz="2800" i="1" dirty="0">
              <a:solidFill>
                <a:schemeClr val="bg1"/>
              </a:solidFill>
              <a:latin typeface="Avenir Next LT Pro Demi" panose="020B0704020202020204" pitchFamily="34" charset="0"/>
              <a:ea typeface="Cambria" panose="02040503050406030204" pitchFamily="18" charset="0"/>
            </a:endParaRPr>
          </a:p>
        </p:txBody>
      </p:sp>
      <p:pic>
        <p:nvPicPr>
          <p:cNvPr id="5" name="Image 4">
            <a:extLst>
              <a:ext uri="{FF2B5EF4-FFF2-40B4-BE49-F238E27FC236}">
                <a16:creationId xmlns:a16="http://schemas.microsoft.com/office/drawing/2014/main" id="{9DED513F-56DC-70BA-1A00-C01070C3C1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3003" y="600164"/>
            <a:ext cx="6105993" cy="2053471"/>
          </a:xfrm>
          <a:prstGeom prst="rect">
            <a:avLst/>
          </a:prstGeom>
        </p:spPr>
      </p:pic>
    </p:spTree>
    <p:extLst>
      <p:ext uri="{BB962C8B-B14F-4D97-AF65-F5344CB8AC3E}">
        <p14:creationId xmlns:p14="http://schemas.microsoft.com/office/powerpoint/2010/main" val="17255921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6177D5C-223D-0B43-B640-89269EE2DD2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409"/>
            <a:ext cx="12192000" cy="278494"/>
          </a:xfrm>
          <a:prstGeom prst="rect">
            <a:avLst/>
          </a:prstGeom>
        </p:spPr>
      </p:pic>
      <p:pic>
        <p:nvPicPr>
          <p:cNvPr id="3" name="Image 2">
            <a:extLst>
              <a:ext uri="{FF2B5EF4-FFF2-40B4-BE49-F238E27FC236}">
                <a16:creationId xmlns:a16="http://schemas.microsoft.com/office/drawing/2014/main" id="{CEFC34E0-338C-6445-8CFD-13F91CDD7C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0"/>
            <a:ext cx="12192000" cy="275085"/>
          </a:xfrm>
          <a:prstGeom prst="rect">
            <a:avLst/>
          </a:prstGeom>
        </p:spPr>
      </p:pic>
      <p:sp>
        <p:nvSpPr>
          <p:cNvPr id="24" name="Rectangle 23">
            <a:extLst>
              <a:ext uri="{FF2B5EF4-FFF2-40B4-BE49-F238E27FC236}">
                <a16:creationId xmlns:a16="http://schemas.microsoft.com/office/drawing/2014/main" id="{1F625A92-BC59-0043-A46F-0C52A222F335}"/>
              </a:ext>
            </a:extLst>
          </p:cNvPr>
          <p:cNvSpPr/>
          <p:nvPr/>
        </p:nvSpPr>
        <p:spPr>
          <a:xfrm>
            <a:off x="978347" y="4436876"/>
            <a:ext cx="849926" cy="1188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Oracle Sans"/>
              <a:ea typeface="+mn-ea"/>
              <a:cs typeface="+mn-cs"/>
            </a:endParaRPr>
          </a:p>
        </p:txBody>
      </p:sp>
      <p:sp>
        <p:nvSpPr>
          <p:cNvPr id="11" name="Titre 6">
            <a:extLst>
              <a:ext uri="{FF2B5EF4-FFF2-40B4-BE49-F238E27FC236}">
                <a16:creationId xmlns:a16="http://schemas.microsoft.com/office/drawing/2014/main" id="{1C5D73C0-1A40-594E-8E5C-5698501532A6}"/>
              </a:ext>
            </a:extLst>
          </p:cNvPr>
          <p:cNvSpPr>
            <a:spLocks noGrp="1"/>
          </p:cNvSpPr>
          <p:nvPr>
            <p:ph type="title"/>
          </p:nvPr>
        </p:nvSpPr>
        <p:spPr>
          <a:xfrm>
            <a:off x="978347" y="4132073"/>
            <a:ext cx="3004914" cy="275085"/>
          </a:xfrm>
        </p:spPr>
        <p:txBody>
          <a:bodyPr/>
          <a:lstStyle/>
          <a:p>
            <a:r>
              <a:rPr lang="fr-FR" dirty="0"/>
              <a:t>Seif Abbassi</a:t>
            </a:r>
          </a:p>
        </p:txBody>
      </p:sp>
      <p:sp>
        <p:nvSpPr>
          <p:cNvPr id="13" name="Text Placeholder 3">
            <a:extLst>
              <a:ext uri="{FF2B5EF4-FFF2-40B4-BE49-F238E27FC236}">
                <a16:creationId xmlns:a16="http://schemas.microsoft.com/office/drawing/2014/main" id="{664B01FB-93E8-C647-9B61-FAB5DC140C40}"/>
              </a:ext>
            </a:extLst>
          </p:cNvPr>
          <p:cNvSpPr txBox="1">
            <a:spLocks/>
          </p:cNvSpPr>
          <p:nvPr/>
        </p:nvSpPr>
        <p:spPr>
          <a:xfrm>
            <a:off x="914492" y="4496312"/>
            <a:ext cx="4715818" cy="509949"/>
          </a:xfrm>
          <a:prstGeom prst="rect">
            <a:avLst/>
          </a:prstGeom>
        </p:spPr>
        <p:txBody>
          <a:bodyPr vert="horz" lIns="0" tIns="45720" rIns="0" bIns="45720" rtlCol="0" anchor="b">
            <a:noAutofit/>
          </a:bodyPr>
          <a:lstStyle>
            <a:lvl1pPr>
              <a:lnSpc>
                <a:spcPct val="90000"/>
              </a:lnSpc>
              <a:spcBef>
                <a:spcPct val="0"/>
              </a:spcBef>
              <a:buNone/>
              <a:defRPr lang="en-US" sz="2400" b="1" i="0" baseline="0">
                <a:solidFill>
                  <a:schemeClr val="bg1"/>
                </a:solidFill>
                <a:latin typeface="Oracle Sans" panose="020B0503020204020204" pitchFamily="34" charset="0"/>
                <a:cs typeface="Oracle Sans" panose="020B05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uLnTx/>
                <a:uFillTx/>
                <a:latin typeface="Oracle Sans" panose="020B0503020204020204" pitchFamily="34" charset="0"/>
                <a:ea typeface="+mn-ea"/>
              </a:rPr>
              <a:t> </a:t>
            </a:r>
            <a:r>
              <a:rPr kumimoji="0" lang="fr-FR" sz="1800" b="1" i="0" u="none" strike="noStrike" kern="1200" cap="none" spc="0" normalizeH="0" baseline="0" noProof="0" dirty="0">
                <a:ln>
                  <a:noFill/>
                </a:ln>
                <a:solidFill>
                  <a:prstClr val="white"/>
                </a:solidFill>
                <a:effectLst/>
                <a:uLnTx/>
                <a:uFillTx/>
                <a:latin typeface="Oracle Sans" panose="020B0503020204020204" pitchFamily="34" charset="0"/>
                <a:ea typeface="+mn-ea"/>
              </a:rPr>
              <a:t>Data Solution </a:t>
            </a:r>
            <a:r>
              <a:rPr kumimoji="0" lang="fr-FR" sz="1800" b="1" i="0" u="none" strike="noStrike" kern="1200" cap="none" spc="0" normalizeH="0" baseline="0" noProof="0" dirty="0" err="1">
                <a:ln>
                  <a:noFill/>
                </a:ln>
                <a:solidFill>
                  <a:prstClr val="white"/>
                </a:solidFill>
                <a:effectLst/>
                <a:uLnTx/>
                <a:uFillTx/>
                <a:latin typeface="Oracle Sans" panose="020B0503020204020204" pitchFamily="34" charset="0"/>
                <a:ea typeface="+mn-ea"/>
              </a:rPr>
              <a:t>engineer</a:t>
            </a:r>
            <a:r>
              <a:rPr kumimoji="0" lang="fr-FR" sz="1800" b="1" i="0" u="none" strike="noStrike" kern="1200" cap="none" spc="0" normalizeH="0" baseline="0" noProof="0" dirty="0">
                <a:ln>
                  <a:noFill/>
                </a:ln>
                <a:solidFill>
                  <a:prstClr val="white"/>
                </a:solidFill>
                <a:effectLst/>
                <a:uLnTx/>
                <a:uFillTx/>
                <a:latin typeface="Oracle Sans" panose="020B0503020204020204" pitchFamily="34" charset="0"/>
                <a:ea typeface="+mn-ea"/>
              </a:rPr>
              <a:t>,</a:t>
            </a:r>
            <a:r>
              <a:rPr kumimoji="0" lang="la-Latn" sz="1800" b="1" i="0" u="none" strike="noStrike" kern="1200" cap="none" spc="0" normalizeH="0" baseline="0" noProof="0" dirty="0">
                <a:ln>
                  <a:noFill/>
                </a:ln>
                <a:solidFill>
                  <a:prstClr val="white"/>
                </a:solidFill>
                <a:effectLst/>
                <a:uLnTx/>
                <a:uFillTx/>
                <a:latin typeface="Oracle Sans" panose="020B0503020204020204" pitchFamily="34" charset="0"/>
                <a:ea typeface="+mn-ea"/>
              </a:rPr>
              <a:t> </a:t>
            </a:r>
            <a:r>
              <a:rPr kumimoji="0" lang="fr-FR" sz="1800" b="1" i="0" u="none" strike="noStrike" kern="1200" cap="none" spc="0" normalizeH="0" baseline="0" noProof="0" dirty="0">
                <a:ln>
                  <a:noFill/>
                </a:ln>
                <a:solidFill>
                  <a:prstClr val="white"/>
                </a:solidFill>
                <a:effectLst/>
                <a:uLnTx/>
                <a:uFillTx/>
                <a:latin typeface="Oracle Sans" panose="020B0503020204020204" pitchFamily="34" charset="0"/>
                <a:ea typeface="+mn-ea"/>
              </a:rPr>
              <a:t>Oracle</a:t>
            </a:r>
            <a:endParaRPr kumimoji="0" lang="it-IT" sz="1800" b="1" i="0" u="none" strike="noStrike" kern="1200" cap="none" spc="0" normalizeH="0" baseline="0" noProof="0" dirty="0">
              <a:ln>
                <a:noFill/>
              </a:ln>
              <a:solidFill>
                <a:prstClr val="white"/>
              </a:solidFill>
              <a:effectLst/>
              <a:uLnTx/>
              <a:uFillTx/>
              <a:latin typeface="Oracle Sans" panose="020B0503020204020204" pitchFamily="34" charset="0"/>
              <a:ea typeface="+mn-ea"/>
            </a:endParaRPr>
          </a:p>
        </p:txBody>
      </p:sp>
      <p:pic>
        <p:nvPicPr>
          <p:cNvPr id="9" name="Picture 4" descr="Webinar : accélerer vos projets Data">
            <a:extLst>
              <a:ext uri="{FF2B5EF4-FFF2-40B4-BE49-F238E27FC236}">
                <a16:creationId xmlns:a16="http://schemas.microsoft.com/office/drawing/2014/main" id="{FE192833-6BCC-4D10-9D5C-9B88B36ECC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8347" y="1956937"/>
            <a:ext cx="1856355" cy="1882712"/>
          </a:xfrm>
          <a:prstGeom prst="flowChartAlternateProcess">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47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688C2-FDB2-A94A-BDBA-B112158CFFB9}"/>
              </a:ext>
            </a:extLst>
          </p:cNvPr>
          <p:cNvSpPr>
            <a:spLocks noGrp="1"/>
          </p:cNvSpPr>
          <p:nvPr>
            <p:ph type="title"/>
            <p:custDataLst>
              <p:tags r:id="rId1"/>
            </p:custDataLst>
          </p:nvPr>
        </p:nvSpPr>
        <p:spPr>
          <a:xfrm>
            <a:off x="768875" y="182403"/>
            <a:ext cx="10671048" cy="822960"/>
          </a:xfrm>
        </p:spPr>
        <p:txBody>
          <a:bodyPr/>
          <a:lstStyle/>
          <a:p>
            <a:r>
              <a:rPr lang="en-US" dirty="0"/>
              <a:t>Les challenges des </a:t>
            </a:r>
            <a:r>
              <a:rPr lang="fr-FR" dirty="0"/>
              <a:t>projets</a:t>
            </a:r>
            <a:r>
              <a:rPr lang="en-US" dirty="0"/>
              <a:t> data</a:t>
            </a:r>
          </a:p>
        </p:txBody>
      </p:sp>
      <p:sp>
        <p:nvSpPr>
          <p:cNvPr id="5" name="Footer Placeholder 4">
            <a:extLst>
              <a:ext uri="{FF2B5EF4-FFF2-40B4-BE49-F238E27FC236}">
                <a16:creationId xmlns:a16="http://schemas.microsoft.com/office/drawing/2014/main" id="{66564012-B7B5-E24D-8B6A-F7BC33FDD663}"/>
              </a:ext>
            </a:extLst>
          </p:cNvPr>
          <p:cNvSpPr>
            <a:spLocks noGrp="1"/>
          </p:cNvSpPr>
          <p:nvPr>
            <p:ph type="ftr" sz="quarter" idx="11"/>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panose="020B0503020204020204" pitchFamily="34" charset="0"/>
                <a:cs typeface="Arial"/>
              </a:rPr>
              <a:t>Copyright © 2020, Oracle and/or its affiliates. All rights reserved.</a:t>
            </a:r>
          </a:p>
        </p:txBody>
      </p:sp>
      <p:sp>
        <p:nvSpPr>
          <p:cNvPr id="6" name="Slide Number Placeholder 5">
            <a:extLst>
              <a:ext uri="{FF2B5EF4-FFF2-40B4-BE49-F238E27FC236}">
                <a16:creationId xmlns:a16="http://schemas.microsoft.com/office/drawing/2014/main" id="{A834D0C0-E491-364A-88B2-E19D31620D72}"/>
              </a:ext>
            </a:extLst>
          </p:cNvPr>
          <p:cNvSpPr>
            <a:spLocks noGrp="1"/>
          </p:cNvSpPr>
          <p:nvPr>
            <p:ph type="sldNum" sz="quarter" idx="12"/>
            <p:custDataLst>
              <p:tags r:id="rId3"/>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panose="020B0503020204020204" pitchFamily="34" charset="0"/>
                <a:cs typeface="Arial"/>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8B8580"/>
              </a:solidFill>
              <a:effectLst/>
              <a:uLnTx/>
              <a:uFillTx/>
              <a:latin typeface="Oracle Sans" panose="020B0503020204020204" pitchFamily="34" charset="0"/>
              <a:cs typeface="Arial"/>
            </a:endParaRPr>
          </a:p>
        </p:txBody>
      </p:sp>
      <p:sp>
        <p:nvSpPr>
          <p:cNvPr id="44" name="Freeform 43">
            <a:extLst>
              <a:ext uri="{FF2B5EF4-FFF2-40B4-BE49-F238E27FC236}">
                <a16:creationId xmlns:a16="http://schemas.microsoft.com/office/drawing/2014/main" id="{EB2CEE5D-F16A-6B45-93EB-4970031301F8}"/>
              </a:ext>
            </a:extLst>
          </p:cNvPr>
          <p:cNvSpPr>
            <a:spLocks noChangeAspect="1"/>
          </p:cNvSpPr>
          <p:nvPr>
            <p:custDataLst>
              <p:tags r:id="rId4"/>
            </p:custDataLst>
          </p:nvPr>
        </p:nvSpPr>
        <p:spPr>
          <a:xfrm>
            <a:off x="4933334" y="2298859"/>
            <a:ext cx="2325331" cy="2249531"/>
          </a:xfrm>
          <a:custGeom>
            <a:avLst/>
            <a:gdLst>
              <a:gd name="connsiteX0" fmla="*/ 42235 w 4627793"/>
              <a:gd name="connsiteY0" fmla="*/ 1614032 h 4476934"/>
              <a:gd name="connsiteX1" fmla="*/ 1287940 w 4627793"/>
              <a:gd name="connsiteY1" fmla="*/ 249058 h 4476934"/>
              <a:gd name="connsiteX2" fmla="*/ 3183001 w 4627793"/>
              <a:gd name="connsiteY2" fmla="*/ 143040 h 4476934"/>
              <a:gd name="connsiteX3" fmla="*/ 4600984 w 4627793"/>
              <a:gd name="connsiteY3" fmla="*/ 1773058 h 4476934"/>
              <a:gd name="connsiteX4" fmla="*/ 4150409 w 4627793"/>
              <a:gd name="connsiteY4" fmla="*/ 3641614 h 4476934"/>
              <a:gd name="connsiteX5" fmla="*/ 2281853 w 4627793"/>
              <a:gd name="connsiteY5" fmla="*/ 4476501 h 4476934"/>
              <a:gd name="connsiteX6" fmla="*/ 479557 w 4627793"/>
              <a:gd name="connsiteY6" fmla="*/ 3721127 h 4476934"/>
              <a:gd name="connsiteX7" fmla="*/ 42235 w 4627793"/>
              <a:gd name="connsiteY7" fmla="*/ 1614032 h 447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7793" h="4476934">
                <a:moveTo>
                  <a:pt x="42235" y="1614032"/>
                </a:moveTo>
                <a:cubicBezTo>
                  <a:pt x="176965" y="1035354"/>
                  <a:pt x="764479" y="494223"/>
                  <a:pt x="1287940" y="249058"/>
                </a:cubicBezTo>
                <a:cubicBezTo>
                  <a:pt x="1811401" y="3893"/>
                  <a:pt x="2630827" y="-110960"/>
                  <a:pt x="3183001" y="143040"/>
                </a:cubicBezTo>
                <a:cubicBezTo>
                  <a:pt x="3735175" y="397040"/>
                  <a:pt x="4506010" y="885163"/>
                  <a:pt x="4600984" y="1773058"/>
                </a:cubicBezTo>
                <a:cubicBezTo>
                  <a:pt x="4695958" y="2660953"/>
                  <a:pt x="4536931" y="3191040"/>
                  <a:pt x="4150409" y="3641614"/>
                </a:cubicBezTo>
                <a:cubicBezTo>
                  <a:pt x="3763887" y="4092188"/>
                  <a:pt x="2893662" y="4463249"/>
                  <a:pt x="2281853" y="4476501"/>
                </a:cubicBezTo>
                <a:cubicBezTo>
                  <a:pt x="1670044" y="4489753"/>
                  <a:pt x="852827" y="4198205"/>
                  <a:pt x="479557" y="3721127"/>
                </a:cubicBezTo>
                <a:cubicBezTo>
                  <a:pt x="106287" y="3244049"/>
                  <a:pt x="-92495" y="2192710"/>
                  <a:pt x="42235" y="1614032"/>
                </a:cubicBezTo>
                <a:close/>
              </a:path>
            </a:pathLst>
          </a:custGeom>
          <a:solidFill>
            <a:srgbClr val="2C59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CFBFA"/>
                </a:solidFill>
                <a:effectLst/>
                <a:uLnTx/>
                <a:uFillTx/>
                <a:latin typeface="Oracle Sans"/>
                <a:cs typeface="Arial"/>
              </a:rPr>
              <a:t>Exploitation et </a:t>
            </a:r>
            <a:r>
              <a:rPr kumimoji="0" lang="fr-FR" sz="1800" b="0" i="0" u="none" strike="noStrike" kern="1200" cap="none" spc="0" normalizeH="0" baseline="0" noProof="0" dirty="0">
                <a:ln>
                  <a:noFill/>
                </a:ln>
                <a:solidFill>
                  <a:srgbClr val="FCFBFA"/>
                </a:solidFill>
                <a:effectLst/>
                <a:uLnTx/>
                <a:uFillTx/>
                <a:latin typeface="Oracle Sans"/>
                <a:cs typeface="Arial"/>
              </a:rPr>
              <a:t>évolution</a:t>
            </a:r>
          </a:p>
        </p:txBody>
      </p:sp>
      <p:sp>
        <p:nvSpPr>
          <p:cNvPr id="46" name="Freeform 45">
            <a:extLst>
              <a:ext uri="{FF2B5EF4-FFF2-40B4-BE49-F238E27FC236}">
                <a16:creationId xmlns:a16="http://schemas.microsoft.com/office/drawing/2014/main" id="{ED3B2998-3995-0945-B3FB-409F9A412471}"/>
              </a:ext>
            </a:extLst>
          </p:cNvPr>
          <p:cNvSpPr>
            <a:spLocks noChangeAspect="1"/>
          </p:cNvSpPr>
          <p:nvPr>
            <p:custDataLst>
              <p:tags r:id="rId5"/>
            </p:custDataLst>
          </p:nvPr>
        </p:nvSpPr>
        <p:spPr>
          <a:xfrm>
            <a:off x="888459" y="2298860"/>
            <a:ext cx="2325331" cy="2249531"/>
          </a:xfrm>
          <a:custGeom>
            <a:avLst/>
            <a:gdLst>
              <a:gd name="connsiteX0" fmla="*/ 42235 w 4627793"/>
              <a:gd name="connsiteY0" fmla="*/ 1614032 h 4476934"/>
              <a:gd name="connsiteX1" fmla="*/ 1287940 w 4627793"/>
              <a:gd name="connsiteY1" fmla="*/ 249058 h 4476934"/>
              <a:gd name="connsiteX2" fmla="*/ 3183001 w 4627793"/>
              <a:gd name="connsiteY2" fmla="*/ 143040 h 4476934"/>
              <a:gd name="connsiteX3" fmla="*/ 4600984 w 4627793"/>
              <a:gd name="connsiteY3" fmla="*/ 1773058 h 4476934"/>
              <a:gd name="connsiteX4" fmla="*/ 4150409 w 4627793"/>
              <a:gd name="connsiteY4" fmla="*/ 3641614 h 4476934"/>
              <a:gd name="connsiteX5" fmla="*/ 2281853 w 4627793"/>
              <a:gd name="connsiteY5" fmla="*/ 4476501 h 4476934"/>
              <a:gd name="connsiteX6" fmla="*/ 479557 w 4627793"/>
              <a:gd name="connsiteY6" fmla="*/ 3721127 h 4476934"/>
              <a:gd name="connsiteX7" fmla="*/ 42235 w 4627793"/>
              <a:gd name="connsiteY7" fmla="*/ 1614032 h 447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7793" h="4476934">
                <a:moveTo>
                  <a:pt x="42235" y="1614032"/>
                </a:moveTo>
                <a:cubicBezTo>
                  <a:pt x="176965" y="1035354"/>
                  <a:pt x="764479" y="494223"/>
                  <a:pt x="1287940" y="249058"/>
                </a:cubicBezTo>
                <a:cubicBezTo>
                  <a:pt x="1811401" y="3893"/>
                  <a:pt x="2630827" y="-110960"/>
                  <a:pt x="3183001" y="143040"/>
                </a:cubicBezTo>
                <a:cubicBezTo>
                  <a:pt x="3735175" y="397040"/>
                  <a:pt x="4506010" y="885163"/>
                  <a:pt x="4600984" y="1773058"/>
                </a:cubicBezTo>
                <a:cubicBezTo>
                  <a:pt x="4695958" y="2660953"/>
                  <a:pt x="4536931" y="3191040"/>
                  <a:pt x="4150409" y="3641614"/>
                </a:cubicBezTo>
                <a:cubicBezTo>
                  <a:pt x="3763887" y="4092188"/>
                  <a:pt x="2893662" y="4463249"/>
                  <a:pt x="2281853" y="4476501"/>
                </a:cubicBezTo>
                <a:cubicBezTo>
                  <a:pt x="1670044" y="4489753"/>
                  <a:pt x="852827" y="4198205"/>
                  <a:pt x="479557" y="3721127"/>
                </a:cubicBezTo>
                <a:cubicBezTo>
                  <a:pt x="106287" y="3244049"/>
                  <a:pt x="-92495" y="2192710"/>
                  <a:pt x="42235" y="1614032"/>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CFBFA"/>
                </a:solidFill>
                <a:effectLst/>
                <a:uLnTx/>
                <a:uFillTx/>
                <a:latin typeface="Oracle Sans"/>
                <a:cs typeface="Arial"/>
              </a:rPr>
              <a:t>Consolidation et gouvernance  des données</a:t>
            </a:r>
          </a:p>
        </p:txBody>
      </p:sp>
      <p:sp>
        <p:nvSpPr>
          <p:cNvPr id="47" name="Freeform 46">
            <a:extLst>
              <a:ext uri="{FF2B5EF4-FFF2-40B4-BE49-F238E27FC236}">
                <a16:creationId xmlns:a16="http://schemas.microsoft.com/office/drawing/2014/main" id="{81647F72-4AE1-7748-833D-F606F96AB682}"/>
              </a:ext>
            </a:extLst>
          </p:cNvPr>
          <p:cNvSpPr>
            <a:spLocks noChangeAspect="1"/>
          </p:cNvSpPr>
          <p:nvPr>
            <p:custDataLst>
              <p:tags r:id="rId6"/>
            </p:custDataLst>
          </p:nvPr>
        </p:nvSpPr>
        <p:spPr>
          <a:xfrm>
            <a:off x="8783354" y="2298859"/>
            <a:ext cx="2325331" cy="2249531"/>
          </a:xfrm>
          <a:custGeom>
            <a:avLst/>
            <a:gdLst>
              <a:gd name="connsiteX0" fmla="*/ 42235 w 4627793"/>
              <a:gd name="connsiteY0" fmla="*/ 1614032 h 4476934"/>
              <a:gd name="connsiteX1" fmla="*/ 1287940 w 4627793"/>
              <a:gd name="connsiteY1" fmla="*/ 249058 h 4476934"/>
              <a:gd name="connsiteX2" fmla="*/ 3183001 w 4627793"/>
              <a:gd name="connsiteY2" fmla="*/ 143040 h 4476934"/>
              <a:gd name="connsiteX3" fmla="*/ 4600984 w 4627793"/>
              <a:gd name="connsiteY3" fmla="*/ 1773058 h 4476934"/>
              <a:gd name="connsiteX4" fmla="*/ 4150409 w 4627793"/>
              <a:gd name="connsiteY4" fmla="*/ 3641614 h 4476934"/>
              <a:gd name="connsiteX5" fmla="*/ 2281853 w 4627793"/>
              <a:gd name="connsiteY5" fmla="*/ 4476501 h 4476934"/>
              <a:gd name="connsiteX6" fmla="*/ 479557 w 4627793"/>
              <a:gd name="connsiteY6" fmla="*/ 3721127 h 4476934"/>
              <a:gd name="connsiteX7" fmla="*/ 42235 w 4627793"/>
              <a:gd name="connsiteY7" fmla="*/ 1614032 h 447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7793" h="4476934">
                <a:moveTo>
                  <a:pt x="42235" y="1614032"/>
                </a:moveTo>
                <a:cubicBezTo>
                  <a:pt x="176965" y="1035354"/>
                  <a:pt x="764479" y="494223"/>
                  <a:pt x="1287940" y="249058"/>
                </a:cubicBezTo>
                <a:cubicBezTo>
                  <a:pt x="1811401" y="3893"/>
                  <a:pt x="2630827" y="-110960"/>
                  <a:pt x="3183001" y="143040"/>
                </a:cubicBezTo>
                <a:cubicBezTo>
                  <a:pt x="3735175" y="397040"/>
                  <a:pt x="4506010" y="885163"/>
                  <a:pt x="4600984" y="1773058"/>
                </a:cubicBezTo>
                <a:cubicBezTo>
                  <a:pt x="4695958" y="2660953"/>
                  <a:pt x="4536931" y="3191040"/>
                  <a:pt x="4150409" y="3641614"/>
                </a:cubicBezTo>
                <a:cubicBezTo>
                  <a:pt x="3763887" y="4092188"/>
                  <a:pt x="2893662" y="4463249"/>
                  <a:pt x="2281853" y="4476501"/>
                </a:cubicBezTo>
                <a:cubicBezTo>
                  <a:pt x="1670044" y="4489753"/>
                  <a:pt x="852827" y="4198205"/>
                  <a:pt x="479557" y="3721127"/>
                </a:cubicBezTo>
                <a:cubicBezTo>
                  <a:pt x="106287" y="3244049"/>
                  <a:pt x="-92495" y="2192710"/>
                  <a:pt x="42235" y="1614032"/>
                </a:cubicBezTo>
                <a:close/>
              </a:path>
            </a:pathLst>
          </a:cu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CFBFA"/>
                </a:solidFill>
                <a:effectLst/>
                <a:uLnTx/>
                <a:uFillTx/>
                <a:latin typeface="Oracle Sans"/>
                <a:cs typeface="Arial"/>
              </a:rPr>
              <a:t>Adoption des utilisateurs finaux</a:t>
            </a:r>
          </a:p>
        </p:txBody>
      </p:sp>
      <p:sp>
        <p:nvSpPr>
          <p:cNvPr id="2" name="Rectangle 1">
            <a:extLst>
              <a:ext uri="{FF2B5EF4-FFF2-40B4-BE49-F238E27FC236}">
                <a16:creationId xmlns:a16="http://schemas.microsoft.com/office/drawing/2014/main" id="{30265054-ED43-4CF7-A34D-172ACB3C047A}"/>
              </a:ext>
            </a:extLst>
          </p:cNvPr>
          <p:cNvSpPr/>
          <p:nvPr/>
        </p:nvSpPr>
        <p:spPr>
          <a:xfrm>
            <a:off x="2890698" y="4932026"/>
            <a:ext cx="652941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CFBFA"/>
                </a:solidFill>
                <a:effectLst/>
                <a:uLnTx/>
                <a:uFillTx/>
                <a:latin typeface="Oracle Sans"/>
                <a:cs typeface="Arial"/>
              </a:rPr>
              <a:t>La plateforme technologique ne doit pas être un frein de plus</a:t>
            </a:r>
          </a:p>
        </p:txBody>
      </p:sp>
    </p:spTree>
    <p:extLst>
      <p:ext uri="{BB962C8B-B14F-4D97-AF65-F5344CB8AC3E}">
        <p14:creationId xmlns:p14="http://schemas.microsoft.com/office/powerpoint/2010/main" val="99445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195CB-E8A7-4ECA-88CB-06D91E3EDFDF}"/>
              </a:ext>
            </a:extLst>
          </p:cNvPr>
          <p:cNvSpPr>
            <a:spLocks noGrp="1"/>
          </p:cNvSpPr>
          <p:nvPr>
            <p:ph type="title"/>
          </p:nvPr>
        </p:nvSpPr>
        <p:spPr>
          <a:xfrm>
            <a:off x="838199" y="365125"/>
            <a:ext cx="10747159" cy="1325563"/>
          </a:xfrm>
        </p:spPr>
        <p:txBody>
          <a:bodyPr/>
          <a:lstStyle/>
          <a:p>
            <a:r>
              <a:rPr lang="fr-FR" dirty="0"/>
              <a:t>C’est quoi une « modern data platform »? </a:t>
            </a:r>
          </a:p>
        </p:txBody>
      </p:sp>
      <p:sp>
        <p:nvSpPr>
          <p:cNvPr id="4" name="Footer Placeholder 3">
            <a:extLst>
              <a:ext uri="{FF2B5EF4-FFF2-40B4-BE49-F238E27FC236}">
                <a16:creationId xmlns:a16="http://schemas.microsoft.com/office/drawing/2014/main" id="{3FF9A202-C347-421E-A784-0CB091A15EC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23736">
                    <a:tint val="75000"/>
                  </a:srgbClr>
                </a:solidFill>
                <a:effectLst/>
                <a:uLnTx/>
                <a:uFillTx/>
                <a:latin typeface="Calibri" panose="020F0502020204030204"/>
                <a:ea typeface="+mn-ea"/>
                <a:cs typeface="+mn-cs"/>
              </a:rPr>
              <a:t>Copyright © 2020 Oracle and/or its affiliates.</a:t>
            </a:r>
          </a:p>
        </p:txBody>
      </p:sp>
      <p:sp>
        <p:nvSpPr>
          <p:cNvPr id="6" name="Content Placeholder 2">
            <a:extLst>
              <a:ext uri="{FF2B5EF4-FFF2-40B4-BE49-F238E27FC236}">
                <a16:creationId xmlns:a16="http://schemas.microsoft.com/office/drawing/2014/main" id="{C56CE0AE-FB4A-40A7-A0E0-CC196F82E33F}"/>
              </a:ext>
            </a:extLst>
          </p:cNvPr>
          <p:cNvSpPr txBox="1">
            <a:spLocks/>
          </p:cNvSpPr>
          <p:nvPr/>
        </p:nvSpPr>
        <p:spPr>
          <a:xfrm>
            <a:off x="4080944" y="3881582"/>
            <a:ext cx="4505960" cy="2146935"/>
          </a:xfrm>
          <a:prstGeom prst="rect">
            <a:avLst/>
          </a:prstGeom>
        </p:spPr>
        <p:txBody>
          <a:bodyPr vert="horz" lIns="91440" tIns="45720" rIns="91440" bIns="45720" rtlCol="0">
            <a:normAutofit/>
          </a:bodyPr>
          <a:lstStyle>
            <a:lvl1pPr indent="0">
              <a:lnSpc>
                <a:spcPct val="90000"/>
              </a:lnSpc>
              <a:spcBef>
                <a:spcPts val="1000"/>
              </a:spcBef>
              <a:buFont typeface="Arial" panose="020B0604020202020204" pitchFamily="34" charset="0"/>
              <a:buNone/>
              <a:defRPr sz="2800" b="0" i="0">
                <a:solidFill>
                  <a:schemeClr val="bg1"/>
                </a:solidFill>
                <a:latin typeface="Oracle Sans Light" panose="020B0403020204020204" pitchFamily="34" charset="0"/>
                <a:cs typeface="Oracle Sans Light" panose="020B0403020204020204" pitchFamily="34" charset="0"/>
              </a:defRPr>
            </a:lvl1pPr>
            <a:lvl2pPr lvl="1" indent="0">
              <a:lnSpc>
                <a:spcPct val="90000"/>
              </a:lnSpc>
              <a:spcBef>
                <a:spcPts val="500"/>
              </a:spcBef>
              <a:buFont typeface="Arial" panose="020B0604020202020204" pitchFamily="34" charset="0"/>
              <a:buNone/>
              <a:defRPr sz="2400" b="0" i="0">
                <a:solidFill>
                  <a:schemeClr val="bg1"/>
                </a:solidFill>
                <a:latin typeface="Oracle Sans Light" panose="020B0403020204020204" pitchFamily="34" charset="0"/>
                <a:cs typeface="Oracle Sans Light" panose="020B0403020204020204" pitchFamily="34" charset="0"/>
              </a:defRPr>
            </a:lvl2pPr>
            <a:lvl3pPr indent="0">
              <a:lnSpc>
                <a:spcPct val="90000"/>
              </a:lnSpc>
              <a:spcBef>
                <a:spcPts val="500"/>
              </a:spcBef>
              <a:buFont typeface="Arial" panose="020B0604020202020204" pitchFamily="34" charset="0"/>
              <a:buNone/>
              <a:defRPr sz="2000" b="0" i="0">
                <a:solidFill>
                  <a:schemeClr val="bg1"/>
                </a:solidFill>
                <a:latin typeface="Oracle Sans Light" panose="020B0403020204020204" pitchFamily="34" charset="0"/>
                <a:cs typeface="Oracle Sans Light" panose="020B0403020204020204" pitchFamily="34" charset="0"/>
              </a:defRPr>
            </a:lvl3pPr>
            <a:lvl4pPr indent="0">
              <a:lnSpc>
                <a:spcPct val="90000"/>
              </a:lnSpc>
              <a:spcBef>
                <a:spcPts val="500"/>
              </a:spcBef>
              <a:buFont typeface="Arial" panose="020B0604020202020204" pitchFamily="34" charset="0"/>
              <a:buNone/>
              <a:defRPr b="0" i="0">
                <a:solidFill>
                  <a:schemeClr val="bg1"/>
                </a:solidFill>
                <a:latin typeface="Oracle Sans Light" panose="020B0403020204020204" pitchFamily="34" charset="0"/>
                <a:cs typeface="Oracle Sans Light" panose="020B0403020204020204" pitchFamily="34" charset="0"/>
              </a:defRPr>
            </a:lvl4pPr>
            <a:lvl5pPr indent="0">
              <a:lnSpc>
                <a:spcPct val="90000"/>
              </a:lnSpc>
              <a:spcBef>
                <a:spcPts val="500"/>
              </a:spcBef>
              <a:buFont typeface="Arial" panose="020B0604020202020204" pitchFamily="34" charset="0"/>
              <a:buNone/>
              <a:defRPr b="0" i="0">
                <a:solidFill>
                  <a:schemeClr val="bg1"/>
                </a:solidFill>
                <a:latin typeface="Oracle Sans Light" panose="020B0403020204020204" pitchFamily="34" charset="0"/>
                <a:cs typeface="Oracle Sans Light" panose="020B04030202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ptimisé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Scalabl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rientée servic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Extensibl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1" i="0" u="none" strike="noStrike" kern="1200" cap="none" spc="0" normalizeH="0" baseline="0" noProof="0" dirty="0" err="1">
                <a:ln>
                  <a:noFill/>
                </a:ln>
                <a:solidFill>
                  <a:srgbClr val="FFFFFF"/>
                </a:solidFill>
                <a:effectLst/>
                <a:uLnTx/>
                <a:uFillTx/>
                <a:latin typeface="Oracle Sans Light" panose="020B0403020204020204" pitchFamily="34" charset="0"/>
                <a:ea typeface="+mn-ea"/>
                <a:cs typeface="Oracle Sans Light" panose="020B0403020204020204" pitchFamily="34" charset="0"/>
              </a:rPr>
              <a:t>Cost</a:t>
            </a: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efficient</a:t>
            </a:r>
          </a:p>
        </p:txBody>
      </p:sp>
      <p:sp>
        <p:nvSpPr>
          <p:cNvPr id="7" name="Content Placeholder 2">
            <a:extLst>
              <a:ext uri="{FF2B5EF4-FFF2-40B4-BE49-F238E27FC236}">
                <a16:creationId xmlns:a16="http://schemas.microsoft.com/office/drawing/2014/main" id="{2A0E2A4E-1D4D-458D-B885-33E5ACAB1E14}"/>
              </a:ext>
            </a:extLst>
          </p:cNvPr>
          <p:cNvSpPr txBox="1">
            <a:spLocks/>
          </p:cNvSpPr>
          <p:nvPr/>
        </p:nvSpPr>
        <p:spPr>
          <a:xfrm>
            <a:off x="8847755" y="3849057"/>
            <a:ext cx="2737604" cy="2146935"/>
          </a:xfrm>
          <a:prstGeom prst="rect">
            <a:avLst/>
          </a:prstGeom>
        </p:spPr>
        <p:txBody>
          <a:bodyPr vert="horz" lIns="91440" tIns="45720" rIns="91440" bIns="45720" rtlCol="0">
            <a:normAutofit/>
          </a:bodyPr>
          <a:lstStyle>
            <a:defPPr>
              <a:defRPr lang="en-US"/>
            </a:defPPr>
            <a:lvl1pPr indent="0">
              <a:lnSpc>
                <a:spcPct val="90000"/>
              </a:lnSpc>
              <a:spcBef>
                <a:spcPts val="1000"/>
              </a:spcBef>
              <a:buFont typeface="Arial" panose="020B0604020202020204" pitchFamily="34" charset="0"/>
              <a:buNone/>
              <a:defRPr sz="2800" b="0" i="0">
                <a:solidFill>
                  <a:schemeClr val="bg1"/>
                </a:solidFill>
                <a:latin typeface="Oracle Sans Light" panose="020B0403020204020204" pitchFamily="34" charset="0"/>
                <a:cs typeface="Oracle Sans Light" panose="020B0403020204020204" pitchFamily="34" charset="0"/>
              </a:defRPr>
            </a:lvl1pPr>
            <a:lvl2pPr lvl="1" indent="0">
              <a:lnSpc>
                <a:spcPct val="90000"/>
              </a:lnSpc>
              <a:spcBef>
                <a:spcPts val="500"/>
              </a:spcBef>
              <a:buFont typeface="Arial" panose="020B0604020202020204" pitchFamily="34" charset="0"/>
              <a:buNone/>
              <a:defRPr sz="2400" b="0" i="0">
                <a:solidFill>
                  <a:schemeClr val="bg1"/>
                </a:solidFill>
                <a:latin typeface="Oracle Sans Light" panose="020B0403020204020204" pitchFamily="34" charset="0"/>
                <a:cs typeface="Oracle Sans Light" panose="020B0403020204020204" pitchFamily="34" charset="0"/>
              </a:defRPr>
            </a:lvl2pPr>
            <a:lvl3pPr indent="0">
              <a:lnSpc>
                <a:spcPct val="90000"/>
              </a:lnSpc>
              <a:spcBef>
                <a:spcPts val="500"/>
              </a:spcBef>
              <a:buFont typeface="Arial" panose="020B0604020202020204" pitchFamily="34" charset="0"/>
              <a:buNone/>
              <a:defRPr sz="2000" b="0" i="0">
                <a:solidFill>
                  <a:schemeClr val="bg1"/>
                </a:solidFill>
                <a:latin typeface="Oracle Sans Light" panose="020B0403020204020204" pitchFamily="34" charset="0"/>
                <a:cs typeface="Oracle Sans Light" panose="020B0403020204020204" pitchFamily="34" charset="0"/>
              </a:defRPr>
            </a:lvl3pPr>
            <a:lvl4pPr indent="0">
              <a:lnSpc>
                <a:spcPct val="90000"/>
              </a:lnSpc>
              <a:spcBef>
                <a:spcPts val="500"/>
              </a:spcBef>
              <a:buFont typeface="Arial" panose="020B0604020202020204" pitchFamily="34" charset="0"/>
              <a:buNone/>
              <a:defRPr b="0" i="0">
                <a:solidFill>
                  <a:schemeClr val="bg1"/>
                </a:solidFill>
                <a:latin typeface="Oracle Sans Light" panose="020B0403020204020204" pitchFamily="34" charset="0"/>
                <a:cs typeface="Oracle Sans Light" panose="020B0403020204020204" pitchFamily="34" charset="0"/>
              </a:defRPr>
            </a:lvl4pPr>
            <a:lvl5pPr indent="0">
              <a:lnSpc>
                <a:spcPct val="90000"/>
              </a:lnSpc>
              <a:spcBef>
                <a:spcPts val="500"/>
              </a:spcBef>
              <a:buFont typeface="Arial" panose="020B0604020202020204" pitchFamily="34" charset="0"/>
              <a:buNone/>
              <a:defRPr b="0" i="0">
                <a:solidFill>
                  <a:schemeClr val="bg1"/>
                </a:solidFill>
                <a:latin typeface="Oracle Sans Light" panose="020B0403020204020204" pitchFamily="34" charset="0"/>
                <a:cs typeface="Oracle Sans Light" panose="020B04030202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Gouverné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Sécurisé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Maitrisée</a:t>
            </a:r>
          </a:p>
        </p:txBody>
      </p:sp>
      <p:sp>
        <p:nvSpPr>
          <p:cNvPr id="11" name="TextBox 10">
            <a:extLst>
              <a:ext uri="{FF2B5EF4-FFF2-40B4-BE49-F238E27FC236}">
                <a16:creationId xmlns:a16="http://schemas.microsoft.com/office/drawing/2014/main" id="{BF00507A-1C1E-4BED-9F53-A2B55EC3468C}"/>
              </a:ext>
            </a:extLst>
          </p:cNvPr>
          <p:cNvSpPr txBox="1"/>
          <p:nvPr/>
        </p:nvSpPr>
        <p:spPr>
          <a:xfrm flipH="1">
            <a:off x="1299210" y="1480352"/>
            <a:ext cx="9443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Plateforme technologique permettant à l’entreprise d’exploiter les données à sa disposition d’une manière efficiente </a:t>
            </a:r>
          </a:p>
        </p:txBody>
      </p:sp>
      <p:pic>
        <p:nvPicPr>
          <p:cNvPr id="8" name="Picture 7">
            <a:extLst>
              <a:ext uri="{FF2B5EF4-FFF2-40B4-BE49-F238E27FC236}">
                <a16:creationId xmlns:a16="http://schemas.microsoft.com/office/drawing/2014/main" id="{9DF751D5-1DA4-4409-9BA0-1D08FDA83D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9280" y="2479875"/>
            <a:ext cx="1254355" cy="1254355"/>
          </a:xfrm>
          <a:prstGeom prst="rect">
            <a:avLst/>
          </a:prstGeom>
        </p:spPr>
      </p:pic>
      <p:pic>
        <p:nvPicPr>
          <p:cNvPr id="10" name="Picture 9">
            <a:extLst>
              <a:ext uri="{FF2B5EF4-FFF2-40B4-BE49-F238E27FC236}">
                <a16:creationId xmlns:a16="http://schemas.microsoft.com/office/drawing/2014/main" id="{E7A4203B-6C08-4B6F-A42F-08E412956B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96091" y="2479875"/>
            <a:ext cx="1438163" cy="1438163"/>
          </a:xfrm>
          <a:prstGeom prst="rect">
            <a:avLst/>
          </a:prstGeom>
        </p:spPr>
      </p:pic>
      <p:pic>
        <p:nvPicPr>
          <p:cNvPr id="13" name="Picture 12">
            <a:extLst>
              <a:ext uri="{FF2B5EF4-FFF2-40B4-BE49-F238E27FC236}">
                <a16:creationId xmlns:a16="http://schemas.microsoft.com/office/drawing/2014/main" id="{6380662B-713D-457F-BA39-96E37F1060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5781" y="2407405"/>
            <a:ext cx="1438164" cy="1438164"/>
          </a:xfrm>
          <a:prstGeom prst="rect">
            <a:avLst/>
          </a:prstGeom>
        </p:spPr>
      </p:pic>
      <p:sp>
        <p:nvSpPr>
          <p:cNvPr id="14" name="Rectangle 13">
            <a:extLst>
              <a:ext uri="{FF2B5EF4-FFF2-40B4-BE49-F238E27FC236}">
                <a16:creationId xmlns:a16="http://schemas.microsoft.com/office/drawing/2014/main" id="{D5D8F8F0-DD1F-4FA8-B048-07DA5AA0F06E}"/>
              </a:ext>
            </a:extLst>
          </p:cNvPr>
          <p:cNvSpPr/>
          <p:nvPr/>
        </p:nvSpPr>
        <p:spPr>
          <a:xfrm>
            <a:off x="153477" y="3845569"/>
            <a:ext cx="4505960" cy="2045688"/>
          </a:xfrm>
          <a:prstGeom prst="rect">
            <a:avLst/>
          </a:prstGeom>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fr-FR" sz="24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Multi </a:t>
            </a:r>
            <a:r>
              <a:rPr kumimoji="0" lang="fr-FR" sz="2400" b="0" i="0" u="none" strike="noStrike" kern="1200" cap="none" spc="0" normalizeH="0" baseline="0" noProof="0" dirty="0" err="1">
                <a:ln>
                  <a:noFill/>
                </a:ln>
                <a:solidFill>
                  <a:srgbClr val="FFFFFF"/>
                </a:solidFill>
                <a:effectLst/>
                <a:uLnTx/>
                <a:uFillTx/>
                <a:latin typeface="Oracle Sans Light" panose="020B0403020204020204" pitchFamily="34" charset="0"/>
                <a:ea typeface="+mn-ea"/>
                <a:cs typeface="Oracle Sans Light" panose="020B0403020204020204" pitchFamily="34" charset="0"/>
              </a:rPr>
              <a:t>workload</a:t>
            </a:r>
            <a:endParaRPr kumimoji="0" lang="fr-FR" sz="24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Streaming (temps réel)</a:t>
            </a: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Batch</a:t>
            </a: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Décisionnelle</a:t>
            </a: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IA &amp; Machine </a:t>
            </a:r>
            <a:r>
              <a:rPr kumimoji="0" lang="fr-FR" sz="2000" b="1" i="0" u="none" strike="noStrike" kern="1200" cap="none" spc="0" normalizeH="0" baseline="0" noProof="0" dirty="0" err="1">
                <a:ln>
                  <a:noFill/>
                </a:ln>
                <a:solidFill>
                  <a:srgbClr val="FFFFFF"/>
                </a:solidFill>
                <a:effectLst/>
                <a:uLnTx/>
                <a:uFillTx/>
                <a:latin typeface="Oracle Sans Light" panose="020B0403020204020204" pitchFamily="34" charset="0"/>
                <a:ea typeface="+mn-ea"/>
                <a:cs typeface="Oracle Sans Light" panose="020B0403020204020204" pitchFamily="34" charset="0"/>
              </a:rPr>
              <a:t>learning</a:t>
            </a:r>
            <a:endParaRPr kumimoji="0" lang="fr-FR" sz="20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p:txBody>
      </p:sp>
    </p:spTree>
    <p:extLst>
      <p:ext uri="{BB962C8B-B14F-4D97-AF65-F5344CB8AC3E}">
        <p14:creationId xmlns:p14="http://schemas.microsoft.com/office/powerpoint/2010/main" val="819483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7619DB92-086B-4C33-A459-38E764FA9CCE}"/>
              </a:ext>
            </a:extLst>
          </p:cNvPr>
          <p:cNvSpPr/>
          <p:nvPr/>
        </p:nvSpPr>
        <p:spPr>
          <a:xfrm>
            <a:off x="5459767" y="2676970"/>
            <a:ext cx="2428088" cy="19271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DB492945-9938-4551-B851-86820AC5F647}"/>
              </a:ext>
            </a:extLst>
          </p:cNvPr>
          <p:cNvSpPr>
            <a:spLocks noGrp="1"/>
          </p:cNvSpPr>
          <p:nvPr>
            <p:ph type="ftr" sz="quarter" idx="11"/>
          </p:nvPr>
        </p:nvSpPr>
        <p:spPr>
          <a:xfrm>
            <a:off x="694943" y="6532732"/>
            <a:ext cx="770362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23736">
                    <a:tint val="75000"/>
                  </a:srgbClr>
                </a:solidFill>
                <a:effectLst/>
                <a:uLnTx/>
                <a:uFillTx/>
                <a:latin typeface="Calibri" panose="020F0502020204030204"/>
                <a:ea typeface="+mn-ea"/>
                <a:cs typeface="+mn-cs"/>
              </a:rPr>
              <a:t>Copyright © 2020 Oracle and/or its affiliates.</a:t>
            </a:r>
          </a:p>
        </p:txBody>
      </p:sp>
      <p:sp>
        <p:nvSpPr>
          <p:cNvPr id="11" name="TextBox 10">
            <a:extLst>
              <a:ext uri="{FF2B5EF4-FFF2-40B4-BE49-F238E27FC236}">
                <a16:creationId xmlns:a16="http://schemas.microsoft.com/office/drawing/2014/main" id="{A7A38F3C-658A-4D90-BC58-74B5ABFC03AF}"/>
              </a:ext>
            </a:extLst>
          </p:cNvPr>
          <p:cNvSpPr txBox="1"/>
          <p:nvPr/>
        </p:nvSpPr>
        <p:spPr>
          <a:xfrm>
            <a:off x="278951" y="2676970"/>
            <a:ext cx="1938608" cy="769441"/>
          </a:xfrm>
          <a:prstGeom prst="rect">
            <a:avLst/>
          </a:prstGeom>
          <a:noFill/>
        </p:spPr>
        <p:txBody>
          <a:bodyPr wrap="none" rtlCol="0">
            <a:spAutoFit/>
          </a:bodyPr>
          <a:lstStyle>
            <a:defPPr>
              <a:defRPr lang="en-US"/>
            </a:defPPr>
            <a:lvl1pPr algn="ctr">
              <a:defRPr sz="2000" b="1">
                <a:solidFill>
                  <a:schemeClr val="bg1">
                    <a:lumMod val="95000"/>
                  </a:schemeClr>
                </a:solidFill>
                <a:latin typeface="Oracle Sans Light" panose="020B0403020204020204" pitchFamily="34" charset="0"/>
                <a:cs typeface="Oracle Sans Light" panose="020B0403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Full on-</a:t>
            </a:r>
            <a:r>
              <a:rPr kumimoji="0" lang="fr-FR" sz="2000" b="1" i="0" u="none" strike="noStrike" kern="1200" cap="none" spc="0" normalizeH="0" baseline="0" noProof="0" dirty="0" err="1">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prem</a:t>
            </a:r>
            <a:endPar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endParaRPr>
          </a:p>
        </p:txBody>
      </p:sp>
      <p:sp>
        <p:nvSpPr>
          <p:cNvPr id="12" name="TextBox 11">
            <a:extLst>
              <a:ext uri="{FF2B5EF4-FFF2-40B4-BE49-F238E27FC236}">
                <a16:creationId xmlns:a16="http://schemas.microsoft.com/office/drawing/2014/main" id="{B409BC87-693C-4F11-A8DF-93DF2D28036A}"/>
              </a:ext>
            </a:extLst>
          </p:cNvPr>
          <p:cNvSpPr txBox="1"/>
          <p:nvPr/>
        </p:nvSpPr>
        <p:spPr>
          <a:xfrm>
            <a:off x="5875346" y="2686368"/>
            <a:ext cx="1532664"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Full Cloud</a:t>
            </a:r>
          </a:p>
        </p:txBody>
      </p:sp>
      <p:sp>
        <p:nvSpPr>
          <p:cNvPr id="16" name="TextBox 15">
            <a:extLst>
              <a:ext uri="{FF2B5EF4-FFF2-40B4-BE49-F238E27FC236}">
                <a16:creationId xmlns:a16="http://schemas.microsoft.com/office/drawing/2014/main" id="{953DBCEE-3DFA-43E7-AAC5-75704F63CC0C}"/>
              </a:ext>
            </a:extLst>
          </p:cNvPr>
          <p:cNvSpPr txBox="1"/>
          <p:nvPr/>
        </p:nvSpPr>
        <p:spPr>
          <a:xfrm>
            <a:off x="9207570" y="2699332"/>
            <a:ext cx="1805301" cy="461665"/>
          </a:xfrm>
          <a:prstGeom prst="rect">
            <a:avLst/>
          </a:prstGeom>
          <a:noFill/>
        </p:spPr>
        <p:txBody>
          <a:bodyPr wrap="none" rtlCol="0">
            <a:spAutoFit/>
          </a:bodyPr>
          <a:lstStyle>
            <a:defPPr>
              <a:defRPr lang="en-US"/>
            </a:defPPr>
            <a:lvl1pPr algn="ctr">
              <a:defRPr sz="2400">
                <a:solidFill>
                  <a:schemeClr val="bg1">
                    <a:lumMod val="95000"/>
                  </a:schemeClr>
                </a:solidFill>
                <a:latin typeface="Oracle Sans Light" panose="020B0403020204020204" pitchFamily="34" charset="0"/>
                <a:cs typeface="Oracle Sans Light" panose="020B0403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Multi-cloud </a:t>
            </a:r>
          </a:p>
        </p:txBody>
      </p:sp>
      <p:grpSp>
        <p:nvGrpSpPr>
          <p:cNvPr id="18" name="Group 17">
            <a:extLst>
              <a:ext uri="{FF2B5EF4-FFF2-40B4-BE49-F238E27FC236}">
                <a16:creationId xmlns:a16="http://schemas.microsoft.com/office/drawing/2014/main" id="{ABB41C81-0BA3-4A38-86E2-4C4CBCD7E80E}"/>
              </a:ext>
            </a:extLst>
          </p:cNvPr>
          <p:cNvGrpSpPr/>
          <p:nvPr/>
        </p:nvGrpSpPr>
        <p:grpSpPr>
          <a:xfrm>
            <a:off x="10444717" y="3586636"/>
            <a:ext cx="1168792" cy="790434"/>
            <a:chOff x="8158641" y="2291336"/>
            <a:chExt cx="2624591" cy="1477305"/>
          </a:xfrm>
        </p:grpSpPr>
        <p:sp>
          <p:nvSpPr>
            <p:cNvPr id="19" name="Freeform 8">
              <a:extLst>
                <a:ext uri="{FF2B5EF4-FFF2-40B4-BE49-F238E27FC236}">
                  <a16:creationId xmlns:a16="http://schemas.microsoft.com/office/drawing/2014/main" id="{08CD6C0D-2EF2-40BC-889B-46FD47BA3CA4}"/>
                </a:ext>
              </a:extLst>
            </p:cNvPr>
            <p:cNvSpPr>
              <a:spLocks noChangeArrowheads="1"/>
            </p:cNvSpPr>
            <p:nvPr/>
          </p:nvSpPr>
          <p:spPr bwMode="auto">
            <a:xfrm>
              <a:off x="8158641" y="2291336"/>
              <a:ext cx="2624591" cy="1477305"/>
            </a:xfrm>
            <a:custGeom>
              <a:avLst/>
              <a:gdLst>
                <a:gd name="T0" fmla="*/ 6100 w 7436"/>
                <a:gd name="T1" fmla="*/ 1510 h 4183"/>
                <a:gd name="T2" fmla="*/ 6100 w 7436"/>
                <a:gd name="T3" fmla="*/ 1510 h 4183"/>
                <a:gd name="T4" fmla="*/ 5984 w 7436"/>
                <a:gd name="T5" fmla="*/ 1539 h 4183"/>
                <a:gd name="T6" fmla="*/ 4706 w 7436"/>
                <a:gd name="T7" fmla="*/ 581 h 4183"/>
                <a:gd name="T8" fmla="*/ 4270 w 7436"/>
                <a:gd name="T9" fmla="*/ 668 h 4183"/>
                <a:gd name="T10" fmla="*/ 3021 w 7436"/>
                <a:gd name="T11" fmla="*/ 0 h 4183"/>
                <a:gd name="T12" fmla="*/ 1539 w 7436"/>
                <a:gd name="T13" fmla="*/ 1161 h 4183"/>
                <a:gd name="T14" fmla="*/ 1511 w 7436"/>
                <a:gd name="T15" fmla="*/ 1161 h 4183"/>
                <a:gd name="T16" fmla="*/ 0 w 7436"/>
                <a:gd name="T17" fmla="*/ 2672 h 4183"/>
                <a:gd name="T18" fmla="*/ 1511 w 7436"/>
                <a:gd name="T19" fmla="*/ 4182 h 4183"/>
                <a:gd name="T20" fmla="*/ 6100 w 7436"/>
                <a:gd name="T21" fmla="*/ 4182 h 4183"/>
                <a:gd name="T22" fmla="*/ 7435 w 7436"/>
                <a:gd name="T23" fmla="*/ 2846 h 4183"/>
                <a:gd name="T24" fmla="*/ 6100 w 7436"/>
                <a:gd name="T25" fmla="*/ 1510 h 4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36" h="4183">
                  <a:moveTo>
                    <a:pt x="6100" y="1510"/>
                  </a:moveTo>
                  <a:lnTo>
                    <a:pt x="6100" y="1510"/>
                  </a:lnTo>
                  <a:cubicBezTo>
                    <a:pt x="6070" y="1510"/>
                    <a:pt x="6013" y="1510"/>
                    <a:pt x="5984" y="1539"/>
                  </a:cubicBezTo>
                  <a:cubicBezTo>
                    <a:pt x="5809" y="987"/>
                    <a:pt x="5316" y="581"/>
                    <a:pt x="4706" y="581"/>
                  </a:cubicBezTo>
                  <a:cubicBezTo>
                    <a:pt x="4560" y="581"/>
                    <a:pt x="4415" y="609"/>
                    <a:pt x="4270" y="668"/>
                  </a:cubicBezTo>
                  <a:cubicBezTo>
                    <a:pt x="3979" y="261"/>
                    <a:pt x="3544" y="0"/>
                    <a:pt x="3021" y="0"/>
                  </a:cubicBezTo>
                  <a:cubicBezTo>
                    <a:pt x="2295" y="0"/>
                    <a:pt x="1714" y="493"/>
                    <a:pt x="1539" y="1161"/>
                  </a:cubicBezTo>
                  <a:cubicBezTo>
                    <a:pt x="1511" y="1161"/>
                    <a:pt x="1511" y="1161"/>
                    <a:pt x="1511" y="1161"/>
                  </a:cubicBezTo>
                  <a:cubicBezTo>
                    <a:pt x="669" y="1161"/>
                    <a:pt x="0" y="1859"/>
                    <a:pt x="0" y="2672"/>
                  </a:cubicBezTo>
                  <a:cubicBezTo>
                    <a:pt x="0" y="3514"/>
                    <a:pt x="669" y="4182"/>
                    <a:pt x="1511" y="4182"/>
                  </a:cubicBezTo>
                  <a:cubicBezTo>
                    <a:pt x="6100" y="4182"/>
                    <a:pt x="6100" y="4182"/>
                    <a:pt x="6100" y="4182"/>
                  </a:cubicBezTo>
                  <a:cubicBezTo>
                    <a:pt x="6826" y="4182"/>
                    <a:pt x="7435" y="3601"/>
                    <a:pt x="7435" y="2846"/>
                  </a:cubicBezTo>
                  <a:cubicBezTo>
                    <a:pt x="7435" y="2120"/>
                    <a:pt x="6826" y="1510"/>
                    <a:pt x="6100" y="1510"/>
                  </a:cubicBezTo>
                </a:path>
              </a:pathLst>
            </a:custGeom>
            <a:solidFill>
              <a:schemeClr val="bg1"/>
            </a:solidFill>
            <a:ln w="28575">
              <a:noFill/>
            </a:ln>
            <a:effectLst/>
            <a:extLst>
              <a:ext uri="{91240B29-F687-4f45-9708-019B960494DF}">
                <a14:hiddenLine xmlns:a14="http://schemas.microsoft.com/office/drawing/2010/main" xmlns="" xmlns:p15="http://schemas.microsoft.com/office/powerpoint/2012/main" xmlns:p14="http://schemas.microsoft.com/office/powerpoint/2010/main" w="9525" cap="flat">
                  <a:solidFill>
                    <a:srgbClr val="808080"/>
                  </a:solidFill>
                  <a:bevel/>
                  <a:headEnd/>
                  <a:tailEnd/>
                </a14:hiddenLine>
              </a:ext>
              <a:ext uri="{AF507438-7753-43e0-B8FC-AC1667EBCBE1}">
                <a14:hiddenEffects xmlns:a14="http://schemas.microsoft.com/office/drawing/2010/main" xmlns=""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Regular" charset="0"/>
                <a:ea typeface="+mn-ea"/>
                <a:cs typeface="+mn-cs"/>
              </a:endParaRPr>
            </a:p>
          </p:txBody>
        </p:sp>
        <p:pic>
          <p:nvPicPr>
            <p:cNvPr id="20" name="Picture 19">
              <a:extLst>
                <a:ext uri="{FF2B5EF4-FFF2-40B4-BE49-F238E27FC236}">
                  <a16:creationId xmlns:a16="http://schemas.microsoft.com/office/drawing/2014/main" id="{E2E6E154-BE31-48E0-BE92-2763D8B225F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296515" y="2843558"/>
              <a:ext cx="2275898" cy="752054"/>
            </a:xfrm>
            <a:prstGeom prst="rect">
              <a:avLst/>
            </a:prstGeom>
            <a:ln>
              <a:noFill/>
            </a:ln>
          </p:spPr>
        </p:pic>
      </p:grpSp>
      <p:grpSp>
        <p:nvGrpSpPr>
          <p:cNvPr id="21" name="Group 20">
            <a:extLst>
              <a:ext uri="{FF2B5EF4-FFF2-40B4-BE49-F238E27FC236}">
                <a16:creationId xmlns:a16="http://schemas.microsoft.com/office/drawing/2014/main" id="{60A44FF4-C501-4F2E-B1C0-80FC1CF28748}"/>
              </a:ext>
            </a:extLst>
          </p:cNvPr>
          <p:cNvGrpSpPr/>
          <p:nvPr/>
        </p:nvGrpSpPr>
        <p:grpSpPr>
          <a:xfrm>
            <a:off x="8583856" y="3551124"/>
            <a:ext cx="1241459" cy="794802"/>
            <a:chOff x="3672785" y="4173263"/>
            <a:chExt cx="2624591" cy="1477305"/>
          </a:xfrm>
        </p:grpSpPr>
        <p:grpSp>
          <p:nvGrpSpPr>
            <p:cNvPr id="22" name="Group 21">
              <a:extLst>
                <a:ext uri="{FF2B5EF4-FFF2-40B4-BE49-F238E27FC236}">
                  <a16:creationId xmlns:a16="http://schemas.microsoft.com/office/drawing/2014/main" id="{A8267367-91F0-4E56-8608-8B2B08C268CD}"/>
                </a:ext>
              </a:extLst>
            </p:cNvPr>
            <p:cNvGrpSpPr/>
            <p:nvPr/>
          </p:nvGrpSpPr>
          <p:grpSpPr>
            <a:xfrm>
              <a:off x="3672785" y="4173263"/>
              <a:ext cx="2624591" cy="1477305"/>
              <a:chOff x="3681663" y="4173263"/>
              <a:chExt cx="2624591" cy="1477305"/>
            </a:xfrm>
          </p:grpSpPr>
          <p:sp>
            <p:nvSpPr>
              <p:cNvPr id="24" name="Freeform 8">
                <a:extLst>
                  <a:ext uri="{FF2B5EF4-FFF2-40B4-BE49-F238E27FC236}">
                    <a16:creationId xmlns:a16="http://schemas.microsoft.com/office/drawing/2014/main" id="{16AD45B3-799F-4171-B485-C2DE1CB61F37}"/>
                  </a:ext>
                </a:extLst>
              </p:cNvPr>
              <p:cNvSpPr>
                <a:spLocks noChangeArrowheads="1"/>
              </p:cNvSpPr>
              <p:nvPr/>
            </p:nvSpPr>
            <p:spPr bwMode="auto">
              <a:xfrm>
                <a:off x="3681663" y="4173263"/>
                <a:ext cx="2624591" cy="1477305"/>
              </a:xfrm>
              <a:custGeom>
                <a:avLst/>
                <a:gdLst>
                  <a:gd name="T0" fmla="*/ 6100 w 7436"/>
                  <a:gd name="T1" fmla="*/ 1510 h 4183"/>
                  <a:gd name="T2" fmla="*/ 6100 w 7436"/>
                  <a:gd name="T3" fmla="*/ 1510 h 4183"/>
                  <a:gd name="T4" fmla="*/ 5984 w 7436"/>
                  <a:gd name="T5" fmla="*/ 1539 h 4183"/>
                  <a:gd name="T6" fmla="*/ 4706 w 7436"/>
                  <a:gd name="T7" fmla="*/ 581 h 4183"/>
                  <a:gd name="T8" fmla="*/ 4270 w 7436"/>
                  <a:gd name="T9" fmla="*/ 668 h 4183"/>
                  <a:gd name="T10" fmla="*/ 3021 w 7436"/>
                  <a:gd name="T11" fmla="*/ 0 h 4183"/>
                  <a:gd name="T12" fmla="*/ 1539 w 7436"/>
                  <a:gd name="T13" fmla="*/ 1161 h 4183"/>
                  <a:gd name="T14" fmla="*/ 1511 w 7436"/>
                  <a:gd name="T15" fmla="*/ 1161 h 4183"/>
                  <a:gd name="T16" fmla="*/ 0 w 7436"/>
                  <a:gd name="T17" fmla="*/ 2672 h 4183"/>
                  <a:gd name="T18" fmla="*/ 1511 w 7436"/>
                  <a:gd name="T19" fmla="*/ 4182 h 4183"/>
                  <a:gd name="T20" fmla="*/ 6100 w 7436"/>
                  <a:gd name="T21" fmla="*/ 4182 h 4183"/>
                  <a:gd name="T22" fmla="*/ 7435 w 7436"/>
                  <a:gd name="T23" fmla="*/ 2846 h 4183"/>
                  <a:gd name="T24" fmla="*/ 6100 w 7436"/>
                  <a:gd name="T25" fmla="*/ 1510 h 4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36" h="4183">
                    <a:moveTo>
                      <a:pt x="6100" y="1510"/>
                    </a:moveTo>
                    <a:lnTo>
                      <a:pt x="6100" y="1510"/>
                    </a:lnTo>
                    <a:cubicBezTo>
                      <a:pt x="6070" y="1510"/>
                      <a:pt x="6013" y="1510"/>
                      <a:pt x="5984" y="1539"/>
                    </a:cubicBezTo>
                    <a:cubicBezTo>
                      <a:pt x="5809" y="987"/>
                      <a:pt x="5316" y="581"/>
                      <a:pt x="4706" y="581"/>
                    </a:cubicBezTo>
                    <a:cubicBezTo>
                      <a:pt x="4560" y="581"/>
                      <a:pt x="4415" y="609"/>
                      <a:pt x="4270" y="668"/>
                    </a:cubicBezTo>
                    <a:cubicBezTo>
                      <a:pt x="3979" y="261"/>
                      <a:pt x="3544" y="0"/>
                      <a:pt x="3021" y="0"/>
                    </a:cubicBezTo>
                    <a:cubicBezTo>
                      <a:pt x="2295" y="0"/>
                      <a:pt x="1714" y="493"/>
                      <a:pt x="1539" y="1161"/>
                    </a:cubicBezTo>
                    <a:cubicBezTo>
                      <a:pt x="1511" y="1161"/>
                      <a:pt x="1511" y="1161"/>
                      <a:pt x="1511" y="1161"/>
                    </a:cubicBezTo>
                    <a:cubicBezTo>
                      <a:pt x="669" y="1161"/>
                      <a:pt x="0" y="1859"/>
                      <a:pt x="0" y="2672"/>
                    </a:cubicBezTo>
                    <a:cubicBezTo>
                      <a:pt x="0" y="3514"/>
                      <a:pt x="669" y="4182"/>
                      <a:pt x="1511" y="4182"/>
                    </a:cubicBezTo>
                    <a:cubicBezTo>
                      <a:pt x="6100" y="4182"/>
                      <a:pt x="6100" y="4182"/>
                      <a:pt x="6100" y="4182"/>
                    </a:cubicBezTo>
                    <a:cubicBezTo>
                      <a:pt x="6826" y="4182"/>
                      <a:pt x="7435" y="3601"/>
                      <a:pt x="7435" y="2846"/>
                    </a:cubicBezTo>
                    <a:cubicBezTo>
                      <a:pt x="7435" y="2120"/>
                      <a:pt x="6826" y="1510"/>
                      <a:pt x="6100" y="1510"/>
                    </a:cubicBezTo>
                  </a:path>
                </a:pathLst>
              </a:custGeom>
              <a:solidFill>
                <a:schemeClr val="bg1"/>
              </a:solidFill>
              <a:ln w="28575">
                <a:noFill/>
              </a:ln>
              <a:effectLst/>
              <a:extLst>
                <a:ext uri="{91240B29-F687-4f45-9708-019B960494DF}">
                  <a14:hiddenLine xmlns:a14="http://schemas.microsoft.com/office/drawing/2010/main" xmlns="" xmlns:p15="http://schemas.microsoft.com/office/powerpoint/2012/main" xmlns:p14="http://schemas.microsoft.com/office/powerpoint/2010/main" w="9525" cap="flat">
                    <a:solidFill>
                      <a:srgbClr val="808080"/>
                    </a:solidFill>
                    <a:bevel/>
                    <a:headEnd/>
                    <a:tailEnd/>
                  </a14:hiddenLine>
                </a:ext>
                <a:ext uri="{AF507438-7753-43e0-B8FC-AC1667EBCBE1}">
                  <a14:hiddenEffects xmlns:a14="http://schemas.microsoft.com/office/drawing/2010/main" xmlns=""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Regular" charset="0"/>
                  <a:ea typeface="+mn-ea"/>
                  <a:cs typeface="+mn-cs"/>
                </a:endParaRPr>
              </a:p>
            </p:txBody>
          </p:sp>
          <p:pic>
            <p:nvPicPr>
              <p:cNvPr id="25" name="Picture 24">
                <a:extLst>
                  <a:ext uri="{FF2B5EF4-FFF2-40B4-BE49-F238E27FC236}">
                    <a16:creationId xmlns:a16="http://schemas.microsoft.com/office/drawing/2014/main" id="{80E1613D-C6A2-40FB-A98E-81E56F44BD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51954" y="4911916"/>
                <a:ext cx="1555409" cy="352908"/>
              </a:xfrm>
              <a:prstGeom prst="rect">
                <a:avLst/>
              </a:prstGeom>
              <a:ln>
                <a:noFill/>
              </a:ln>
            </p:spPr>
          </p:pic>
        </p:grpSp>
        <p:pic>
          <p:nvPicPr>
            <p:cNvPr id="23" name="Picture 8" descr="Image result for oracle png">
              <a:extLst>
                <a:ext uri="{FF2B5EF4-FFF2-40B4-BE49-F238E27FC236}">
                  <a16:creationId xmlns:a16="http://schemas.microsoft.com/office/drawing/2014/main" id="{076DF2A0-5B2C-45D7-BFC0-477620C0973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8712" b="45547"/>
            <a:stretch/>
          </p:blipFill>
          <p:spPr bwMode="auto">
            <a:xfrm>
              <a:off x="4250797" y="4894160"/>
              <a:ext cx="1343310" cy="211452"/>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Title 13">
            <a:extLst>
              <a:ext uri="{FF2B5EF4-FFF2-40B4-BE49-F238E27FC236}">
                <a16:creationId xmlns:a16="http://schemas.microsoft.com/office/drawing/2014/main" id="{E5C640FA-62DD-4335-8F69-DEE9A1EF344A}"/>
              </a:ext>
            </a:extLst>
          </p:cNvPr>
          <p:cNvSpPr>
            <a:spLocks noGrp="1"/>
          </p:cNvSpPr>
          <p:nvPr>
            <p:ph type="title"/>
          </p:nvPr>
        </p:nvSpPr>
        <p:spPr>
          <a:xfrm>
            <a:off x="278951" y="694208"/>
            <a:ext cx="11830191" cy="1325563"/>
          </a:xfrm>
        </p:spPr>
        <p:txBody>
          <a:bodyPr>
            <a:noAutofit/>
          </a:bodyPr>
          <a:lstStyle/>
          <a:p>
            <a:r>
              <a:rPr lang="fr-FR" sz="3600" dirty="0"/>
              <a:t>Accompagner les entreprises selon leurs modèles de déploiements</a:t>
            </a:r>
            <a:br>
              <a:rPr lang="fr-FR" sz="3200" dirty="0">
                <a:solidFill>
                  <a:schemeClr val="bg1">
                    <a:lumMod val="95000"/>
                  </a:schemeClr>
                </a:solidFill>
                <a:latin typeface="Oracle Sans Light" panose="020B0403020204020204" pitchFamily="34" charset="0"/>
                <a:cs typeface="Oracle Sans Light" panose="020B0403020204020204" pitchFamily="34" charset="0"/>
              </a:rPr>
            </a:br>
            <a:endParaRPr lang="fr-FR" sz="3200" dirty="0"/>
          </a:p>
        </p:txBody>
      </p:sp>
      <p:pic>
        <p:nvPicPr>
          <p:cNvPr id="30" name="Picture 29">
            <a:extLst>
              <a:ext uri="{FF2B5EF4-FFF2-40B4-BE49-F238E27FC236}">
                <a16:creationId xmlns:a16="http://schemas.microsoft.com/office/drawing/2014/main" id="{14C561C1-289C-45DD-A686-0F256B56EBD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83181" y="3201182"/>
            <a:ext cx="1471776" cy="1473002"/>
          </a:xfrm>
          <a:prstGeom prst="rect">
            <a:avLst/>
          </a:prstGeom>
        </p:spPr>
      </p:pic>
      <p:sp>
        <p:nvSpPr>
          <p:cNvPr id="31" name="TextBox 30">
            <a:extLst>
              <a:ext uri="{FF2B5EF4-FFF2-40B4-BE49-F238E27FC236}">
                <a16:creationId xmlns:a16="http://schemas.microsoft.com/office/drawing/2014/main" id="{58399E8A-4A7B-4133-B301-B4E82EB07540}"/>
              </a:ext>
            </a:extLst>
          </p:cNvPr>
          <p:cNvSpPr txBox="1"/>
          <p:nvPr/>
        </p:nvSpPr>
        <p:spPr>
          <a:xfrm>
            <a:off x="3231416" y="2726560"/>
            <a:ext cx="107273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Hybride</a:t>
            </a:r>
          </a:p>
        </p:txBody>
      </p:sp>
      <p:pic>
        <p:nvPicPr>
          <p:cNvPr id="33" name="Picture 32">
            <a:extLst>
              <a:ext uri="{FF2B5EF4-FFF2-40B4-BE49-F238E27FC236}">
                <a16:creationId xmlns:a16="http://schemas.microsoft.com/office/drawing/2014/main" id="{4FD7A905-303A-410D-AC27-454571D8D77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0703" y="3030913"/>
            <a:ext cx="1828804" cy="1828804"/>
          </a:xfrm>
          <a:prstGeom prst="rect">
            <a:avLst/>
          </a:prstGeom>
        </p:spPr>
      </p:pic>
      <p:pic>
        <p:nvPicPr>
          <p:cNvPr id="35" name="Picture 34">
            <a:extLst>
              <a:ext uri="{FF2B5EF4-FFF2-40B4-BE49-F238E27FC236}">
                <a16:creationId xmlns:a16="http://schemas.microsoft.com/office/drawing/2014/main" id="{9C041E96-268F-4F5B-BF09-9D4609CFCD8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7969" y="3250731"/>
            <a:ext cx="1290225" cy="1290225"/>
          </a:xfrm>
          <a:prstGeom prst="rect">
            <a:avLst/>
          </a:prstGeom>
        </p:spPr>
      </p:pic>
      <p:grpSp>
        <p:nvGrpSpPr>
          <p:cNvPr id="64" name="Group 63">
            <a:extLst>
              <a:ext uri="{FF2B5EF4-FFF2-40B4-BE49-F238E27FC236}">
                <a16:creationId xmlns:a16="http://schemas.microsoft.com/office/drawing/2014/main" id="{E222513A-1E26-4A60-86CB-F78DEF655E1E}"/>
              </a:ext>
            </a:extLst>
          </p:cNvPr>
          <p:cNvGrpSpPr/>
          <p:nvPr/>
        </p:nvGrpSpPr>
        <p:grpSpPr>
          <a:xfrm>
            <a:off x="10506116" y="4604108"/>
            <a:ext cx="1168792" cy="790434"/>
            <a:chOff x="9654812" y="4632641"/>
            <a:chExt cx="1168792" cy="790434"/>
          </a:xfrm>
        </p:grpSpPr>
        <p:sp>
          <p:nvSpPr>
            <p:cNvPr id="60" name="Freeform 8">
              <a:extLst>
                <a:ext uri="{FF2B5EF4-FFF2-40B4-BE49-F238E27FC236}">
                  <a16:creationId xmlns:a16="http://schemas.microsoft.com/office/drawing/2014/main" id="{657A6D51-C47F-4196-B343-62ACDE3F7374}"/>
                </a:ext>
              </a:extLst>
            </p:cNvPr>
            <p:cNvSpPr>
              <a:spLocks noChangeArrowheads="1"/>
            </p:cNvSpPr>
            <p:nvPr/>
          </p:nvSpPr>
          <p:spPr bwMode="auto">
            <a:xfrm>
              <a:off x="9654812" y="4632641"/>
              <a:ext cx="1168792" cy="790434"/>
            </a:xfrm>
            <a:custGeom>
              <a:avLst/>
              <a:gdLst>
                <a:gd name="T0" fmla="*/ 6100 w 7436"/>
                <a:gd name="T1" fmla="*/ 1510 h 4183"/>
                <a:gd name="T2" fmla="*/ 6100 w 7436"/>
                <a:gd name="T3" fmla="*/ 1510 h 4183"/>
                <a:gd name="T4" fmla="*/ 5984 w 7436"/>
                <a:gd name="T5" fmla="*/ 1539 h 4183"/>
                <a:gd name="T6" fmla="*/ 4706 w 7436"/>
                <a:gd name="T7" fmla="*/ 581 h 4183"/>
                <a:gd name="T8" fmla="*/ 4270 w 7436"/>
                <a:gd name="T9" fmla="*/ 668 h 4183"/>
                <a:gd name="T10" fmla="*/ 3021 w 7436"/>
                <a:gd name="T11" fmla="*/ 0 h 4183"/>
                <a:gd name="T12" fmla="*/ 1539 w 7436"/>
                <a:gd name="T13" fmla="*/ 1161 h 4183"/>
                <a:gd name="T14" fmla="*/ 1511 w 7436"/>
                <a:gd name="T15" fmla="*/ 1161 h 4183"/>
                <a:gd name="T16" fmla="*/ 0 w 7436"/>
                <a:gd name="T17" fmla="*/ 2672 h 4183"/>
                <a:gd name="T18" fmla="*/ 1511 w 7436"/>
                <a:gd name="T19" fmla="*/ 4182 h 4183"/>
                <a:gd name="T20" fmla="*/ 6100 w 7436"/>
                <a:gd name="T21" fmla="*/ 4182 h 4183"/>
                <a:gd name="T22" fmla="*/ 7435 w 7436"/>
                <a:gd name="T23" fmla="*/ 2846 h 4183"/>
                <a:gd name="T24" fmla="*/ 6100 w 7436"/>
                <a:gd name="T25" fmla="*/ 1510 h 4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36" h="4183">
                  <a:moveTo>
                    <a:pt x="6100" y="1510"/>
                  </a:moveTo>
                  <a:lnTo>
                    <a:pt x="6100" y="1510"/>
                  </a:lnTo>
                  <a:cubicBezTo>
                    <a:pt x="6070" y="1510"/>
                    <a:pt x="6013" y="1510"/>
                    <a:pt x="5984" y="1539"/>
                  </a:cubicBezTo>
                  <a:cubicBezTo>
                    <a:pt x="5809" y="987"/>
                    <a:pt x="5316" y="581"/>
                    <a:pt x="4706" y="581"/>
                  </a:cubicBezTo>
                  <a:cubicBezTo>
                    <a:pt x="4560" y="581"/>
                    <a:pt x="4415" y="609"/>
                    <a:pt x="4270" y="668"/>
                  </a:cubicBezTo>
                  <a:cubicBezTo>
                    <a:pt x="3979" y="261"/>
                    <a:pt x="3544" y="0"/>
                    <a:pt x="3021" y="0"/>
                  </a:cubicBezTo>
                  <a:cubicBezTo>
                    <a:pt x="2295" y="0"/>
                    <a:pt x="1714" y="493"/>
                    <a:pt x="1539" y="1161"/>
                  </a:cubicBezTo>
                  <a:cubicBezTo>
                    <a:pt x="1511" y="1161"/>
                    <a:pt x="1511" y="1161"/>
                    <a:pt x="1511" y="1161"/>
                  </a:cubicBezTo>
                  <a:cubicBezTo>
                    <a:pt x="669" y="1161"/>
                    <a:pt x="0" y="1859"/>
                    <a:pt x="0" y="2672"/>
                  </a:cubicBezTo>
                  <a:cubicBezTo>
                    <a:pt x="0" y="3514"/>
                    <a:pt x="669" y="4182"/>
                    <a:pt x="1511" y="4182"/>
                  </a:cubicBezTo>
                  <a:cubicBezTo>
                    <a:pt x="6100" y="4182"/>
                    <a:pt x="6100" y="4182"/>
                    <a:pt x="6100" y="4182"/>
                  </a:cubicBezTo>
                  <a:cubicBezTo>
                    <a:pt x="6826" y="4182"/>
                    <a:pt x="7435" y="3601"/>
                    <a:pt x="7435" y="2846"/>
                  </a:cubicBezTo>
                  <a:cubicBezTo>
                    <a:pt x="7435" y="2120"/>
                    <a:pt x="6826" y="1510"/>
                    <a:pt x="6100" y="1510"/>
                  </a:cubicBezTo>
                </a:path>
              </a:pathLst>
            </a:custGeom>
            <a:solidFill>
              <a:schemeClr val="bg1"/>
            </a:solidFill>
            <a:ln w="28575">
              <a:noFill/>
            </a:ln>
            <a:effectLst/>
            <a:extLst>
              <a:ext uri="{91240B29-F687-4f45-9708-019B960494DF}">
                <a14:hiddenLine xmlns:a14="http://schemas.microsoft.com/office/drawing/2010/main" xmlns="" xmlns:p15="http://schemas.microsoft.com/office/powerpoint/2012/main" xmlns:p14="http://schemas.microsoft.com/office/powerpoint/2010/main" w="9525" cap="flat">
                  <a:solidFill>
                    <a:srgbClr val="808080"/>
                  </a:solidFill>
                  <a:bevel/>
                  <a:headEnd/>
                  <a:tailEnd/>
                </a14:hiddenLine>
              </a:ext>
              <a:ext uri="{AF507438-7753-43e0-B8FC-AC1667EBCBE1}">
                <a14:hiddenEffects xmlns:a14="http://schemas.microsoft.com/office/drawing/2010/main" xmlns=""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Regular" charset="0"/>
                <a:ea typeface="+mn-ea"/>
                <a:cs typeface="+mn-cs"/>
              </a:endParaRPr>
            </a:p>
          </p:txBody>
        </p:sp>
        <p:pic>
          <p:nvPicPr>
            <p:cNvPr id="46" name="Picture 45">
              <a:extLst>
                <a:ext uri="{FF2B5EF4-FFF2-40B4-BE49-F238E27FC236}">
                  <a16:creationId xmlns:a16="http://schemas.microsoft.com/office/drawing/2014/main" id="{72020046-F7BC-48FD-B844-1C3DBB09712A}"/>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41592" y="4781486"/>
              <a:ext cx="968070" cy="593660"/>
            </a:xfrm>
            <a:prstGeom prst="rect">
              <a:avLst/>
            </a:prstGeom>
          </p:spPr>
        </p:pic>
      </p:grpSp>
      <p:grpSp>
        <p:nvGrpSpPr>
          <p:cNvPr id="65" name="Group 64">
            <a:extLst>
              <a:ext uri="{FF2B5EF4-FFF2-40B4-BE49-F238E27FC236}">
                <a16:creationId xmlns:a16="http://schemas.microsoft.com/office/drawing/2014/main" id="{2C267FC9-9E5A-49E2-94A6-6FA5A09AACDC}"/>
              </a:ext>
            </a:extLst>
          </p:cNvPr>
          <p:cNvGrpSpPr/>
          <p:nvPr/>
        </p:nvGrpSpPr>
        <p:grpSpPr>
          <a:xfrm>
            <a:off x="8709538" y="4648099"/>
            <a:ext cx="1168792" cy="790434"/>
            <a:chOff x="8323870" y="4685107"/>
            <a:chExt cx="1168792" cy="790434"/>
          </a:xfrm>
        </p:grpSpPr>
        <p:sp>
          <p:nvSpPr>
            <p:cNvPr id="62" name="Freeform 8">
              <a:extLst>
                <a:ext uri="{FF2B5EF4-FFF2-40B4-BE49-F238E27FC236}">
                  <a16:creationId xmlns:a16="http://schemas.microsoft.com/office/drawing/2014/main" id="{7F69C175-0399-4E86-91C0-5E229199C50B}"/>
                </a:ext>
              </a:extLst>
            </p:cNvPr>
            <p:cNvSpPr>
              <a:spLocks noChangeArrowheads="1"/>
            </p:cNvSpPr>
            <p:nvPr/>
          </p:nvSpPr>
          <p:spPr bwMode="auto">
            <a:xfrm>
              <a:off x="8323870" y="4685107"/>
              <a:ext cx="1168792" cy="790434"/>
            </a:xfrm>
            <a:custGeom>
              <a:avLst/>
              <a:gdLst>
                <a:gd name="T0" fmla="*/ 6100 w 7436"/>
                <a:gd name="T1" fmla="*/ 1510 h 4183"/>
                <a:gd name="T2" fmla="*/ 6100 w 7436"/>
                <a:gd name="T3" fmla="*/ 1510 h 4183"/>
                <a:gd name="T4" fmla="*/ 5984 w 7436"/>
                <a:gd name="T5" fmla="*/ 1539 h 4183"/>
                <a:gd name="T6" fmla="*/ 4706 w 7436"/>
                <a:gd name="T7" fmla="*/ 581 h 4183"/>
                <a:gd name="T8" fmla="*/ 4270 w 7436"/>
                <a:gd name="T9" fmla="*/ 668 h 4183"/>
                <a:gd name="T10" fmla="*/ 3021 w 7436"/>
                <a:gd name="T11" fmla="*/ 0 h 4183"/>
                <a:gd name="T12" fmla="*/ 1539 w 7436"/>
                <a:gd name="T13" fmla="*/ 1161 h 4183"/>
                <a:gd name="T14" fmla="*/ 1511 w 7436"/>
                <a:gd name="T15" fmla="*/ 1161 h 4183"/>
                <a:gd name="T16" fmla="*/ 0 w 7436"/>
                <a:gd name="T17" fmla="*/ 2672 h 4183"/>
                <a:gd name="T18" fmla="*/ 1511 w 7436"/>
                <a:gd name="T19" fmla="*/ 4182 h 4183"/>
                <a:gd name="T20" fmla="*/ 6100 w 7436"/>
                <a:gd name="T21" fmla="*/ 4182 h 4183"/>
                <a:gd name="T22" fmla="*/ 7435 w 7436"/>
                <a:gd name="T23" fmla="*/ 2846 h 4183"/>
                <a:gd name="T24" fmla="*/ 6100 w 7436"/>
                <a:gd name="T25" fmla="*/ 1510 h 4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36" h="4183">
                  <a:moveTo>
                    <a:pt x="6100" y="1510"/>
                  </a:moveTo>
                  <a:lnTo>
                    <a:pt x="6100" y="1510"/>
                  </a:lnTo>
                  <a:cubicBezTo>
                    <a:pt x="6070" y="1510"/>
                    <a:pt x="6013" y="1510"/>
                    <a:pt x="5984" y="1539"/>
                  </a:cubicBezTo>
                  <a:cubicBezTo>
                    <a:pt x="5809" y="987"/>
                    <a:pt x="5316" y="581"/>
                    <a:pt x="4706" y="581"/>
                  </a:cubicBezTo>
                  <a:cubicBezTo>
                    <a:pt x="4560" y="581"/>
                    <a:pt x="4415" y="609"/>
                    <a:pt x="4270" y="668"/>
                  </a:cubicBezTo>
                  <a:cubicBezTo>
                    <a:pt x="3979" y="261"/>
                    <a:pt x="3544" y="0"/>
                    <a:pt x="3021" y="0"/>
                  </a:cubicBezTo>
                  <a:cubicBezTo>
                    <a:pt x="2295" y="0"/>
                    <a:pt x="1714" y="493"/>
                    <a:pt x="1539" y="1161"/>
                  </a:cubicBezTo>
                  <a:cubicBezTo>
                    <a:pt x="1511" y="1161"/>
                    <a:pt x="1511" y="1161"/>
                    <a:pt x="1511" y="1161"/>
                  </a:cubicBezTo>
                  <a:cubicBezTo>
                    <a:pt x="669" y="1161"/>
                    <a:pt x="0" y="1859"/>
                    <a:pt x="0" y="2672"/>
                  </a:cubicBezTo>
                  <a:cubicBezTo>
                    <a:pt x="0" y="3514"/>
                    <a:pt x="669" y="4182"/>
                    <a:pt x="1511" y="4182"/>
                  </a:cubicBezTo>
                  <a:cubicBezTo>
                    <a:pt x="6100" y="4182"/>
                    <a:pt x="6100" y="4182"/>
                    <a:pt x="6100" y="4182"/>
                  </a:cubicBezTo>
                  <a:cubicBezTo>
                    <a:pt x="6826" y="4182"/>
                    <a:pt x="7435" y="3601"/>
                    <a:pt x="7435" y="2846"/>
                  </a:cubicBezTo>
                  <a:cubicBezTo>
                    <a:pt x="7435" y="2120"/>
                    <a:pt x="6826" y="1510"/>
                    <a:pt x="6100" y="1510"/>
                  </a:cubicBezTo>
                </a:path>
              </a:pathLst>
            </a:custGeom>
            <a:solidFill>
              <a:schemeClr val="bg1"/>
            </a:solidFill>
            <a:ln w="28575">
              <a:noFill/>
            </a:ln>
            <a:effectLst/>
            <a:extLst>
              <a:ext uri="{91240B29-F687-4f45-9708-019B960494DF}">
                <a14:hiddenLine xmlns:a14="http://schemas.microsoft.com/office/drawing/2010/main" xmlns="" xmlns:p15="http://schemas.microsoft.com/office/powerpoint/2012/main" xmlns:p14="http://schemas.microsoft.com/office/powerpoint/2010/main" w="9525" cap="flat">
                  <a:solidFill>
                    <a:srgbClr val="808080"/>
                  </a:solidFill>
                  <a:bevel/>
                  <a:headEnd/>
                  <a:tailEnd/>
                </a14:hiddenLine>
              </a:ext>
              <a:ext uri="{AF507438-7753-43e0-B8FC-AC1667EBCBE1}">
                <a14:hiddenEffects xmlns:a14="http://schemas.microsoft.com/office/drawing/2010/main" xmlns=""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Regular" charset="0"/>
                <a:ea typeface="+mn-ea"/>
                <a:cs typeface="+mn-cs"/>
              </a:endParaRPr>
            </a:p>
          </p:txBody>
        </p:sp>
        <p:pic>
          <p:nvPicPr>
            <p:cNvPr id="63" name="Picture 62">
              <a:extLst>
                <a:ext uri="{FF2B5EF4-FFF2-40B4-BE49-F238E27FC236}">
                  <a16:creationId xmlns:a16="http://schemas.microsoft.com/office/drawing/2014/main" id="{FA9CD582-EC4A-4A87-9895-1A9A43E03EA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462684" y="5004377"/>
              <a:ext cx="823679" cy="307477"/>
            </a:xfrm>
            <a:prstGeom prst="rect">
              <a:avLst/>
            </a:prstGeom>
          </p:spPr>
        </p:pic>
      </p:grpSp>
      <p:cxnSp>
        <p:nvCxnSpPr>
          <p:cNvPr id="68" name="Straight Connector 67">
            <a:extLst>
              <a:ext uri="{FF2B5EF4-FFF2-40B4-BE49-F238E27FC236}">
                <a16:creationId xmlns:a16="http://schemas.microsoft.com/office/drawing/2014/main" id="{0E9EC2CB-C083-465D-B7E0-F043908A1479}"/>
              </a:ext>
            </a:extLst>
          </p:cNvPr>
          <p:cNvCxnSpPr>
            <a:stCxn id="24" idx="11"/>
            <a:endCxn id="19" idx="8"/>
          </p:cNvCxnSpPr>
          <p:nvPr/>
        </p:nvCxnSpPr>
        <p:spPr>
          <a:xfrm flipV="1">
            <a:off x="9825148" y="4091546"/>
            <a:ext cx="619569" cy="34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514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8"/>
                                        </p:tgtEl>
                                        <p:attrNameLst>
                                          <p:attrName>style.visibility</p:attrName>
                                        </p:attrNameLst>
                                      </p:cBhvr>
                                      <p:to>
                                        <p:strVal val="visible"/>
                                      </p:to>
                                    </p:set>
                                    <p:animEffect transition="in" filter="fade">
                                      <p:cBhvr>
                                        <p:cTn id="39" dur="500"/>
                                        <p:tgtEl>
                                          <p:spTgt spid="68"/>
                                        </p:tgtEl>
                                      </p:cBhvr>
                                    </p:animEffect>
                                  </p:childTnLst>
                                </p:cTn>
                              </p:par>
                              <p:par>
                                <p:cTn id="40" presetID="10"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nodeType="with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500"/>
                                        <p:tgtEl>
                                          <p:spTgt spid="64"/>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66"/>
                                        </p:tgtEl>
                                        <p:attrNameLst>
                                          <p:attrName>style.visibility</p:attrName>
                                        </p:attrNameLst>
                                      </p:cBhvr>
                                      <p:to>
                                        <p:strVal val="visible"/>
                                      </p:to>
                                    </p:set>
                                    <p:animEffect transition="in" filter="fade">
                                      <p:cBhvr>
                                        <p:cTn id="53"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11" grpId="0"/>
      <p:bldP spid="12" grpId="0"/>
      <p:bldP spid="16" grpId="0"/>
      <p:bldP spid="3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3D62AF5-604E-44CD-9BB7-36D172186D6F}"/>
              </a:ext>
            </a:extLst>
          </p:cNvPr>
          <p:cNvSpPr>
            <a:spLocks noGrp="1"/>
          </p:cNvSpPr>
          <p:nvPr>
            <p:ph type="title"/>
          </p:nvPr>
        </p:nvSpPr>
        <p:spPr/>
        <p:txBody>
          <a:bodyPr/>
          <a:lstStyle/>
          <a:p>
            <a:r>
              <a:rPr lang="fr-CA" dirty="0"/>
              <a:t>Oracle cloud, une plateforme complète pour la transformation digitale</a:t>
            </a:r>
            <a:endParaRPr lang="en-US" dirty="0"/>
          </a:p>
        </p:txBody>
      </p:sp>
      <p:sp>
        <p:nvSpPr>
          <p:cNvPr id="5" name="Slide Number Placeholder 4">
            <a:extLst>
              <a:ext uri="{FF2B5EF4-FFF2-40B4-BE49-F238E27FC236}">
                <a16:creationId xmlns:a16="http://schemas.microsoft.com/office/drawing/2014/main" id="{3ECF9727-F6B5-46CD-9510-219F9A01542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8B8580"/>
              </a:solidFill>
              <a:effectLst/>
              <a:uLnTx/>
              <a:uFillTx/>
              <a:latin typeface="Oracle Sans"/>
              <a:cs typeface="Arial"/>
            </a:endParaRPr>
          </a:p>
        </p:txBody>
      </p:sp>
      <p:sp>
        <p:nvSpPr>
          <p:cNvPr id="4" name="Footer Placeholder 3">
            <a:extLst>
              <a:ext uri="{FF2B5EF4-FFF2-40B4-BE49-F238E27FC236}">
                <a16:creationId xmlns:a16="http://schemas.microsoft.com/office/drawing/2014/main" id="{9ECED2EB-A938-4FE9-B6AB-F530F375B869}"/>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a:cs typeface="Arial"/>
              </a:rPr>
              <a:t>Copyright © 2020, Oracle and/or its affiliates  |  Confidential: Internal/Restricted/Highly Restricted</a:t>
            </a:r>
          </a:p>
        </p:txBody>
      </p:sp>
      <p:pic>
        <p:nvPicPr>
          <p:cNvPr id="7" name="Picture 6">
            <a:extLst>
              <a:ext uri="{FF2B5EF4-FFF2-40B4-BE49-F238E27FC236}">
                <a16:creationId xmlns:a16="http://schemas.microsoft.com/office/drawing/2014/main" id="{DB110438-1F09-4427-B0D8-FB331AE2A107}"/>
              </a:ext>
            </a:extLst>
          </p:cNvPr>
          <p:cNvPicPr>
            <a:picLocks noChangeAspect="1"/>
          </p:cNvPicPr>
          <p:nvPr/>
        </p:nvPicPr>
        <p:blipFill>
          <a:blip r:embed="rId2"/>
          <a:stretch>
            <a:fillRect/>
          </a:stretch>
        </p:blipFill>
        <p:spPr>
          <a:xfrm>
            <a:off x="1697082" y="1497993"/>
            <a:ext cx="8797835" cy="1685976"/>
          </a:xfrm>
          <a:prstGeom prst="rect">
            <a:avLst/>
          </a:prstGeom>
        </p:spPr>
      </p:pic>
      <p:pic>
        <p:nvPicPr>
          <p:cNvPr id="10" name="Picture 9">
            <a:extLst>
              <a:ext uri="{FF2B5EF4-FFF2-40B4-BE49-F238E27FC236}">
                <a16:creationId xmlns:a16="http://schemas.microsoft.com/office/drawing/2014/main" id="{FE5D3408-365A-4942-808D-9E95A9280019}"/>
              </a:ext>
            </a:extLst>
          </p:cNvPr>
          <p:cNvPicPr>
            <a:picLocks noChangeAspect="1"/>
          </p:cNvPicPr>
          <p:nvPr/>
        </p:nvPicPr>
        <p:blipFill>
          <a:blip r:embed="rId3"/>
          <a:stretch>
            <a:fillRect/>
          </a:stretch>
        </p:blipFill>
        <p:spPr>
          <a:xfrm>
            <a:off x="3316004" y="3429000"/>
            <a:ext cx="5371194" cy="2670975"/>
          </a:xfrm>
          <a:prstGeom prst="rect">
            <a:avLst/>
          </a:prstGeom>
        </p:spPr>
      </p:pic>
    </p:spTree>
    <p:extLst>
      <p:ext uri="{BB962C8B-B14F-4D97-AF65-F5344CB8AC3E}">
        <p14:creationId xmlns:p14="http://schemas.microsoft.com/office/powerpoint/2010/main" val="220221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1">
            <a:extLst>
              <a:ext uri="{FF2B5EF4-FFF2-40B4-BE49-F238E27FC236}">
                <a16:creationId xmlns:a16="http://schemas.microsoft.com/office/drawing/2014/main" id="{31B00DFE-64C8-664B-979F-7F58D14C4F83}"/>
              </a:ext>
            </a:extLst>
          </p:cNvPr>
          <p:cNvSpPr>
            <a:spLocks noGrp="1"/>
          </p:cNvSpPr>
          <p:nvPr>
            <p:ph type="sldNum" sz="quarter" idx="4"/>
            <p:custDataLst>
              <p:tags r:id="rId1"/>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8B8580"/>
              </a:solidFill>
              <a:effectLst/>
              <a:uLnTx/>
              <a:uFillTx/>
              <a:latin typeface="Oracle Sans"/>
              <a:cs typeface="Arial"/>
            </a:endParaRPr>
          </a:p>
        </p:txBody>
      </p:sp>
      <p:sp>
        <p:nvSpPr>
          <p:cNvPr id="26" name="Footer Placeholder 2">
            <a:extLst>
              <a:ext uri="{FF2B5EF4-FFF2-40B4-BE49-F238E27FC236}">
                <a16:creationId xmlns:a16="http://schemas.microsoft.com/office/drawing/2014/main" id="{ADBD690E-F51C-564A-8E15-0F7E8CEA8381}"/>
              </a:ext>
            </a:extLst>
          </p:cNvPr>
          <p:cNvSpPr>
            <a:spLocks noGrp="1"/>
          </p:cNvSpPr>
          <p:nvPr>
            <p:ph type="ftr" sz="quarter" idx="3"/>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a:cs typeface="Arial"/>
              </a:rPr>
              <a:t>Copyright © 2021, Oracle and/or its affiliates </a:t>
            </a:r>
          </a:p>
        </p:txBody>
      </p:sp>
      <p:sp>
        <p:nvSpPr>
          <p:cNvPr id="75" name="Rounded Rectangle 74"/>
          <p:cNvSpPr/>
          <p:nvPr>
            <p:custDataLst>
              <p:tags r:id="rId3"/>
            </p:custDataLst>
          </p:nvPr>
        </p:nvSpPr>
        <p:spPr>
          <a:xfrm>
            <a:off x="1429555" y="1524550"/>
            <a:ext cx="9332890" cy="1430232"/>
          </a:xfrm>
          <a:prstGeom prst="roundRect">
            <a:avLst>
              <a:gd name="adj" fmla="val 11253"/>
            </a:avLst>
          </a:prstGeom>
          <a:noFill/>
          <a:ln>
            <a:solidFill>
              <a:srgbClr val="514C4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14C47"/>
                </a:solidFill>
                <a:effectLst/>
                <a:uLnTx/>
                <a:uFillTx/>
                <a:latin typeface="Oracle Sans"/>
                <a:cs typeface="Arial"/>
              </a:rPr>
              <a:t>Oracle Cloud Applications (SaaS)</a:t>
            </a:r>
          </a:p>
        </p:txBody>
      </p:sp>
      <p:sp>
        <p:nvSpPr>
          <p:cNvPr id="78" name="Rounded Rectangle 77"/>
          <p:cNvSpPr/>
          <p:nvPr>
            <p:custDataLst>
              <p:tags r:id="rId4"/>
            </p:custDataLst>
          </p:nvPr>
        </p:nvSpPr>
        <p:spPr>
          <a:xfrm>
            <a:off x="8884920" y="1998899"/>
            <a:ext cx="1783080" cy="759663"/>
          </a:xfrm>
          <a:prstGeom prst="roundRect">
            <a:avLst>
              <a:gd name="adj" fmla="val 11867"/>
            </a:avLst>
          </a:prstGeom>
          <a:solidFill>
            <a:srgbClr val="514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racle Sans"/>
                <a:ea typeface="+mn-ea"/>
                <a:cs typeface="Arial"/>
              </a:rPr>
              <a:t>Customer Experience</a:t>
            </a:r>
          </a:p>
        </p:txBody>
      </p:sp>
      <p:sp>
        <p:nvSpPr>
          <p:cNvPr id="32" name="Rounded Rectangle 31"/>
          <p:cNvSpPr/>
          <p:nvPr>
            <p:custDataLst>
              <p:tags r:id="rId5"/>
            </p:custDataLst>
          </p:nvPr>
        </p:nvSpPr>
        <p:spPr>
          <a:xfrm>
            <a:off x="7044690" y="1998899"/>
            <a:ext cx="1783080" cy="759663"/>
          </a:xfrm>
          <a:prstGeom prst="roundRect">
            <a:avLst>
              <a:gd name="adj" fmla="val 11867"/>
            </a:avLst>
          </a:prstGeom>
          <a:solidFill>
            <a:srgbClr val="514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racle Sans"/>
                <a:cs typeface="Arial"/>
              </a:rPr>
              <a:t>Human Capital Management</a:t>
            </a:r>
          </a:p>
        </p:txBody>
      </p:sp>
      <p:sp>
        <p:nvSpPr>
          <p:cNvPr id="33" name="Rounded Rectangle 32"/>
          <p:cNvSpPr/>
          <p:nvPr>
            <p:custDataLst>
              <p:tags r:id="rId6"/>
            </p:custDataLst>
          </p:nvPr>
        </p:nvSpPr>
        <p:spPr>
          <a:xfrm>
            <a:off x="5204460" y="1998899"/>
            <a:ext cx="1783080" cy="759663"/>
          </a:xfrm>
          <a:prstGeom prst="roundRect">
            <a:avLst>
              <a:gd name="adj" fmla="val 11867"/>
            </a:avLst>
          </a:prstGeom>
          <a:solidFill>
            <a:srgbClr val="514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racle Sans"/>
                <a:cs typeface="Arial"/>
              </a:rPr>
              <a:t>Supply Chain &amp; Manufacturing</a:t>
            </a:r>
          </a:p>
        </p:txBody>
      </p:sp>
      <p:sp>
        <p:nvSpPr>
          <p:cNvPr id="34" name="Rounded Rectangle 33"/>
          <p:cNvSpPr/>
          <p:nvPr>
            <p:custDataLst>
              <p:tags r:id="rId7"/>
            </p:custDataLst>
          </p:nvPr>
        </p:nvSpPr>
        <p:spPr>
          <a:xfrm>
            <a:off x="3364230" y="1998899"/>
            <a:ext cx="1783080" cy="759663"/>
          </a:xfrm>
          <a:prstGeom prst="roundRect">
            <a:avLst>
              <a:gd name="adj" fmla="val 11867"/>
            </a:avLst>
          </a:prstGeom>
          <a:solidFill>
            <a:srgbClr val="514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racle Sans"/>
                <a:cs typeface="Arial"/>
              </a:rPr>
              <a:t>Enterprise Performance Management</a:t>
            </a:r>
          </a:p>
        </p:txBody>
      </p:sp>
      <p:sp>
        <p:nvSpPr>
          <p:cNvPr id="35" name="Rounded Rectangle 34"/>
          <p:cNvSpPr/>
          <p:nvPr>
            <p:custDataLst>
              <p:tags r:id="rId8"/>
            </p:custDataLst>
          </p:nvPr>
        </p:nvSpPr>
        <p:spPr>
          <a:xfrm>
            <a:off x="1524000" y="1998899"/>
            <a:ext cx="1783080" cy="759663"/>
          </a:xfrm>
          <a:prstGeom prst="roundRect">
            <a:avLst>
              <a:gd name="adj" fmla="val 11867"/>
            </a:avLst>
          </a:prstGeom>
          <a:solidFill>
            <a:srgbClr val="514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racle Sans"/>
                <a:cs typeface="Arial"/>
              </a:rPr>
              <a:t>Enterprise Resource Planning</a:t>
            </a:r>
          </a:p>
        </p:txBody>
      </p:sp>
      <p:sp>
        <p:nvSpPr>
          <p:cNvPr id="36" name="Rounded Rectangle 35"/>
          <p:cNvSpPr/>
          <p:nvPr>
            <p:custDataLst>
              <p:tags r:id="rId9"/>
            </p:custDataLst>
          </p:nvPr>
        </p:nvSpPr>
        <p:spPr>
          <a:xfrm>
            <a:off x="1429555" y="3067271"/>
            <a:ext cx="9332890" cy="1430232"/>
          </a:xfrm>
          <a:prstGeom prst="roundRect">
            <a:avLst>
              <a:gd name="adj" fmla="val 11253"/>
            </a:avLst>
          </a:prstGeom>
          <a:noFill/>
          <a:ln>
            <a:solidFill>
              <a:srgbClr val="2C596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2"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2C5967"/>
              </a:solidFill>
              <a:effectLst/>
              <a:uLnTx/>
              <a:uFillTx/>
              <a:latin typeface="Oracle Sans"/>
              <a:cs typeface="Arial"/>
            </a:endParaRPr>
          </a:p>
        </p:txBody>
      </p:sp>
      <p:sp>
        <p:nvSpPr>
          <p:cNvPr id="37" name="Rounded Rectangle 36"/>
          <p:cNvSpPr/>
          <p:nvPr>
            <p:custDataLst>
              <p:tags r:id="rId10"/>
            </p:custDataLst>
          </p:nvPr>
        </p:nvSpPr>
        <p:spPr>
          <a:xfrm>
            <a:off x="8884920" y="3427319"/>
            <a:ext cx="1783080" cy="759663"/>
          </a:xfrm>
          <a:prstGeom prst="roundRect">
            <a:avLst>
              <a:gd name="adj" fmla="val 11867"/>
            </a:avLst>
          </a:prstGeom>
          <a:solidFill>
            <a:srgbClr val="2C59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Security</a:t>
            </a:r>
          </a:p>
        </p:txBody>
      </p:sp>
      <p:sp>
        <p:nvSpPr>
          <p:cNvPr id="38" name="Rounded Rectangle 37"/>
          <p:cNvSpPr/>
          <p:nvPr>
            <p:custDataLst>
              <p:tags r:id="rId11"/>
            </p:custDataLst>
          </p:nvPr>
        </p:nvSpPr>
        <p:spPr>
          <a:xfrm>
            <a:off x="7044690" y="3427319"/>
            <a:ext cx="1783080" cy="759663"/>
          </a:xfrm>
          <a:prstGeom prst="roundRect">
            <a:avLst>
              <a:gd name="adj" fmla="val 11867"/>
            </a:avLst>
          </a:prstGeom>
          <a:solidFill>
            <a:srgbClr val="2C59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Integration</a:t>
            </a:r>
          </a:p>
        </p:txBody>
      </p:sp>
      <p:sp>
        <p:nvSpPr>
          <p:cNvPr id="39" name="Rounded Rectangle 38"/>
          <p:cNvSpPr/>
          <p:nvPr>
            <p:custDataLst>
              <p:tags r:id="rId12"/>
            </p:custDataLst>
          </p:nvPr>
        </p:nvSpPr>
        <p:spPr>
          <a:xfrm>
            <a:off x="5204460" y="3427319"/>
            <a:ext cx="1783080" cy="759663"/>
          </a:xfrm>
          <a:prstGeom prst="roundRect">
            <a:avLst>
              <a:gd name="adj" fmla="val 11867"/>
            </a:avLst>
          </a:prstGeom>
          <a:solidFill>
            <a:srgbClr val="2C59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Database</a:t>
            </a:r>
          </a:p>
        </p:txBody>
      </p:sp>
      <p:sp>
        <p:nvSpPr>
          <p:cNvPr id="40" name="Rounded Rectangle 39"/>
          <p:cNvSpPr/>
          <p:nvPr>
            <p:custDataLst>
              <p:tags r:id="rId13"/>
            </p:custDataLst>
          </p:nvPr>
        </p:nvSpPr>
        <p:spPr>
          <a:xfrm>
            <a:off x="3364230" y="3427319"/>
            <a:ext cx="1783080" cy="759663"/>
          </a:xfrm>
          <a:prstGeom prst="roundRect">
            <a:avLst>
              <a:gd name="adj" fmla="val 11867"/>
            </a:avLst>
          </a:prstGeom>
          <a:solidFill>
            <a:srgbClr val="2C59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Analytics</a:t>
            </a:r>
          </a:p>
        </p:txBody>
      </p:sp>
      <p:sp>
        <p:nvSpPr>
          <p:cNvPr id="41" name="Rounded Rectangle 40"/>
          <p:cNvSpPr/>
          <p:nvPr>
            <p:custDataLst>
              <p:tags r:id="rId14"/>
            </p:custDataLst>
          </p:nvPr>
        </p:nvSpPr>
        <p:spPr>
          <a:xfrm>
            <a:off x="1524000" y="3427319"/>
            <a:ext cx="1783080" cy="759663"/>
          </a:xfrm>
          <a:prstGeom prst="roundRect">
            <a:avLst>
              <a:gd name="adj" fmla="val 11867"/>
            </a:avLst>
          </a:prstGeom>
          <a:solidFill>
            <a:srgbClr val="2C59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Application Development</a:t>
            </a:r>
          </a:p>
        </p:txBody>
      </p:sp>
      <p:sp>
        <p:nvSpPr>
          <p:cNvPr id="42" name="Rounded Rectangle 41"/>
          <p:cNvSpPr/>
          <p:nvPr>
            <p:custDataLst>
              <p:tags r:id="rId15"/>
            </p:custDataLst>
          </p:nvPr>
        </p:nvSpPr>
        <p:spPr>
          <a:xfrm>
            <a:off x="1437954" y="4607119"/>
            <a:ext cx="9332890" cy="1430232"/>
          </a:xfrm>
          <a:prstGeom prst="roundRect">
            <a:avLst>
              <a:gd name="adj" fmla="val 11253"/>
            </a:avLst>
          </a:prstGeom>
          <a:noFill/>
          <a:ln>
            <a:solidFill>
              <a:srgbClr val="33553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33553C"/>
                </a:solidFill>
                <a:effectLst/>
                <a:uLnTx/>
                <a:uFillTx/>
                <a:latin typeface="Oracle Sans"/>
                <a:cs typeface="Arial"/>
              </a:rPr>
              <a:t>Oracle Cloud Infrastructure</a:t>
            </a:r>
          </a:p>
        </p:txBody>
      </p:sp>
      <p:sp>
        <p:nvSpPr>
          <p:cNvPr id="43" name="Rounded Rectangle 42"/>
          <p:cNvSpPr/>
          <p:nvPr>
            <p:custDataLst>
              <p:tags r:id="rId16"/>
            </p:custDataLst>
          </p:nvPr>
        </p:nvSpPr>
        <p:spPr>
          <a:xfrm>
            <a:off x="152400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Compute</a:t>
            </a:r>
          </a:p>
        </p:txBody>
      </p:sp>
      <p:sp>
        <p:nvSpPr>
          <p:cNvPr id="44" name="Rounded Rectangle 43"/>
          <p:cNvSpPr/>
          <p:nvPr>
            <p:custDataLst>
              <p:tags r:id="rId17"/>
            </p:custDataLst>
          </p:nvPr>
        </p:nvSpPr>
        <p:spPr>
          <a:xfrm>
            <a:off x="938784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Native VMware</a:t>
            </a:r>
          </a:p>
        </p:txBody>
      </p:sp>
      <p:sp>
        <p:nvSpPr>
          <p:cNvPr id="46" name="Rounded Rectangle 45"/>
          <p:cNvSpPr/>
          <p:nvPr>
            <p:custDataLst>
              <p:tags r:id="rId18"/>
            </p:custDataLst>
          </p:nvPr>
        </p:nvSpPr>
        <p:spPr>
          <a:xfrm>
            <a:off x="807720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ML &amp; AI</a:t>
            </a:r>
          </a:p>
        </p:txBody>
      </p:sp>
      <p:sp>
        <p:nvSpPr>
          <p:cNvPr id="50" name="Rounded Rectangle 49"/>
          <p:cNvSpPr/>
          <p:nvPr>
            <p:custDataLst>
              <p:tags r:id="rId19"/>
            </p:custDataLst>
          </p:nvPr>
        </p:nvSpPr>
        <p:spPr>
          <a:xfrm>
            <a:off x="676656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800" b="1" i="0" u="none" strike="noStrike" kern="1200" cap="none" spc="0" normalizeH="0" baseline="0" noProof="0">
                <a:ln>
                  <a:noFill/>
                </a:ln>
                <a:solidFill>
                  <a:srgbClr val="FCFBFA"/>
                </a:solidFill>
                <a:effectLst/>
                <a:uLnTx/>
                <a:uFillTx/>
                <a:latin typeface="Oracle Sans"/>
                <a:cs typeface="Arial"/>
              </a:rPr>
              <a:t>Mgmt</a:t>
            </a:r>
            <a:endParaRPr kumimoji="0" lang="en-US" sz="1600" b="1" i="0" u="none" strike="noStrike" kern="1200" cap="none" spc="0" normalizeH="0" baseline="0" noProof="0">
              <a:ln>
                <a:noFill/>
              </a:ln>
              <a:solidFill>
                <a:srgbClr val="FCFBFA"/>
              </a:solidFill>
              <a:effectLst/>
              <a:uLnTx/>
              <a:uFillTx/>
              <a:latin typeface="Oracle Sans"/>
              <a:ea typeface="Arial"/>
              <a:cs typeface="Calibri"/>
            </a:endParaRPr>
          </a:p>
        </p:txBody>
      </p:sp>
      <p:sp>
        <p:nvSpPr>
          <p:cNvPr id="53" name="Rounded Rectangle 52"/>
          <p:cNvSpPr/>
          <p:nvPr>
            <p:custDataLst>
              <p:tags r:id="rId20"/>
            </p:custDataLst>
          </p:nvPr>
        </p:nvSpPr>
        <p:spPr>
          <a:xfrm>
            <a:off x="545592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Containers</a:t>
            </a:r>
          </a:p>
        </p:txBody>
      </p:sp>
      <p:sp>
        <p:nvSpPr>
          <p:cNvPr id="58" name="Rounded Rectangle 57"/>
          <p:cNvSpPr/>
          <p:nvPr>
            <p:custDataLst>
              <p:tags r:id="rId21"/>
            </p:custDataLst>
          </p:nvPr>
        </p:nvSpPr>
        <p:spPr>
          <a:xfrm>
            <a:off x="414528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Networking</a:t>
            </a:r>
          </a:p>
        </p:txBody>
      </p:sp>
      <p:sp>
        <p:nvSpPr>
          <p:cNvPr id="59" name="Rounded Rectangle 58"/>
          <p:cNvSpPr/>
          <p:nvPr>
            <p:custDataLst>
              <p:tags r:id="rId22"/>
            </p:custDataLst>
          </p:nvPr>
        </p:nvSpPr>
        <p:spPr>
          <a:xfrm>
            <a:off x="2834640" y="5087927"/>
            <a:ext cx="1280160" cy="759663"/>
          </a:xfrm>
          <a:prstGeom prst="roundRect">
            <a:avLst>
              <a:gd name="adj" fmla="val 11867"/>
            </a:avLst>
          </a:prstGeom>
          <a:solidFill>
            <a:srgbClr val="335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2" indent="0" algn="ctr" defTabSz="342576" rtl="0" eaLnBrk="1" fontAlgn="t" latinLnBrk="0" hangingPunct="1">
              <a:lnSpc>
                <a:spcPct val="90000"/>
              </a:lnSpc>
              <a:spcBef>
                <a:spcPts val="0"/>
              </a:spcBef>
              <a:spcAft>
                <a:spcPts val="0"/>
              </a:spcAft>
              <a:buClr>
                <a:srgbClr val="5F5F5F">
                  <a:lumMod val="60000"/>
                  <a:lumOff val="40000"/>
                </a:srgbClr>
              </a:buClr>
              <a:buSzTx/>
              <a:buFontTx/>
              <a:buNone/>
              <a:tabLst/>
              <a:defRPr/>
            </a:pPr>
            <a:r>
              <a:rPr kumimoji="0" lang="en-US" sz="1600" b="1" i="0" u="none" strike="noStrike" kern="1200" cap="none" spc="0" normalizeH="0" baseline="0" noProof="0">
                <a:ln>
                  <a:noFill/>
                </a:ln>
                <a:solidFill>
                  <a:srgbClr val="FCFBFA"/>
                </a:solidFill>
                <a:effectLst/>
                <a:uLnTx/>
                <a:uFillTx/>
                <a:latin typeface="Oracle Sans"/>
                <a:ea typeface="Arial"/>
                <a:cs typeface="Calibri"/>
              </a:rPr>
              <a:t>Storage</a:t>
            </a:r>
          </a:p>
        </p:txBody>
      </p:sp>
    </p:spTree>
    <p:extLst>
      <p:ext uri="{BB962C8B-B14F-4D97-AF65-F5344CB8AC3E}">
        <p14:creationId xmlns:p14="http://schemas.microsoft.com/office/powerpoint/2010/main" val="35082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57E26FF-5A3B-47E7-BFC9-50C448D5522E}"/>
              </a:ext>
            </a:extLst>
          </p:cNvPr>
          <p:cNvSpPr>
            <a:spLocks noGrp="1"/>
          </p:cNvSpPr>
          <p:nvPr>
            <p:ph type="title"/>
          </p:nvPr>
        </p:nvSpPr>
        <p:spPr>
          <a:xfrm>
            <a:off x="838199" y="365125"/>
            <a:ext cx="11248697" cy="1325563"/>
          </a:xfrm>
        </p:spPr>
        <p:txBody>
          <a:bodyPr/>
          <a:lstStyle/>
          <a:p>
            <a:r>
              <a:rPr lang="fr-FR" dirty="0"/>
              <a:t>Pourquoi  Oracle Cloud infrastructure (OCI)?</a:t>
            </a:r>
          </a:p>
        </p:txBody>
      </p:sp>
      <p:sp>
        <p:nvSpPr>
          <p:cNvPr id="4" name="Footer Placeholder 3">
            <a:extLst>
              <a:ext uri="{FF2B5EF4-FFF2-40B4-BE49-F238E27FC236}">
                <a16:creationId xmlns:a16="http://schemas.microsoft.com/office/drawing/2014/main" id="{48FE1C03-7B38-4ACE-94BA-7C1FAA70D4B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23736">
                    <a:tint val="75000"/>
                  </a:srgbClr>
                </a:solidFill>
                <a:effectLst/>
                <a:uLnTx/>
                <a:uFillTx/>
                <a:latin typeface="Calibri" panose="020F0502020204030204"/>
                <a:ea typeface="+mn-ea"/>
                <a:cs typeface="+mn-cs"/>
              </a:rPr>
              <a:t>Copyright © 2020 Oracle and/or its affiliates.</a:t>
            </a:r>
          </a:p>
        </p:txBody>
      </p:sp>
      <p:sp>
        <p:nvSpPr>
          <p:cNvPr id="7" name="TextBox 6">
            <a:extLst>
              <a:ext uri="{FF2B5EF4-FFF2-40B4-BE49-F238E27FC236}">
                <a16:creationId xmlns:a16="http://schemas.microsoft.com/office/drawing/2014/main" id="{15E911A8-949F-45E5-8F19-1A40A4893C61}"/>
              </a:ext>
            </a:extLst>
          </p:cNvPr>
          <p:cNvSpPr txBox="1"/>
          <p:nvPr/>
        </p:nvSpPr>
        <p:spPr>
          <a:xfrm>
            <a:off x="648001" y="3905250"/>
            <a:ext cx="3081934" cy="107721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Plateforme extens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Hybri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Multi cloud</a:t>
            </a:r>
          </a:p>
        </p:txBody>
      </p:sp>
      <p:sp>
        <p:nvSpPr>
          <p:cNvPr id="14" name="TextBox 13">
            <a:extLst>
              <a:ext uri="{FF2B5EF4-FFF2-40B4-BE49-F238E27FC236}">
                <a16:creationId xmlns:a16="http://schemas.microsoft.com/office/drawing/2014/main" id="{39003826-13DB-4B53-A812-08F613CA6DE6}"/>
              </a:ext>
            </a:extLst>
          </p:cNvPr>
          <p:cNvSpPr txBox="1"/>
          <p:nvPr/>
        </p:nvSpPr>
        <p:spPr>
          <a:xfrm>
            <a:off x="4267134" y="3905250"/>
            <a:ext cx="3138423" cy="18158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Plateforme access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Simple à appréhen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Rapide à déploy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endParaRPr>
          </a:p>
        </p:txBody>
      </p:sp>
      <p:sp>
        <p:nvSpPr>
          <p:cNvPr id="16" name="TextBox 15">
            <a:extLst>
              <a:ext uri="{FF2B5EF4-FFF2-40B4-BE49-F238E27FC236}">
                <a16:creationId xmlns:a16="http://schemas.microsoft.com/office/drawing/2014/main" id="{1361C044-DD60-4929-AEE6-79FC78437FCE}"/>
              </a:ext>
            </a:extLst>
          </p:cNvPr>
          <p:cNvSpPr txBox="1"/>
          <p:nvPr/>
        </p:nvSpPr>
        <p:spPr>
          <a:xfrm>
            <a:off x="8454628" y="3905250"/>
            <a:ext cx="3213829" cy="14465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Plateforme intelligen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Insight-</a:t>
            </a:r>
            <a:r>
              <a:rPr kumimoji="0" lang="fr-FR" sz="2000" b="1" i="0" u="none" strike="noStrike" kern="1200" cap="none" spc="0" normalizeH="0" baseline="0" noProof="0" dirty="0" err="1">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centric</a:t>
            </a:r>
            <a:endPar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rPr>
              <a:t>Adopte l’IA et le M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2400" b="0" i="0" u="none" strike="noStrike" kern="1200" cap="none" spc="0" normalizeH="0" baseline="0" noProof="0" dirty="0">
              <a:ln>
                <a:noFill/>
              </a:ln>
              <a:solidFill>
                <a:srgbClr val="FFFFFF">
                  <a:lumMod val="95000"/>
                </a:srgbClr>
              </a:solidFill>
              <a:effectLst/>
              <a:uLnTx/>
              <a:uFillTx/>
              <a:latin typeface="Oracle Sans Light" panose="020B0403020204020204" pitchFamily="34" charset="0"/>
              <a:ea typeface="+mn-ea"/>
              <a:cs typeface="Oracle Sans Light" panose="020B0403020204020204" pitchFamily="34" charset="0"/>
            </a:endParaRPr>
          </a:p>
        </p:txBody>
      </p:sp>
      <p:pic>
        <p:nvPicPr>
          <p:cNvPr id="10" name="Picture 9">
            <a:extLst>
              <a:ext uri="{FF2B5EF4-FFF2-40B4-BE49-F238E27FC236}">
                <a16:creationId xmlns:a16="http://schemas.microsoft.com/office/drawing/2014/main" id="{4922800D-A70F-489E-B0C9-73FD2A399BE9}"/>
              </a:ext>
            </a:extLst>
          </p:cNvPr>
          <p:cNvPicPr>
            <a:picLocks noChangeAspect="1"/>
          </p:cNvPicPr>
          <p:nvPr/>
        </p:nvPicPr>
        <p:blipFill>
          <a:blip r:embed="rId3"/>
          <a:stretch>
            <a:fillRect/>
          </a:stretch>
        </p:blipFill>
        <p:spPr>
          <a:xfrm>
            <a:off x="1280264" y="1956432"/>
            <a:ext cx="1817409" cy="1817409"/>
          </a:xfrm>
          <a:prstGeom prst="rect">
            <a:avLst/>
          </a:prstGeom>
        </p:spPr>
      </p:pic>
      <p:pic>
        <p:nvPicPr>
          <p:cNvPr id="11" name="Picture 10">
            <a:extLst>
              <a:ext uri="{FF2B5EF4-FFF2-40B4-BE49-F238E27FC236}">
                <a16:creationId xmlns:a16="http://schemas.microsoft.com/office/drawing/2014/main" id="{9E60DE8D-FC78-4AD8-8359-30944A552884}"/>
              </a:ext>
            </a:extLst>
          </p:cNvPr>
          <p:cNvPicPr>
            <a:picLocks noChangeAspect="1"/>
          </p:cNvPicPr>
          <p:nvPr/>
        </p:nvPicPr>
        <p:blipFill>
          <a:blip r:embed="rId4"/>
          <a:stretch>
            <a:fillRect/>
          </a:stretch>
        </p:blipFill>
        <p:spPr>
          <a:xfrm>
            <a:off x="5031321" y="2067012"/>
            <a:ext cx="1706829" cy="1706829"/>
          </a:xfrm>
          <a:prstGeom prst="rect">
            <a:avLst/>
          </a:prstGeom>
        </p:spPr>
      </p:pic>
      <p:pic>
        <p:nvPicPr>
          <p:cNvPr id="12" name="Picture 11">
            <a:extLst>
              <a:ext uri="{FF2B5EF4-FFF2-40B4-BE49-F238E27FC236}">
                <a16:creationId xmlns:a16="http://schemas.microsoft.com/office/drawing/2014/main" id="{E9876292-CF84-42E8-B726-A0687B703F34}"/>
              </a:ext>
            </a:extLst>
          </p:cNvPr>
          <p:cNvPicPr>
            <a:picLocks noChangeAspect="1"/>
          </p:cNvPicPr>
          <p:nvPr/>
        </p:nvPicPr>
        <p:blipFill>
          <a:blip r:embed="rId5"/>
          <a:stretch>
            <a:fillRect/>
          </a:stretch>
        </p:blipFill>
        <p:spPr>
          <a:xfrm>
            <a:off x="9540136" y="2179336"/>
            <a:ext cx="1371600" cy="1371600"/>
          </a:xfrm>
          <a:prstGeom prst="rect">
            <a:avLst/>
          </a:prstGeom>
        </p:spPr>
      </p:pic>
    </p:spTree>
    <p:extLst>
      <p:ext uri="{BB962C8B-B14F-4D97-AF65-F5344CB8AC3E}">
        <p14:creationId xmlns:p14="http://schemas.microsoft.com/office/powerpoint/2010/main" val="215249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4" grpId="0"/>
      <p:bldP spid="1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41EE0F9-32E1-874C-A8EB-64A78C0EC99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0E2E1">
                    <a:lumMod val="75000"/>
                  </a:srgbClr>
                </a:solidFill>
                <a:effectLst/>
                <a:uLnTx/>
                <a:uFillTx/>
                <a:latin typeface="Oracle Sans" panose="020B0503020204020204" pitchFamily="34" charset="0"/>
                <a:ea typeface="+mn-ea"/>
                <a:cs typeface="Oracle Sans" panose="020B0503020204020204" pitchFamily="34" charset="0"/>
              </a:rPr>
              <a:t>Copyright © 2020 Oracle and/or its affiliates.</a:t>
            </a:r>
          </a:p>
        </p:txBody>
      </p:sp>
      <p:sp>
        <p:nvSpPr>
          <p:cNvPr id="84" name="TextBox 83">
            <a:extLst>
              <a:ext uri="{FF2B5EF4-FFF2-40B4-BE49-F238E27FC236}">
                <a16:creationId xmlns:a16="http://schemas.microsoft.com/office/drawing/2014/main" id="{D4EFCB2B-D150-DD4E-B9F6-8DA56A44467E}"/>
              </a:ext>
            </a:extLst>
          </p:cNvPr>
          <p:cNvSpPr txBox="1"/>
          <p:nvPr/>
        </p:nvSpPr>
        <p:spPr>
          <a:xfrm>
            <a:off x="502786" y="348839"/>
            <a:ext cx="110077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Oracle Sans" panose="020B0503020204020204" pitchFamily="34" charset="0"/>
                <a:ea typeface="+mn-ea"/>
                <a:cs typeface="Oracle Sans" panose="020B0503020204020204" pitchFamily="34" charset="0"/>
              </a:rPr>
              <a:t>Oracle Modern Data Platform</a:t>
            </a:r>
          </a:p>
        </p:txBody>
      </p:sp>
      <p:grpSp>
        <p:nvGrpSpPr>
          <p:cNvPr id="32" name="Group 31">
            <a:extLst>
              <a:ext uri="{FF2B5EF4-FFF2-40B4-BE49-F238E27FC236}">
                <a16:creationId xmlns:a16="http://schemas.microsoft.com/office/drawing/2014/main" id="{DCA84A15-E08B-492E-9831-618F14CB75C5}"/>
              </a:ext>
            </a:extLst>
          </p:cNvPr>
          <p:cNvGrpSpPr/>
          <p:nvPr/>
        </p:nvGrpSpPr>
        <p:grpSpPr>
          <a:xfrm>
            <a:off x="1471146" y="1322625"/>
            <a:ext cx="2930826" cy="4034888"/>
            <a:chOff x="1471146" y="1322624"/>
            <a:chExt cx="2930826" cy="4038949"/>
          </a:xfrm>
        </p:grpSpPr>
        <p:grpSp>
          <p:nvGrpSpPr>
            <p:cNvPr id="29" name="Group 28">
              <a:extLst>
                <a:ext uri="{FF2B5EF4-FFF2-40B4-BE49-F238E27FC236}">
                  <a16:creationId xmlns:a16="http://schemas.microsoft.com/office/drawing/2014/main" id="{0E0CDDF6-A102-4D4C-96A8-7BA43CCFCCAF}"/>
                </a:ext>
              </a:extLst>
            </p:cNvPr>
            <p:cNvGrpSpPr/>
            <p:nvPr/>
          </p:nvGrpSpPr>
          <p:grpSpPr>
            <a:xfrm>
              <a:off x="1588494" y="1322624"/>
              <a:ext cx="2373943" cy="4038949"/>
              <a:chOff x="1588494" y="1322624"/>
              <a:chExt cx="2373943" cy="4038949"/>
            </a:xfrm>
          </p:grpSpPr>
          <p:sp>
            <p:nvSpPr>
              <p:cNvPr id="90" name="Rectangle 89">
                <a:extLst>
                  <a:ext uri="{FF2B5EF4-FFF2-40B4-BE49-F238E27FC236}">
                    <a16:creationId xmlns:a16="http://schemas.microsoft.com/office/drawing/2014/main" id="{31321EDF-84CC-DA46-8003-F35ACF497AC0}"/>
                  </a:ext>
                </a:extLst>
              </p:cNvPr>
              <p:cNvSpPr/>
              <p:nvPr/>
            </p:nvSpPr>
            <p:spPr>
              <a:xfrm>
                <a:off x="1588494" y="1864393"/>
                <a:ext cx="2373943" cy="349718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p:txBody>
          </p:sp>
          <p:sp>
            <p:nvSpPr>
              <p:cNvPr id="85" name="TextBox 84">
                <a:extLst>
                  <a:ext uri="{FF2B5EF4-FFF2-40B4-BE49-F238E27FC236}">
                    <a16:creationId xmlns:a16="http://schemas.microsoft.com/office/drawing/2014/main" id="{9D9590C2-864B-964A-BA29-92161CB88BCE}"/>
                  </a:ext>
                </a:extLst>
              </p:cNvPr>
              <p:cNvSpPr txBox="1"/>
              <p:nvPr/>
            </p:nvSpPr>
            <p:spPr>
              <a:xfrm>
                <a:off x="1588494" y="1322624"/>
                <a:ext cx="2373943" cy="461665"/>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413636"/>
                    </a:solidFill>
                    <a:effectLst/>
                    <a:uLnTx/>
                    <a:uFillTx/>
                    <a:latin typeface="Oracle Sans Light" panose="020B0403020204020204" pitchFamily="34" charset="0"/>
                    <a:ea typeface="+mn-ea"/>
                    <a:cs typeface="Oracle Sans Light" panose="020B0403020204020204" pitchFamily="34" charset="0"/>
                  </a:rPr>
                  <a:t>Intégrer</a:t>
                </a:r>
                <a:r>
                  <a:rPr kumimoji="0" lang="en-US" sz="2400" b="1" i="0" u="none" strike="noStrike" kern="1200" cap="none" spc="0" normalizeH="0" baseline="0" noProof="0" dirty="0">
                    <a:ln>
                      <a:noFill/>
                    </a:ln>
                    <a:solidFill>
                      <a:srgbClr val="413636"/>
                    </a:solidFill>
                    <a:effectLst/>
                    <a:uLnTx/>
                    <a:uFillTx/>
                    <a:latin typeface="Oracle Sans Light" panose="020B0403020204020204" pitchFamily="34" charset="0"/>
                    <a:ea typeface="+mn-ea"/>
                    <a:cs typeface="Oracle Sans Light" panose="020B0403020204020204" pitchFamily="34" charset="0"/>
                  </a:rPr>
                  <a:t> </a:t>
                </a:r>
              </a:p>
            </p:txBody>
          </p:sp>
        </p:grpSp>
        <p:grpSp>
          <p:nvGrpSpPr>
            <p:cNvPr id="17" name="Group 16">
              <a:extLst>
                <a:ext uri="{FF2B5EF4-FFF2-40B4-BE49-F238E27FC236}">
                  <a16:creationId xmlns:a16="http://schemas.microsoft.com/office/drawing/2014/main" id="{ADDABD4A-74FC-4B28-9399-DA56F0294384}"/>
                </a:ext>
              </a:extLst>
            </p:cNvPr>
            <p:cNvGrpSpPr/>
            <p:nvPr/>
          </p:nvGrpSpPr>
          <p:grpSpPr>
            <a:xfrm>
              <a:off x="1687871" y="1884257"/>
              <a:ext cx="2615870" cy="506287"/>
              <a:chOff x="1675509" y="1999597"/>
              <a:chExt cx="2615870" cy="506287"/>
            </a:xfrm>
          </p:grpSpPr>
          <p:sp>
            <p:nvSpPr>
              <p:cNvPr id="65" name="TextBox 64">
                <a:extLst>
                  <a:ext uri="{FF2B5EF4-FFF2-40B4-BE49-F238E27FC236}">
                    <a16:creationId xmlns:a16="http://schemas.microsoft.com/office/drawing/2014/main" id="{B82798B3-6253-3A44-9C74-5234D40D6EB4}"/>
                  </a:ext>
                </a:extLst>
              </p:cNvPr>
              <p:cNvSpPr txBox="1"/>
              <p:nvPr/>
            </p:nvSpPr>
            <p:spPr>
              <a:xfrm>
                <a:off x="2266145" y="1999597"/>
                <a:ext cx="1146379" cy="328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Replication</a:t>
                </a:r>
              </a:p>
            </p:txBody>
          </p:sp>
          <p:sp>
            <p:nvSpPr>
              <p:cNvPr id="83" name="TextBox 82">
                <a:extLst>
                  <a:ext uri="{FF2B5EF4-FFF2-40B4-BE49-F238E27FC236}">
                    <a16:creationId xmlns:a16="http://schemas.microsoft.com/office/drawing/2014/main" id="{3CF7D64B-9086-304B-8EF9-1279A358E057}"/>
                  </a:ext>
                </a:extLst>
              </p:cNvPr>
              <p:cNvSpPr txBox="1"/>
              <p:nvPr/>
            </p:nvSpPr>
            <p:spPr>
              <a:xfrm>
                <a:off x="2266145" y="2251968"/>
                <a:ext cx="202523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FFFFFF"/>
                    </a:solidFill>
                    <a:effectLst/>
                    <a:uLnTx/>
                    <a:uFillTx/>
                    <a:latin typeface="Oracle Sans Light" panose="020B0403020204020204" pitchFamily="34" charset="0"/>
                    <a:ea typeface="+mn-ea"/>
                    <a:cs typeface="Oracle Sans Light" panose="020B0403020204020204" pitchFamily="34" charset="0"/>
                  </a:rPr>
                  <a:t>GoldenGate</a:t>
                </a: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 Cloud Service</a:t>
                </a:r>
              </a:p>
            </p:txBody>
          </p:sp>
          <p:pic>
            <p:nvPicPr>
              <p:cNvPr id="98" name="Picture 4" descr="https://cloud.oracle.com/opc/paas/images/goldengate_w_72.png">
                <a:extLst>
                  <a:ext uri="{FF2B5EF4-FFF2-40B4-BE49-F238E27FC236}">
                    <a16:creationId xmlns:a16="http://schemas.microsoft.com/office/drawing/2014/main" id="{34675AF5-1A7C-C841-B232-C69AB68EDD34}"/>
                  </a:ext>
                </a:extLst>
              </p:cNvPr>
              <p:cNvPicPr>
                <a:picLocks noChangeAspect="1" noChangeArrowheads="1"/>
              </p:cNvPicPr>
              <p:nvPr/>
            </p:nvPicPr>
            <p:blipFill>
              <a:blip r:embed="rId3" cstate="print"/>
              <a:srcRect/>
              <a:stretch>
                <a:fillRect/>
              </a:stretch>
            </p:blipFill>
            <p:spPr bwMode="auto">
              <a:xfrm>
                <a:off x="1675509" y="2003288"/>
                <a:ext cx="439360" cy="419581"/>
              </a:xfrm>
              <a:prstGeom prst="rect">
                <a:avLst/>
              </a:prstGeom>
              <a:noFill/>
            </p:spPr>
          </p:pic>
        </p:grpSp>
        <p:grpSp>
          <p:nvGrpSpPr>
            <p:cNvPr id="15" name="Group 14">
              <a:extLst>
                <a:ext uri="{FF2B5EF4-FFF2-40B4-BE49-F238E27FC236}">
                  <a16:creationId xmlns:a16="http://schemas.microsoft.com/office/drawing/2014/main" id="{EBB14E72-2404-4D65-9451-49CB909CF02B}"/>
                </a:ext>
              </a:extLst>
            </p:cNvPr>
            <p:cNvGrpSpPr/>
            <p:nvPr/>
          </p:nvGrpSpPr>
          <p:grpSpPr>
            <a:xfrm>
              <a:off x="1471146" y="3498410"/>
              <a:ext cx="2786480" cy="809907"/>
              <a:chOff x="1471146" y="3244978"/>
              <a:chExt cx="2786480" cy="809907"/>
            </a:xfrm>
          </p:grpSpPr>
          <p:sp>
            <p:nvSpPr>
              <p:cNvPr id="66" name="TextBox 65">
                <a:extLst>
                  <a:ext uri="{FF2B5EF4-FFF2-40B4-BE49-F238E27FC236}">
                    <a16:creationId xmlns:a16="http://schemas.microsoft.com/office/drawing/2014/main" id="{A1B83DBB-2AFD-F84A-BF34-5A1DF6577C64}"/>
                  </a:ext>
                </a:extLst>
              </p:cNvPr>
              <p:cNvSpPr txBox="1"/>
              <p:nvPr/>
            </p:nvSpPr>
            <p:spPr>
              <a:xfrm>
                <a:off x="2230780" y="3402568"/>
                <a:ext cx="1551982" cy="5477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Data Integration</a:t>
                </a:r>
              </a:p>
            </p:txBody>
          </p:sp>
          <p:sp>
            <p:nvSpPr>
              <p:cNvPr id="74" name="TextBox 73">
                <a:extLst>
                  <a:ext uri="{FF2B5EF4-FFF2-40B4-BE49-F238E27FC236}">
                    <a16:creationId xmlns:a16="http://schemas.microsoft.com/office/drawing/2014/main" id="{55C2F07F-A919-3545-84A9-9FDD420B355C}"/>
                  </a:ext>
                </a:extLst>
              </p:cNvPr>
              <p:cNvSpPr txBox="1"/>
              <p:nvPr/>
            </p:nvSpPr>
            <p:spPr>
              <a:xfrm>
                <a:off x="2232392" y="3629928"/>
                <a:ext cx="202523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Data Integration Service</a:t>
                </a:r>
              </a:p>
            </p:txBody>
          </p:sp>
          <p:pic>
            <p:nvPicPr>
              <p:cNvPr id="12" name="Picture 11">
                <a:extLst>
                  <a:ext uri="{FF2B5EF4-FFF2-40B4-BE49-F238E27FC236}">
                    <a16:creationId xmlns:a16="http://schemas.microsoft.com/office/drawing/2014/main" id="{45C043E6-8BAA-B741-A9C9-3F77E98A52A5}"/>
                  </a:ext>
                </a:extLst>
              </p:cNvPr>
              <p:cNvPicPr>
                <a:picLocks noChangeAspect="1"/>
              </p:cNvPicPr>
              <p:nvPr/>
            </p:nvPicPr>
            <p:blipFill>
              <a:blip r:embed="rId4">
                <a:biLevel thresh="25000"/>
              </a:blip>
              <a:stretch>
                <a:fillRect/>
              </a:stretch>
            </p:blipFill>
            <p:spPr>
              <a:xfrm rot="10800000" flipH="1">
                <a:off x="1471146" y="3244978"/>
                <a:ext cx="848087" cy="809907"/>
              </a:xfrm>
              <a:prstGeom prst="rect">
                <a:avLst/>
              </a:prstGeom>
            </p:spPr>
          </p:pic>
        </p:grpSp>
        <p:grpSp>
          <p:nvGrpSpPr>
            <p:cNvPr id="14" name="Group 13">
              <a:extLst>
                <a:ext uri="{FF2B5EF4-FFF2-40B4-BE49-F238E27FC236}">
                  <a16:creationId xmlns:a16="http://schemas.microsoft.com/office/drawing/2014/main" id="{913F488B-A370-4504-BBE1-4014C0D68538}"/>
                </a:ext>
              </a:extLst>
            </p:cNvPr>
            <p:cNvGrpSpPr/>
            <p:nvPr/>
          </p:nvGrpSpPr>
          <p:grpSpPr>
            <a:xfrm>
              <a:off x="1602290" y="4601937"/>
              <a:ext cx="2687334" cy="556075"/>
              <a:chOff x="1604045" y="4256336"/>
              <a:chExt cx="2687334" cy="556075"/>
            </a:xfrm>
          </p:grpSpPr>
          <p:sp>
            <p:nvSpPr>
              <p:cNvPr id="67" name="TextBox 66">
                <a:extLst>
                  <a:ext uri="{FF2B5EF4-FFF2-40B4-BE49-F238E27FC236}">
                    <a16:creationId xmlns:a16="http://schemas.microsoft.com/office/drawing/2014/main" id="{AE16DA9A-64F2-6349-B820-E8EB3D9BBDFC}"/>
                  </a:ext>
                </a:extLst>
              </p:cNvPr>
              <p:cNvSpPr txBox="1"/>
              <p:nvPr/>
            </p:nvSpPr>
            <p:spPr>
              <a:xfrm>
                <a:off x="2266145" y="4278695"/>
                <a:ext cx="1146379" cy="328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Streaming</a:t>
                </a:r>
              </a:p>
            </p:txBody>
          </p:sp>
          <p:sp>
            <p:nvSpPr>
              <p:cNvPr id="75" name="TextBox 74">
                <a:extLst>
                  <a:ext uri="{FF2B5EF4-FFF2-40B4-BE49-F238E27FC236}">
                    <a16:creationId xmlns:a16="http://schemas.microsoft.com/office/drawing/2014/main" id="{5544D874-F729-D641-9C17-536B1495FE37}"/>
                  </a:ext>
                </a:extLst>
              </p:cNvPr>
              <p:cNvSpPr txBox="1"/>
              <p:nvPr/>
            </p:nvSpPr>
            <p:spPr>
              <a:xfrm>
                <a:off x="2266145" y="4531364"/>
                <a:ext cx="202523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Streaming Service</a:t>
                </a:r>
              </a:p>
            </p:txBody>
          </p:sp>
          <p:pic>
            <p:nvPicPr>
              <p:cNvPr id="105" name="Picture 104">
                <a:extLst>
                  <a:ext uri="{FF2B5EF4-FFF2-40B4-BE49-F238E27FC236}">
                    <a16:creationId xmlns:a16="http://schemas.microsoft.com/office/drawing/2014/main" id="{25B4EA09-4FA0-8B4E-8056-68E5F5E682E0}"/>
                  </a:ext>
                </a:extLst>
              </p:cNvPr>
              <p:cNvPicPr>
                <a:picLocks noChangeAspect="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1604045" y="4256336"/>
                <a:ext cx="582289" cy="556075"/>
              </a:xfrm>
              <a:prstGeom prst="rect">
                <a:avLst/>
              </a:prstGeom>
            </p:spPr>
          </p:pic>
        </p:grpSp>
        <p:grpSp>
          <p:nvGrpSpPr>
            <p:cNvPr id="16" name="Group 15">
              <a:extLst>
                <a:ext uri="{FF2B5EF4-FFF2-40B4-BE49-F238E27FC236}">
                  <a16:creationId xmlns:a16="http://schemas.microsoft.com/office/drawing/2014/main" id="{120BFB66-DFBD-455A-9258-FC604EF8AF78}"/>
                </a:ext>
              </a:extLst>
            </p:cNvPr>
            <p:cNvGrpSpPr/>
            <p:nvPr/>
          </p:nvGrpSpPr>
          <p:grpSpPr>
            <a:xfrm>
              <a:off x="1562288" y="2684165"/>
              <a:ext cx="2839684" cy="520624"/>
              <a:chOff x="1562288" y="2532264"/>
              <a:chExt cx="2839684" cy="520624"/>
            </a:xfrm>
          </p:grpSpPr>
          <p:pic>
            <p:nvPicPr>
              <p:cNvPr id="1026" name="Picture 2" descr="Image result for oracle integration icon">
                <a:extLst>
                  <a:ext uri="{FF2B5EF4-FFF2-40B4-BE49-F238E27FC236}">
                    <a16:creationId xmlns:a16="http://schemas.microsoft.com/office/drawing/2014/main" id="{583BEC4F-99B0-4B9B-887D-58DC97BA7F4C}"/>
                  </a:ext>
                </a:extLst>
              </p:cNvPr>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62288" y="2624319"/>
                <a:ext cx="665803" cy="419209"/>
              </a:xfrm>
              <a:prstGeom prst="rect">
                <a:avLst/>
              </a:prstGeom>
              <a:noFill/>
              <a:extLst>
                <a:ext uri="{909E8E84-426E-40DD-AFC4-6F175D3DCCD1}">
                  <a14:hiddenFill xmlns:a14="http://schemas.microsoft.com/office/drawing/2010/main">
                    <a:solidFill>
                      <a:srgbClr val="FFFFFF"/>
                    </a:solidFill>
                  </a14:hiddenFill>
                </a:ext>
              </a:extLst>
            </p:spPr>
          </p:pic>
          <p:sp>
            <p:nvSpPr>
              <p:cNvPr id="93" name="TextBox 92">
                <a:extLst>
                  <a:ext uri="{FF2B5EF4-FFF2-40B4-BE49-F238E27FC236}">
                    <a16:creationId xmlns:a16="http://schemas.microsoft.com/office/drawing/2014/main" id="{91132A68-5D28-440D-87CC-154E83988F2F}"/>
                  </a:ext>
                </a:extLst>
              </p:cNvPr>
              <p:cNvSpPr txBox="1"/>
              <p:nvPr/>
            </p:nvSpPr>
            <p:spPr>
              <a:xfrm>
                <a:off x="2266145" y="2532264"/>
                <a:ext cx="21358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Application Integration</a:t>
                </a:r>
              </a:p>
            </p:txBody>
          </p:sp>
          <p:sp>
            <p:nvSpPr>
              <p:cNvPr id="94" name="TextBox 93">
                <a:extLst>
                  <a:ext uri="{FF2B5EF4-FFF2-40B4-BE49-F238E27FC236}">
                    <a16:creationId xmlns:a16="http://schemas.microsoft.com/office/drawing/2014/main" id="{40D68F5C-BC74-4662-9A52-1C69CAE3443C}"/>
                  </a:ext>
                </a:extLst>
              </p:cNvPr>
              <p:cNvSpPr txBox="1"/>
              <p:nvPr/>
            </p:nvSpPr>
            <p:spPr>
              <a:xfrm>
                <a:off x="2266145" y="2798972"/>
                <a:ext cx="202523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racle integration cloud</a:t>
                </a:r>
              </a:p>
            </p:txBody>
          </p:sp>
        </p:grpSp>
      </p:grpSp>
      <p:grpSp>
        <p:nvGrpSpPr>
          <p:cNvPr id="10" name="Group 9">
            <a:extLst>
              <a:ext uri="{FF2B5EF4-FFF2-40B4-BE49-F238E27FC236}">
                <a16:creationId xmlns:a16="http://schemas.microsoft.com/office/drawing/2014/main" id="{817CE9E6-7609-4B61-BB2F-8332BB341892}"/>
              </a:ext>
            </a:extLst>
          </p:cNvPr>
          <p:cNvGrpSpPr/>
          <p:nvPr/>
        </p:nvGrpSpPr>
        <p:grpSpPr>
          <a:xfrm>
            <a:off x="1560704" y="5874269"/>
            <a:ext cx="8792263" cy="330653"/>
            <a:chOff x="1560704" y="5812123"/>
            <a:chExt cx="8792263" cy="330653"/>
          </a:xfrm>
        </p:grpSpPr>
        <p:sp>
          <p:nvSpPr>
            <p:cNvPr id="115" name="Rectangle 114">
              <a:extLst>
                <a:ext uri="{FF2B5EF4-FFF2-40B4-BE49-F238E27FC236}">
                  <a16:creationId xmlns:a16="http://schemas.microsoft.com/office/drawing/2014/main" id="{15F36666-5F1C-471B-B80A-F81DFD568FF2}"/>
                </a:ext>
              </a:extLst>
            </p:cNvPr>
            <p:cNvSpPr/>
            <p:nvPr/>
          </p:nvSpPr>
          <p:spPr>
            <a:xfrm>
              <a:off x="1560704" y="5812123"/>
              <a:ext cx="8792263" cy="330653"/>
            </a:xfrm>
            <a:prstGeom prst="rect">
              <a:avLst/>
            </a:prstGeom>
            <a:solidFill>
              <a:schemeClr val="accent3">
                <a:lumMod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p:txBody>
        </p:sp>
        <p:grpSp>
          <p:nvGrpSpPr>
            <p:cNvPr id="6" name="Group 5">
              <a:extLst>
                <a:ext uri="{FF2B5EF4-FFF2-40B4-BE49-F238E27FC236}">
                  <a16:creationId xmlns:a16="http://schemas.microsoft.com/office/drawing/2014/main" id="{9B57D756-0F6F-41B0-9542-F554AC1F79EA}"/>
                </a:ext>
              </a:extLst>
            </p:cNvPr>
            <p:cNvGrpSpPr/>
            <p:nvPr/>
          </p:nvGrpSpPr>
          <p:grpSpPr>
            <a:xfrm>
              <a:off x="5067360" y="5835024"/>
              <a:ext cx="2944960" cy="284680"/>
              <a:chOff x="5067360" y="5835024"/>
              <a:chExt cx="2944960" cy="284680"/>
            </a:xfrm>
          </p:grpSpPr>
          <p:sp>
            <p:nvSpPr>
              <p:cNvPr id="119" name="TextBox 118">
                <a:extLst>
                  <a:ext uri="{FF2B5EF4-FFF2-40B4-BE49-F238E27FC236}">
                    <a16:creationId xmlns:a16="http://schemas.microsoft.com/office/drawing/2014/main" id="{2FE333F3-92E6-4261-BE2F-C5E254BA2A3C}"/>
                  </a:ext>
                </a:extLst>
              </p:cNvPr>
              <p:cNvSpPr txBox="1"/>
              <p:nvPr/>
            </p:nvSpPr>
            <p:spPr>
              <a:xfrm>
                <a:off x="5537207" y="5835024"/>
                <a:ext cx="2475113" cy="277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racle Cloud Infrastructure</a:t>
                </a:r>
              </a:p>
            </p:txBody>
          </p:sp>
          <p:grpSp>
            <p:nvGrpSpPr>
              <p:cNvPr id="120" name="Group 119">
                <a:extLst>
                  <a:ext uri="{FF2B5EF4-FFF2-40B4-BE49-F238E27FC236}">
                    <a16:creationId xmlns:a16="http://schemas.microsoft.com/office/drawing/2014/main" id="{ED232E6B-821D-40EE-BFDB-B5B30A6D46B8}"/>
                  </a:ext>
                </a:extLst>
              </p:cNvPr>
              <p:cNvGrpSpPr/>
              <p:nvPr/>
            </p:nvGrpSpPr>
            <p:grpSpPr>
              <a:xfrm>
                <a:off x="5067360" y="5863694"/>
                <a:ext cx="208855" cy="256010"/>
                <a:chOff x="3982243" y="6002192"/>
                <a:chExt cx="310498" cy="292294"/>
              </a:xfrm>
            </p:grpSpPr>
            <p:sp>
              <p:nvSpPr>
                <p:cNvPr id="121" name="Freeform 40">
                  <a:extLst>
                    <a:ext uri="{FF2B5EF4-FFF2-40B4-BE49-F238E27FC236}">
                      <a16:creationId xmlns:a16="http://schemas.microsoft.com/office/drawing/2014/main" id="{F907408C-6358-4090-8F37-C6DED0D5BE1B}"/>
                    </a:ext>
                  </a:extLst>
                </p:cNvPr>
                <p:cNvSpPr>
                  <a:spLocks noChangeArrowheads="1"/>
                </p:cNvSpPr>
                <p:nvPr/>
              </p:nvSpPr>
              <p:spPr bwMode="auto">
                <a:xfrm>
                  <a:off x="4179390" y="6073012"/>
                  <a:ext cx="20899" cy="18027"/>
                </a:xfrm>
                <a:custGeom>
                  <a:avLst/>
                  <a:gdLst>
                    <a:gd name="T0" fmla="*/ 62 w 63"/>
                    <a:gd name="T1" fmla="*/ 31 h 63"/>
                    <a:gd name="T2" fmla="*/ 58 w 63"/>
                    <a:gd name="T3" fmla="*/ 47 h 63"/>
                    <a:gd name="T4" fmla="*/ 47 w 63"/>
                    <a:gd name="T5" fmla="*/ 58 h 63"/>
                    <a:gd name="T6" fmla="*/ 31 w 63"/>
                    <a:gd name="T7" fmla="*/ 62 h 63"/>
                    <a:gd name="T8" fmla="*/ 16 w 63"/>
                    <a:gd name="T9" fmla="*/ 58 h 63"/>
                    <a:gd name="T10" fmla="*/ 4 w 63"/>
                    <a:gd name="T11" fmla="*/ 47 h 63"/>
                    <a:gd name="T12" fmla="*/ 0 w 63"/>
                    <a:gd name="T13" fmla="*/ 31 h 63"/>
                    <a:gd name="T14" fmla="*/ 4 w 63"/>
                    <a:gd name="T15" fmla="*/ 16 h 63"/>
                    <a:gd name="T16" fmla="*/ 16 w 63"/>
                    <a:gd name="T17" fmla="*/ 4 h 63"/>
                    <a:gd name="T18" fmla="*/ 31 w 63"/>
                    <a:gd name="T19" fmla="*/ 0 h 63"/>
                    <a:gd name="T20" fmla="*/ 47 w 63"/>
                    <a:gd name="T21" fmla="*/ 4 h 63"/>
                    <a:gd name="T22" fmla="*/ 58 w 63"/>
                    <a:gd name="T23" fmla="*/ 16 h 63"/>
                    <a:gd name="T24" fmla="*/ 62 w 63"/>
                    <a:gd name="T2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3">
                      <a:moveTo>
                        <a:pt x="62" y="31"/>
                      </a:moveTo>
                      <a:cubicBezTo>
                        <a:pt x="62" y="37"/>
                        <a:pt x="61" y="42"/>
                        <a:pt x="58" y="47"/>
                      </a:cubicBezTo>
                      <a:cubicBezTo>
                        <a:pt x="55" y="52"/>
                        <a:pt x="52" y="55"/>
                        <a:pt x="47" y="58"/>
                      </a:cubicBezTo>
                      <a:cubicBezTo>
                        <a:pt x="42" y="61"/>
                        <a:pt x="36" y="62"/>
                        <a:pt x="31" y="62"/>
                      </a:cubicBezTo>
                      <a:cubicBezTo>
                        <a:pt x="25" y="62"/>
                        <a:pt x="21" y="61"/>
                        <a:pt x="16" y="58"/>
                      </a:cubicBezTo>
                      <a:cubicBezTo>
                        <a:pt x="11" y="55"/>
                        <a:pt x="7" y="52"/>
                        <a:pt x="4" y="47"/>
                      </a:cubicBezTo>
                      <a:cubicBezTo>
                        <a:pt x="1" y="42"/>
                        <a:pt x="0" y="36"/>
                        <a:pt x="0" y="31"/>
                      </a:cubicBezTo>
                      <a:cubicBezTo>
                        <a:pt x="0" y="25"/>
                        <a:pt x="1" y="21"/>
                        <a:pt x="4" y="16"/>
                      </a:cubicBezTo>
                      <a:cubicBezTo>
                        <a:pt x="7" y="11"/>
                        <a:pt x="11" y="6"/>
                        <a:pt x="16" y="4"/>
                      </a:cubicBezTo>
                      <a:cubicBezTo>
                        <a:pt x="21" y="1"/>
                        <a:pt x="26" y="0"/>
                        <a:pt x="31" y="0"/>
                      </a:cubicBezTo>
                      <a:cubicBezTo>
                        <a:pt x="37" y="0"/>
                        <a:pt x="42" y="1"/>
                        <a:pt x="47" y="4"/>
                      </a:cubicBezTo>
                      <a:cubicBezTo>
                        <a:pt x="52" y="6"/>
                        <a:pt x="55" y="11"/>
                        <a:pt x="58" y="16"/>
                      </a:cubicBezTo>
                      <a:cubicBezTo>
                        <a:pt x="61" y="21"/>
                        <a:pt x="62" y="26"/>
                        <a:pt x="62" y="31"/>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E0E2E1"/>
                    </a:solidFill>
                    <a:effectLst/>
                    <a:uLnTx/>
                    <a:uFillTx/>
                    <a:latin typeface="Oracle Sans Light" panose="020B0403020204020204" pitchFamily="34" charset="0"/>
                    <a:ea typeface="+mn-ea"/>
                    <a:cs typeface="Oracle Sans Light" panose="020B0403020204020204" pitchFamily="34" charset="0"/>
                  </a:endParaRPr>
                </a:p>
              </p:txBody>
            </p:sp>
            <p:sp>
              <p:nvSpPr>
                <p:cNvPr id="127" name="Freeform 41">
                  <a:extLst>
                    <a:ext uri="{FF2B5EF4-FFF2-40B4-BE49-F238E27FC236}">
                      <a16:creationId xmlns:a16="http://schemas.microsoft.com/office/drawing/2014/main" id="{93454836-6C2B-4BEC-B4C5-F93608A4CE14}"/>
                    </a:ext>
                  </a:extLst>
                </p:cNvPr>
                <p:cNvSpPr>
                  <a:spLocks noChangeArrowheads="1"/>
                </p:cNvSpPr>
                <p:nvPr/>
              </p:nvSpPr>
              <p:spPr bwMode="auto">
                <a:xfrm>
                  <a:off x="4179390" y="6139970"/>
                  <a:ext cx="20899" cy="18027"/>
                </a:xfrm>
                <a:custGeom>
                  <a:avLst/>
                  <a:gdLst>
                    <a:gd name="T0" fmla="*/ 62 w 63"/>
                    <a:gd name="T1" fmla="*/ 31 h 63"/>
                    <a:gd name="T2" fmla="*/ 58 w 63"/>
                    <a:gd name="T3" fmla="*/ 46 h 63"/>
                    <a:gd name="T4" fmla="*/ 47 w 63"/>
                    <a:gd name="T5" fmla="*/ 58 h 63"/>
                    <a:gd name="T6" fmla="*/ 31 w 63"/>
                    <a:gd name="T7" fmla="*/ 62 h 63"/>
                    <a:gd name="T8" fmla="*/ 16 w 63"/>
                    <a:gd name="T9" fmla="*/ 58 h 63"/>
                    <a:gd name="T10" fmla="*/ 4 w 63"/>
                    <a:gd name="T11" fmla="*/ 46 h 63"/>
                    <a:gd name="T12" fmla="*/ 0 w 63"/>
                    <a:gd name="T13" fmla="*/ 31 h 63"/>
                    <a:gd name="T14" fmla="*/ 4 w 63"/>
                    <a:gd name="T15" fmla="*/ 15 h 63"/>
                    <a:gd name="T16" fmla="*/ 16 w 63"/>
                    <a:gd name="T17" fmla="*/ 4 h 63"/>
                    <a:gd name="T18" fmla="*/ 31 w 63"/>
                    <a:gd name="T19" fmla="*/ 0 h 63"/>
                    <a:gd name="T20" fmla="*/ 47 w 63"/>
                    <a:gd name="T21" fmla="*/ 4 h 63"/>
                    <a:gd name="T22" fmla="*/ 58 w 63"/>
                    <a:gd name="T23" fmla="*/ 15 h 63"/>
                    <a:gd name="T24" fmla="*/ 62 w 63"/>
                    <a:gd name="T2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3">
                      <a:moveTo>
                        <a:pt x="62" y="31"/>
                      </a:moveTo>
                      <a:cubicBezTo>
                        <a:pt x="62" y="37"/>
                        <a:pt x="61" y="41"/>
                        <a:pt x="58" y="46"/>
                      </a:cubicBezTo>
                      <a:cubicBezTo>
                        <a:pt x="55" y="50"/>
                        <a:pt x="52" y="55"/>
                        <a:pt x="47" y="58"/>
                      </a:cubicBezTo>
                      <a:cubicBezTo>
                        <a:pt x="42" y="61"/>
                        <a:pt x="36" y="62"/>
                        <a:pt x="31" y="62"/>
                      </a:cubicBezTo>
                      <a:cubicBezTo>
                        <a:pt x="25" y="62"/>
                        <a:pt x="21" y="61"/>
                        <a:pt x="16" y="58"/>
                      </a:cubicBezTo>
                      <a:cubicBezTo>
                        <a:pt x="11" y="55"/>
                        <a:pt x="7" y="50"/>
                        <a:pt x="4" y="46"/>
                      </a:cubicBezTo>
                      <a:cubicBezTo>
                        <a:pt x="1" y="41"/>
                        <a:pt x="0" y="37"/>
                        <a:pt x="0" y="31"/>
                      </a:cubicBezTo>
                      <a:cubicBezTo>
                        <a:pt x="0" y="25"/>
                        <a:pt x="1" y="20"/>
                        <a:pt x="4" y="15"/>
                      </a:cubicBezTo>
                      <a:cubicBezTo>
                        <a:pt x="7" y="10"/>
                        <a:pt x="11" y="7"/>
                        <a:pt x="16" y="4"/>
                      </a:cubicBezTo>
                      <a:cubicBezTo>
                        <a:pt x="21" y="1"/>
                        <a:pt x="26" y="0"/>
                        <a:pt x="31" y="0"/>
                      </a:cubicBezTo>
                      <a:cubicBezTo>
                        <a:pt x="37" y="0"/>
                        <a:pt x="42" y="1"/>
                        <a:pt x="47" y="4"/>
                      </a:cubicBezTo>
                      <a:cubicBezTo>
                        <a:pt x="52" y="7"/>
                        <a:pt x="55" y="10"/>
                        <a:pt x="58" y="15"/>
                      </a:cubicBezTo>
                      <a:cubicBezTo>
                        <a:pt x="61" y="20"/>
                        <a:pt x="62" y="25"/>
                        <a:pt x="62" y="31"/>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E0E2E1"/>
                    </a:solidFill>
                    <a:effectLst/>
                    <a:uLnTx/>
                    <a:uFillTx/>
                    <a:latin typeface="Oracle Sans Light" panose="020B0403020204020204" pitchFamily="34" charset="0"/>
                    <a:ea typeface="+mn-ea"/>
                    <a:cs typeface="Oracle Sans Light" panose="020B0403020204020204" pitchFamily="34" charset="0"/>
                  </a:endParaRPr>
                </a:p>
              </p:txBody>
            </p:sp>
            <p:sp>
              <p:nvSpPr>
                <p:cNvPr id="128" name="Freeform 42">
                  <a:extLst>
                    <a:ext uri="{FF2B5EF4-FFF2-40B4-BE49-F238E27FC236}">
                      <a16:creationId xmlns:a16="http://schemas.microsoft.com/office/drawing/2014/main" id="{24989327-F782-46BB-A0C6-BDA188B84AAD}"/>
                    </a:ext>
                  </a:extLst>
                </p:cNvPr>
                <p:cNvSpPr>
                  <a:spLocks noChangeArrowheads="1"/>
                </p:cNvSpPr>
                <p:nvPr/>
              </p:nvSpPr>
              <p:spPr bwMode="auto">
                <a:xfrm>
                  <a:off x="3982243" y="6002192"/>
                  <a:ext cx="310498" cy="292294"/>
                </a:xfrm>
                <a:custGeom>
                  <a:avLst/>
                  <a:gdLst>
                    <a:gd name="T0" fmla="*/ 867 w 918"/>
                    <a:gd name="T1" fmla="*/ 0 h 1003"/>
                    <a:gd name="T2" fmla="*/ 917 w 918"/>
                    <a:gd name="T3" fmla="*/ 51 h 1003"/>
                    <a:gd name="T4" fmla="*/ 917 w 918"/>
                    <a:gd name="T5" fmla="*/ 951 h 1003"/>
                    <a:gd name="T6" fmla="*/ 867 w 918"/>
                    <a:gd name="T7" fmla="*/ 1002 h 1003"/>
                    <a:gd name="T8" fmla="*/ 51 w 918"/>
                    <a:gd name="T9" fmla="*/ 1002 h 1003"/>
                    <a:gd name="T10" fmla="*/ 0 w 918"/>
                    <a:gd name="T11" fmla="*/ 951 h 1003"/>
                    <a:gd name="T12" fmla="*/ 0 w 918"/>
                    <a:gd name="T13" fmla="*/ 51 h 1003"/>
                    <a:gd name="T14" fmla="*/ 51 w 918"/>
                    <a:gd name="T15" fmla="*/ 0 h 1003"/>
                    <a:gd name="T16" fmla="*/ 867 w 918"/>
                    <a:gd name="T17" fmla="*/ 0 h 1003"/>
                    <a:gd name="T18" fmla="*/ 776 w 918"/>
                    <a:gd name="T19" fmla="*/ 798 h 1003"/>
                    <a:gd name="T20" fmla="*/ 779 w 918"/>
                    <a:gd name="T21" fmla="*/ 798 h 1003"/>
                    <a:gd name="T22" fmla="*/ 779 w 918"/>
                    <a:gd name="T23" fmla="*/ 632 h 1003"/>
                    <a:gd name="T24" fmla="*/ 153 w 918"/>
                    <a:gd name="T25" fmla="*/ 632 h 1003"/>
                    <a:gd name="T26" fmla="*/ 153 w 918"/>
                    <a:gd name="T27" fmla="*/ 798 h 1003"/>
                    <a:gd name="T28" fmla="*/ 172 w 918"/>
                    <a:gd name="T29" fmla="*/ 818 h 1003"/>
                    <a:gd name="T30" fmla="*/ 756 w 918"/>
                    <a:gd name="T31" fmla="*/ 818 h 1003"/>
                    <a:gd name="T32" fmla="*/ 776 w 918"/>
                    <a:gd name="T33" fmla="*/ 798 h 1003"/>
                    <a:gd name="T34" fmla="*/ 776 w 918"/>
                    <a:gd name="T35" fmla="*/ 595 h 1003"/>
                    <a:gd name="T36" fmla="*/ 776 w 918"/>
                    <a:gd name="T37" fmla="*/ 409 h 1003"/>
                    <a:gd name="T38" fmla="*/ 150 w 918"/>
                    <a:gd name="T39" fmla="*/ 409 h 1003"/>
                    <a:gd name="T40" fmla="*/ 150 w 918"/>
                    <a:gd name="T41" fmla="*/ 595 h 1003"/>
                    <a:gd name="T42" fmla="*/ 776 w 918"/>
                    <a:gd name="T43" fmla="*/ 595 h 1003"/>
                    <a:gd name="T44" fmla="*/ 150 w 918"/>
                    <a:gd name="T45" fmla="*/ 367 h 1003"/>
                    <a:gd name="T46" fmla="*/ 773 w 918"/>
                    <a:gd name="T47" fmla="*/ 367 h 1003"/>
                    <a:gd name="T48" fmla="*/ 773 w 918"/>
                    <a:gd name="T49" fmla="*/ 200 h 1003"/>
                    <a:gd name="T50" fmla="*/ 754 w 918"/>
                    <a:gd name="T51" fmla="*/ 180 h 1003"/>
                    <a:gd name="T52" fmla="*/ 169 w 918"/>
                    <a:gd name="T53" fmla="*/ 180 h 1003"/>
                    <a:gd name="T54" fmla="*/ 150 w 918"/>
                    <a:gd name="T55" fmla="*/ 200 h 1003"/>
                    <a:gd name="T56" fmla="*/ 150 w 918"/>
                    <a:gd name="T57" fmla="*/ 36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18" h="1003">
                      <a:moveTo>
                        <a:pt x="867" y="0"/>
                      </a:moveTo>
                      <a:cubicBezTo>
                        <a:pt x="895" y="0"/>
                        <a:pt x="917" y="22"/>
                        <a:pt x="917" y="51"/>
                      </a:cubicBezTo>
                      <a:lnTo>
                        <a:pt x="917" y="951"/>
                      </a:lnTo>
                      <a:cubicBezTo>
                        <a:pt x="917" y="979"/>
                        <a:pt x="895" y="1002"/>
                        <a:pt x="867" y="1002"/>
                      </a:cubicBezTo>
                      <a:lnTo>
                        <a:pt x="51" y="1002"/>
                      </a:lnTo>
                      <a:cubicBezTo>
                        <a:pt x="23" y="1002"/>
                        <a:pt x="0" y="979"/>
                        <a:pt x="0" y="951"/>
                      </a:cubicBezTo>
                      <a:lnTo>
                        <a:pt x="0" y="51"/>
                      </a:lnTo>
                      <a:cubicBezTo>
                        <a:pt x="0" y="22"/>
                        <a:pt x="23" y="0"/>
                        <a:pt x="51" y="0"/>
                      </a:cubicBezTo>
                      <a:lnTo>
                        <a:pt x="867" y="0"/>
                      </a:lnTo>
                      <a:close/>
                      <a:moveTo>
                        <a:pt x="776" y="798"/>
                      </a:moveTo>
                      <a:lnTo>
                        <a:pt x="779" y="798"/>
                      </a:lnTo>
                      <a:lnTo>
                        <a:pt x="779" y="632"/>
                      </a:lnTo>
                      <a:lnTo>
                        <a:pt x="153" y="632"/>
                      </a:lnTo>
                      <a:lnTo>
                        <a:pt x="153" y="798"/>
                      </a:lnTo>
                      <a:cubicBezTo>
                        <a:pt x="153" y="810"/>
                        <a:pt x="161" y="818"/>
                        <a:pt x="172" y="818"/>
                      </a:cubicBezTo>
                      <a:lnTo>
                        <a:pt x="756" y="818"/>
                      </a:lnTo>
                      <a:cubicBezTo>
                        <a:pt x="768" y="818"/>
                        <a:pt x="776" y="810"/>
                        <a:pt x="776" y="798"/>
                      </a:cubicBezTo>
                      <a:close/>
                      <a:moveTo>
                        <a:pt x="776" y="595"/>
                      </a:moveTo>
                      <a:lnTo>
                        <a:pt x="776" y="409"/>
                      </a:lnTo>
                      <a:lnTo>
                        <a:pt x="150" y="409"/>
                      </a:lnTo>
                      <a:lnTo>
                        <a:pt x="150" y="595"/>
                      </a:lnTo>
                      <a:lnTo>
                        <a:pt x="776" y="595"/>
                      </a:lnTo>
                      <a:close/>
                      <a:moveTo>
                        <a:pt x="150" y="367"/>
                      </a:moveTo>
                      <a:lnTo>
                        <a:pt x="773" y="367"/>
                      </a:lnTo>
                      <a:lnTo>
                        <a:pt x="773" y="200"/>
                      </a:lnTo>
                      <a:cubicBezTo>
                        <a:pt x="773" y="189"/>
                        <a:pt x="765" y="180"/>
                        <a:pt x="754" y="180"/>
                      </a:cubicBezTo>
                      <a:lnTo>
                        <a:pt x="169" y="180"/>
                      </a:lnTo>
                      <a:cubicBezTo>
                        <a:pt x="158" y="180"/>
                        <a:pt x="150" y="189"/>
                        <a:pt x="150" y="200"/>
                      </a:cubicBezTo>
                      <a:lnTo>
                        <a:pt x="150" y="367"/>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E0E2E1"/>
                    </a:solidFill>
                    <a:effectLst/>
                    <a:uLnTx/>
                    <a:uFillTx/>
                    <a:latin typeface="Oracle Sans Light" panose="020B0403020204020204" pitchFamily="34" charset="0"/>
                    <a:ea typeface="+mn-ea"/>
                    <a:cs typeface="Oracle Sans Light" panose="020B0403020204020204" pitchFamily="34" charset="0"/>
                  </a:endParaRPr>
                </a:p>
              </p:txBody>
            </p:sp>
            <p:sp>
              <p:nvSpPr>
                <p:cNvPr id="129" name="Freeform 43">
                  <a:extLst>
                    <a:ext uri="{FF2B5EF4-FFF2-40B4-BE49-F238E27FC236}">
                      <a16:creationId xmlns:a16="http://schemas.microsoft.com/office/drawing/2014/main" id="{182C3295-192E-46C1-95AB-C7484BABC9A8}"/>
                    </a:ext>
                  </a:extLst>
                </p:cNvPr>
                <p:cNvSpPr>
                  <a:spLocks noChangeArrowheads="1"/>
                </p:cNvSpPr>
                <p:nvPr/>
              </p:nvSpPr>
              <p:spPr bwMode="auto">
                <a:xfrm>
                  <a:off x="4179390" y="6204351"/>
                  <a:ext cx="20899" cy="18027"/>
                </a:xfrm>
                <a:custGeom>
                  <a:avLst/>
                  <a:gdLst>
                    <a:gd name="T0" fmla="*/ 62 w 63"/>
                    <a:gd name="T1" fmla="*/ 31 h 63"/>
                    <a:gd name="T2" fmla="*/ 58 w 63"/>
                    <a:gd name="T3" fmla="*/ 47 h 63"/>
                    <a:gd name="T4" fmla="*/ 47 w 63"/>
                    <a:gd name="T5" fmla="*/ 58 h 63"/>
                    <a:gd name="T6" fmla="*/ 31 w 63"/>
                    <a:gd name="T7" fmla="*/ 62 h 63"/>
                    <a:gd name="T8" fmla="*/ 16 w 63"/>
                    <a:gd name="T9" fmla="*/ 58 h 63"/>
                    <a:gd name="T10" fmla="*/ 4 w 63"/>
                    <a:gd name="T11" fmla="*/ 47 h 63"/>
                    <a:gd name="T12" fmla="*/ 0 w 63"/>
                    <a:gd name="T13" fmla="*/ 31 h 63"/>
                    <a:gd name="T14" fmla="*/ 4 w 63"/>
                    <a:gd name="T15" fmla="*/ 16 h 63"/>
                    <a:gd name="T16" fmla="*/ 16 w 63"/>
                    <a:gd name="T17" fmla="*/ 4 h 63"/>
                    <a:gd name="T18" fmla="*/ 31 w 63"/>
                    <a:gd name="T19" fmla="*/ 0 h 63"/>
                    <a:gd name="T20" fmla="*/ 47 w 63"/>
                    <a:gd name="T21" fmla="*/ 4 h 63"/>
                    <a:gd name="T22" fmla="*/ 58 w 63"/>
                    <a:gd name="T23" fmla="*/ 16 h 63"/>
                    <a:gd name="T24" fmla="*/ 62 w 63"/>
                    <a:gd name="T2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3">
                      <a:moveTo>
                        <a:pt x="62" y="31"/>
                      </a:moveTo>
                      <a:cubicBezTo>
                        <a:pt x="62" y="37"/>
                        <a:pt x="61" y="42"/>
                        <a:pt x="58" y="47"/>
                      </a:cubicBezTo>
                      <a:cubicBezTo>
                        <a:pt x="55" y="52"/>
                        <a:pt x="52" y="55"/>
                        <a:pt x="47" y="58"/>
                      </a:cubicBezTo>
                      <a:cubicBezTo>
                        <a:pt x="42" y="61"/>
                        <a:pt x="36" y="62"/>
                        <a:pt x="31" y="62"/>
                      </a:cubicBezTo>
                      <a:cubicBezTo>
                        <a:pt x="25" y="62"/>
                        <a:pt x="21" y="61"/>
                        <a:pt x="16" y="58"/>
                      </a:cubicBezTo>
                      <a:cubicBezTo>
                        <a:pt x="11" y="55"/>
                        <a:pt x="7" y="52"/>
                        <a:pt x="4" y="47"/>
                      </a:cubicBezTo>
                      <a:cubicBezTo>
                        <a:pt x="1" y="42"/>
                        <a:pt x="0" y="37"/>
                        <a:pt x="0" y="31"/>
                      </a:cubicBezTo>
                      <a:cubicBezTo>
                        <a:pt x="0" y="25"/>
                        <a:pt x="1" y="20"/>
                        <a:pt x="4" y="16"/>
                      </a:cubicBezTo>
                      <a:cubicBezTo>
                        <a:pt x="7" y="11"/>
                        <a:pt x="11" y="7"/>
                        <a:pt x="16" y="4"/>
                      </a:cubicBezTo>
                      <a:cubicBezTo>
                        <a:pt x="21" y="1"/>
                        <a:pt x="26" y="0"/>
                        <a:pt x="31" y="0"/>
                      </a:cubicBezTo>
                      <a:cubicBezTo>
                        <a:pt x="37" y="0"/>
                        <a:pt x="42" y="1"/>
                        <a:pt x="47" y="4"/>
                      </a:cubicBezTo>
                      <a:cubicBezTo>
                        <a:pt x="52" y="7"/>
                        <a:pt x="55" y="11"/>
                        <a:pt x="58" y="16"/>
                      </a:cubicBezTo>
                      <a:cubicBezTo>
                        <a:pt x="61" y="20"/>
                        <a:pt x="62" y="25"/>
                        <a:pt x="62" y="31"/>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E0E2E1"/>
                    </a:solidFill>
                    <a:effectLst/>
                    <a:uLnTx/>
                    <a:uFillTx/>
                    <a:latin typeface="Oracle Sans Light" panose="020B0403020204020204" pitchFamily="34" charset="0"/>
                    <a:ea typeface="+mn-ea"/>
                    <a:cs typeface="Oracle Sans Light" panose="020B0403020204020204" pitchFamily="34" charset="0"/>
                  </a:endParaRPr>
                </a:p>
              </p:txBody>
            </p:sp>
          </p:grpSp>
        </p:grpSp>
      </p:grpSp>
      <p:grpSp>
        <p:nvGrpSpPr>
          <p:cNvPr id="28" name="Group 27">
            <a:extLst>
              <a:ext uri="{FF2B5EF4-FFF2-40B4-BE49-F238E27FC236}">
                <a16:creationId xmlns:a16="http://schemas.microsoft.com/office/drawing/2014/main" id="{2B7E9159-6D9F-405E-8F4B-B25F914E43FA}"/>
              </a:ext>
            </a:extLst>
          </p:cNvPr>
          <p:cNvGrpSpPr/>
          <p:nvPr/>
        </p:nvGrpSpPr>
        <p:grpSpPr>
          <a:xfrm>
            <a:off x="1580115" y="5370462"/>
            <a:ext cx="8762365" cy="494659"/>
            <a:chOff x="1580115" y="5370462"/>
            <a:chExt cx="8762365" cy="494659"/>
          </a:xfrm>
        </p:grpSpPr>
        <p:sp>
          <p:nvSpPr>
            <p:cNvPr id="88" name="Rectangle 87">
              <a:extLst>
                <a:ext uri="{FF2B5EF4-FFF2-40B4-BE49-F238E27FC236}">
                  <a16:creationId xmlns:a16="http://schemas.microsoft.com/office/drawing/2014/main" id="{19DC84CF-AA29-9E4B-A3B8-2E3E5CBB540E}"/>
                </a:ext>
              </a:extLst>
            </p:cNvPr>
            <p:cNvSpPr/>
            <p:nvPr/>
          </p:nvSpPr>
          <p:spPr>
            <a:xfrm>
              <a:off x="1580115" y="5445990"/>
              <a:ext cx="8762365" cy="330653"/>
            </a:xfrm>
            <a:prstGeom prst="rect">
              <a:avLst/>
            </a:pr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 </a:t>
              </a:r>
            </a:p>
          </p:txBody>
        </p:sp>
        <p:sp>
          <p:nvSpPr>
            <p:cNvPr id="95" name="TextBox 94">
              <a:extLst>
                <a:ext uri="{FF2B5EF4-FFF2-40B4-BE49-F238E27FC236}">
                  <a16:creationId xmlns:a16="http://schemas.microsoft.com/office/drawing/2014/main" id="{20E93D30-8875-4446-8E49-03140AB87D08}"/>
                </a:ext>
              </a:extLst>
            </p:cNvPr>
            <p:cNvSpPr txBox="1"/>
            <p:nvPr/>
          </p:nvSpPr>
          <p:spPr>
            <a:xfrm>
              <a:off x="5213883" y="5470912"/>
              <a:ext cx="198721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Data Catalog</a:t>
              </a:r>
            </a:p>
          </p:txBody>
        </p:sp>
        <p:pic>
          <p:nvPicPr>
            <p:cNvPr id="130" name="Picture Placeholder 5">
              <a:extLst>
                <a:ext uri="{FF2B5EF4-FFF2-40B4-BE49-F238E27FC236}">
                  <a16:creationId xmlns:a16="http://schemas.microsoft.com/office/drawing/2014/main" id="{91EE3A2D-9819-41E3-AB11-7AC9ECCE177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5556" r="5556"/>
            <a:stretch>
              <a:fillRect/>
            </a:stretch>
          </p:blipFill>
          <p:spPr>
            <a:xfrm>
              <a:off x="4953572" y="5370462"/>
              <a:ext cx="439697" cy="494659"/>
            </a:xfrm>
            <a:prstGeom prst="rect">
              <a:avLst/>
            </a:prstGeom>
          </p:spPr>
        </p:pic>
      </p:grpSp>
      <p:grpSp>
        <p:nvGrpSpPr>
          <p:cNvPr id="35" name="Group 34">
            <a:extLst>
              <a:ext uri="{FF2B5EF4-FFF2-40B4-BE49-F238E27FC236}">
                <a16:creationId xmlns:a16="http://schemas.microsoft.com/office/drawing/2014/main" id="{1B9F4092-407E-4263-B631-502694141CE8}"/>
              </a:ext>
            </a:extLst>
          </p:cNvPr>
          <p:cNvGrpSpPr/>
          <p:nvPr/>
        </p:nvGrpSpPr>
        <p:grpSpPr>
          <a:xfrm>
            <a:off x="7779125" y="1315315"/>
            <a:ext cx="3130294" cy="4055146"/>
            <a:chOff x="7779125" y="1315315"/>
            <a:chExt cx="3130294" cy="4055146"/>
          </a:xfrm>
        </p:grpSpPr>
        <p:sp>
          <p:nvSpPr>
            <p:cNvPr id="101" name="Rectangle 100">
              <a:extLst>
                <a:ext uri="{FF2B5EF4-FFF2-40B4-BE49-F238E27FC236}">
                  <a16:creationId xmlns:a16="http://schemas.microsoft.com/office/drawing/2014/main" id="{974F54F8-8D25-2C42-8AA7-6F94B7DA8A45}"/>
                </a:ext>
              </a:extLst>
            </p:cNvPr>
            <p:cNvSpPr/>
            <p:nvPr/>
          </p:nvSpPr>
          <p:spPr>
            <a:xfrm>
              <a:off x="7828800" y="1861396"/>
              <a:ext cx="2513680" cy="350906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p:txBody>
        </p:sp>
        <p:sp>
          <p:nvSpPr>
            <p:cNvPr id="87" name="TextBox 86">
              <a:extLst>
                <a:ext uri="{FF2B5EF4-FFF2-40B4-BE49-F238E27FC236}">
                  <a16:creationId xmlns:a16="http://schemas.microsoft.com/office/drawing/2014/main" id="{01E47C70-BE69-3842-9D31-6AB41DD1B516}"/>
                </a:ext>
              </a:extLst>
            </p:cNvPr>
            <p:cNvSpPr txBox="1"/>
            <p:nvPr/>
          </p:nvSpPr>
          <p:spPr>
            <a:xfrm>
              <a:off x="7828799" y="1315315"/>
              <a:ext cx="2513682" cy="461665"/>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413636"/>
                  </a:solidFill>
                  <a:effectLst/>
                  <a:uLnTx/>
                  <a:uFillTx/>
                  <a:latin typeface="Oracle Sans Light" panose="020B0403020204020204" pitchFamily="34" charset="0"/>
                  <a:ea typeface="+mn-ea"/>
                  <a:cs typeface="Oracle Sans Light" panose="020B0403020204020204" pitchFamily="34" charset="0"/>
                </a:rPr>
                <a:t>Utiliser</a:t>
              </a:r>
              <a:endParaRPr kumimoji="0" lang="en-US" sz="2400" b="1" i="0" u="none" strike="noStrike" kern="1200" cap="none" spc="0" normalizeH="0" baseline="0" noProof="0" dirty="0">
                <a:ln>
                  <a:noFill/>
                </a:ln>
                <a:solidFill>
                  <a:srgbClr val="413636"/>
                </a:solidFill>
                <a:effectLst/>
                <a:uLnTx/>
                <a:uFillTx/>
                <a:latin typeface="Oracle Sans Light" panose="020B0403020204020204" pitchFamily="34" charset="0"/>
                <a:ea typeface="+mn-ea"/>
                <a:cs typeface="Oracle Sans Light" panose="020B0403020204020204" pitchFamily="34" charset="0"/>
              </a:endParaRPr>
            </a:p>
          </p:txBody>
        </p:sp>
        <p:grpSp>
          <p:nvGrpSpPr>
            <p:cNvPr id="21" name="Group 20">
              <a:extLst>
                <a:ext uri="{FF2B5EF4-FFF2-40B4-BE49-F238E27FC236}">
                  <a16:creationId xmlns:a16="http://schemas.microsoft.com/office/drawing/2014/main" id="{4A1B2949-60CD-4344-8683-50D20AECF450}"/>
                </a:ext>
              </a:extLst>
            </p:cNvPr>
            <p:cNvGrpSpPr/>
            <p:nvPr/>
          </p:nvGrpSpPr>
          <p:grpSpPr>
            <a:xfrm>
              <a:off x="8035535" y="1897801"/>
              <a:ext cx="2873884" cy="509519"/>
              <a:chOff x="8028691" y="2058687"/>
              <a:chExt cx="2873884" cy="509519"/>
            </a:xfrm>
          </p:grpSpPr>
          <p:pic>
            <p:nvPicPr>
              <p:cNvPr id="63" name="Picture 62">
                <a:extLst>
                  <a:ext uri="{FF2B5EF4-FFF2-40B4-BE49-F238E27FC236}">
                    <a16:creationId xmlns:a16="http://schemas.microsoft.com/office/drawing/2014/main" id="{FEE93092-4B11-784C-9E42-A97EAED25506}"/>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8028691" y="2115442"/>
                <a:ext cx="381771" cy="332326"/>
              </a:xfrm>
              <a:prstGeom prst="rect">
                <a:avLst/>
              </a:prstGeom>
            </p:spPr>
          </p:pic>
          <p:sp>
            <p:nvSpPr>
              <p:cNvPr id="80" name="TextBox 79">
                <a:extLst>
                  <a:ext uri="{FF2B5EF4-FFF2-40B4-BE49-F238E27FC236}">
                    <a16:creationId xmlns:a16="http://schemas.microsoft.com/office/drawing/2014/main" id="{5ECF3DA3-4E06-2C41-8F09-AC7529923B1F}"/>
                  </a:ext>
                </a:extLst>
              </p:cNvPr>
              <p:cNvSpPr txBox="1"/>
              <p:nvPr/>
            </p:nvSpPr>
            <p:spPr>
              <a:xfrm>
                <a:off x="8538947" y="2058687"/>
                <a:ext cx="1341800" cy="331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Oracle Sans Light" panose="020B0403020204020204" pitchFamily="34" charset="0"/>
                    <a:ea typeface="+mn-ea"/>
                    <a:cs typeface="Oracle Sans Light" panose="020B0403020204020204" pitchFamily="34" charset="0"/>
                  </a:rPr>
                  <a:t>AppDev</a:t>
                </a:r>
                <a:endPar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p:txBody>
          </p:sp>
          <p:sp>
            <p:nvSpPr>
              <p:cNvPr id="91" name="TextBox 90">
                <a:extLst>
                  <a:ext uri="{FF2B5EF4-FFF2-40B4-BE49-F238E27FC236}">
                    <a16:creationId xmlns:a16="http://schemas.microsoft.com/office/drawing/2014/main" id="{5CC3BB6A-F074-8340-947B-BC6F30C27E7A}"/>
                  </a:ext>
                </a:extLst>
              </p:cNvPr>
              <p:cNvSpPr txBox="1"/>
              <p:nvPr/>
            </p:nvSpPr>
            <p:spPr>
              <a:xfrm>
                <a:off x="8532103" y="2314290"/>
                <a:ext cx="237047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Developer Services</a:t>
                </a:r>
              </a:p>
            </p:txBody>
          </p:sp>
        </p:grpSp>
        <p:grpSp>
          <p:nvGrpSpPr>
            <p:cNvPr id="20" name="Group 19">
              <a:extLst>
                <a:ext uri="{FF2B5EF4-FFF2-40B4-BE49-F238E27FC236}">
                  <a16:creationId xmlns:a16="http://schemas.microsoft.com/office/drawing/2014/main" id="{52806AF3-7933-425A-8058-4F70B5057B38}"/>
                </a:ext>
              </a:extLst>
            </p:cNvPr>
            <p:cNvGrpSpPr/>
            <p:nvPr/>
          </p:nvGrpSpPr>
          <p:grpSpPr>
            <a:xfrm>
              <a:off x="8008978" y="2757066"/>
              <a:ext cx="2886021" cy="599603"/>
              <a:chOff x="8008978" y="2752920"/>
              <a:chExt cx="2886021" cy="599603"/>
            </a:xfrm>
          </p:grpSpPr>
          <p:sp>
            <p:nvSpPr>
              <p:cNvPr id="81" name="TextBox 80">
                <a:extLst>
                  <a:ext uri="{FF2B5EF4-FFF2-40B4-BE49-F238E27FC236}">
                    <a16:creationId xmlns:a16="http://schemas.microsoft.com/office/drawing/2014/main" id="{E0E18B6F-EF96-704D-87B6-2ED3CFB018DF}"/>
                  </a:ext>
                </a:extLst>
              </p:cNvPr>
              <p:cNvSpPr txBox="1"/>
              <p:nvPr/>
            </p:nvSpPr>
            <p:spPr>
              <a:xfrm>
                <a:off x="8539370" y="2752920"/>
                <a:ext cx="1341800" cy="331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Analytics</a:t>
                </a:r>
              </a:p>
            </p:txBody>
          </p:sp>
          <p:sp>
            <p:nvSpPr>
              <p:cNvPr id="89" name="TextBox 88">
                <a:extLst>
                  <a:ext uri="{FF2B5EF4-FFF2-40B4-BE49-F238E27FC236}">
                    <a16:creationId xmlns:a16="http://schemas.microsoft.com/office/drawing/2014/main" id="{E5E0D37A-E22C-CD4E-B916-82721AB71CE4}"/>
                  </a:ext>
                </a:extLst>
              </p:cNvPr>
              <p:cNvSpPr txBox="1"/>
              <p:nvPr/>
            </p:nvSpPr>
            <p:spPr>
              <a:xfrm>
                <a:off x="8524527" y="3098607"/>
                <a:ext cx="237047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Oracle Analytics Cloud</a:t>
                </a:r>
              </a:p>
            </p:txBody>
          </p:sp>
          <p:pic>
            <p:nvPicPr>
              <p:cNvPr id="70" name="Picture 6" descr="https://cloud.oracle.com/opc/paas/images/DataAnalyzer_w_72%402x.png">
                <a:extLst>
                  <a:ext uri="{FF2B5EF4-FFF2-40B4-BE49-F238E27FC236}">
                    <a16:creationId xmlns:a16="http://schemas.microsoft.com/office/drawing/2014/main" id="{B41CFE15-5ED0-454B-9FC6-3A5EBBC2A97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08978" y="2863154"/>
                <a:ext cx="414514" cy="4475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C5BFFF10-570F-4BCD-A688-A23386351F62}"/>
                </a:ext>
              </a:extLst>
            </p:cNvPr>
            <p:cNvGrpSpPr/>
            <p:nvPr/>
          </p:nvGrpSpPr>
          <p:grpSpPr>
            <a:xfrm>
              <a:off x="7779125" y="3706415"/>
              <a:ext cx="2903968" cy="535724"/>
              <a:chOff x="7779125" y="3546498"/>
              <a:chExt cx="2903968" cy="535724"/>
            </a:xfrm>
          </p:grpSpPr>
          <p:pic>
            <p:nvPicPr>
              <p:cNvPr id="110" name="Picture 2" descr="Image result for oracle integration icon">
                <a:extLst>
                  <a:ext uri="{FF2B5EF4-FFF2-40B4-BE49-F238E27FC236}">
                    <a16:creationId xmlns:a16="http://schemas.microsoft.com/office/drawing/2014/main" id="{69CA81AB-72ED-43BE-8AD5-4D6A345530C1}"/>
                  </a:ext>
                </a:extLst>
              </p:cNvPr>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79125" y="3547286"/>
                <a:ext cx="848159" cy="534026"/>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9849FBFE-95A1-4F0D-8C44-DC40139F9026}"/>
                  </a:ext>
                </a:extLst>
              </p:cNvPr>
              <p:cNvSpPr txBox="1"/>
              <p:nvPr/>
            </p:nvSpPr>
            <p:spPr>
              <a:xfrm>
                <a:off x="8547266" y="3546498"/>
                <a:ext cx="21358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Application Integration</a:t>
                </a:r>
              </a:p>
            </p:txBody>
          </p:sp>
          <p:sp>
            <p:nvSpPr>
              <p:cNvPr id="112" name="TextBox 111">
                <a:extLst>
                  <a:ext uri="{FF2B5EF4-FFF2-40B4-BE49-F238E27FC236}">
                    <a16:creationId xmlns:a16="http://schemas.microsoft.com/office/drawing/2014/main" id="{C81A56D4-1375-4E0E-9862-49E84C245923}"/>
                  </a:ext>
                </a:extLst>
              </p:cNvPr>
              <p:cNvSpPr txBox="1"/>
              <p:nvPr/>
            </p:nvSpPr>
            <p:spPr>
              <a:xfrm>
                <a:off x="8543195" y="3828306"/>
                <a:ext cx="202523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Oracle integration cloud</a:t>
                </a:r>
              </a:p>
            </p:txBody>
          </p:sp>
        </p:grpSp>
        <p:grpSp>
          <p:nvGrpSpPr>
            <p:cNvPr id="18" name="Group 17">
              <a:extLst>
                <a:ext uri="{FF2B5EF4-FFF2-40B4-BE49-F238E27FC236}">
                  <a16:creationId xmlns:a16="http://schemas.microsoft.com/office/drawing/2014/main" id="{BA65B48A-9BE6-4E1A-A5AE-BC5F76A08DA9}"/>
                </a:ext>
              </a:extLst>
            </p:cNvPr>
            <p:cNvGrpSpPr/>
            <p:nvPr/>
          </p:nvGrpSpPr>
          <p:grpSpPr>
            <a:xfrm>
              <a:off x="7995948" y="4591886"/>
              <a:ext cx="2913471" cy="521781"/>
              <a:chOff x="7995948" y="4298920"/>
              <a:chExt cx="2913471" cy="521781"/>
            </a:xfrm>
          </p:grpSpPr>
          <p:sp>
            <p:nvSpPr>
              <p:cNvPr id="68" name="TextBox 67">
                <a:extLst>
                  <a:ext uri="{FF2B5EF4-FFF2-40B4-BE49-F238E27FC236}">
                    <a16:creationId xmlns:a16="http://schemas.microsoft.com/office/drawing/2014/main" id="{B9571F66-A636-C147-9B6B-75A807C68343}"/>
                  </a:ext>
                </a:extLst>
              </p:cNvPr>
              <p:cNvSpPr txBox="1"/>
              <p:nvPr/>
            </p:nvSpPr>
            <p:spPr>
              <a:xfrm>
                <a:off x="8538947" y="4566785"/>
                <a:ext cx="237047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Data Science</a:t>
                </a:r>
              </a:p>
            </p:txBody>
          </p:sp>
          <p:sp>
            <p:nvSpPr>
              <p:cNvPr id="82" name="TextBox 81">
                <a:extLst>
                  <a:ext uri="{FF2B5EF4-FFF2-40B4-BE49-F238E27FC236}">
                    <a16:creationId xmlns:a16="http://schemas.microsoft.com/office/drawing/2014/main" id="{4BC38A8B-97E0-194D-8000-92E3AFE71FED}"/>
                  </a:ext>
                </a:extLst>
              </p:cNvPr>
              <p:cNvSpPr txBox="1"/>
              <p:nvPr/>
            </p:nvSpPr>
            <p:spPr>
              <a:xfrm>
                <a:off x="8538947" y="4298920"/>
                <a:ext cx="1731576" cy="331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Data Science</a:t>
                </a:r>
              </a:p>
            </p:txBody>
          </p:sp>
          <p:sp>
            <p:nvSpPr>
              <p:cNvPr id="138" name="Freeform 5">
                <a:extLst>
                  <a:ext uri="{FF2B5EF4-FFF2-40B4-BE49-F238E27FC236}">
                    <a16:creationId xmlns:a16="http://schemas.microsoft.com/office/drawing/2014/main" id="{D99AD8A7-99BA-4EF0-B192-B1CEF06D11A7}"/>
                  </a:ext>
                </a:extLst>
              </p:cNvPr>
              <p:cNvSpPr/>
              <p:nvPr/>
            </p:nvSpPr>
            <p:spPr>
              <a:xfrm>
                <a:off x="7995948" y="4370509"/>
                <a:ext cx="414514" cy="412407"/>
              </a:xfrm>
              <a:custGeom>
                <a:avLst/>
                <a:gdLst/>
                <a:ahLst/>
                <a:cxnLst/>
                <a:rect l="0" t="0" r="r" b="b"/>
                <a:pathLst>
                  <a:path w="2037" h="2266">
                    <a:moveTo>
                      <a:pt x="337" y="1398"/>
                    </a:moveTo>
                    <a:lnTo>
                      <a:pt x="337" y="1398"/>
                    </a:lnTo>
                    <a:cubicBezTo>
                      <a:pt x="297" y="1398"/>
                      <a:pt x="277" y="1369"/>
                      <a:pt x="277" y="1340"/>
                    </a:cubicBezTo>
                    <a:cubicBezTo>
                      <a:pt x="277" y="1300"/>
                      <a:pt x="297" y="1280"/>
                      <a:pt x="337" y="1280"/>
                    </a:cubicBezTo>
                    <a:cubicBezTo>
                      <a:pt x="366" y="1280"/>
                      <a:pt x="396" y="1300"/>
                      <a:pt x="396" y="1340"/>
                    </a:cubicBezTo>
                    <a:cubicBezTo>
                      <a:pt x="396" y="1369"/>
                      <a:pt x="366" y="1398"/>
                      <a:pt x="337" y="1398"/>
                    </a:cubicBezTo>
                    <a:moveTo>
                      <a:pt x="682" y="453"/>
                    </a:moveTo>
                    <a:lnTo>
                      <a:pt x="682" y="453"/>
                    </a:lnTo>
                    <a:cubicBezTo>
                      <a:pt x="682" y="424"/>
                      <a:pt x="653" y="394"/>
                      <a:pt x="623" y="394"/>
                    </a:cubicBezTo>
                    <a:cubicBezTo>
                      <a:pt x="593" y="394"/>
                      <a:pt x="564" y="424"/>
                      <a:pt x="564" y="453"/>
                    </a:cubicBezTo>
                    <a:cubicBezTo>
                      <a:pt x="564" y="493"/>
                      <a:pt x="593" y="512"/>
                      <a:pt x="623" y="512"/>
                    </a:cubicBezTo>
                    <a:cubicBezTo>
                      <a:pt x="653" y="512"/>
                      <a:pt x="682" y="493"/>
                      <a:pt x="682" y="453"/>
                    </a:cubicBezTo>
                    <a:moveTo>
                      <a:pt x="900" y="1694"/>
                    </a:moveTo>
                    <a:lnTo>
                      <a:pt x="900" y="1694"/>
                    </a:lnTo>
                    <a:cubicBezTo>
                      <a:pt x="870" y="1684"/>
                      <a:pt x="841" y="1674"/>
                      <a:pt x="811" y="1655"/>
                    </a:cubicBezTo>
                    <a:cubicBezTo>
                      <a:pt x="821" y="1556"/>
                      <a:pt x="821" y="1556"/>
                      <a:pt x="821" y="1556"/>
                    </a:cubicBezTo>
                    <a:cubicBezTo>
                      <a:pt x="811" y="1546"/>
                      <a:pt x="791" y="1537"/>
                      <a:pt x="781" y="1527"/>
                    </a:cubicBezTo>
                    <a:cubicBezTo>
                      <a:pt x="771" y="1517"/>
                      <a:pt x="761" y="1507"/>
                      <a:pt x="761" y="1497"/>
                    </a:cubicBezTo>
                    <a:cubicBezTo>
                      <a:pt x="653" y="1497"/>
                      <a:pt x="653" y="1497"/>
                      <a:pt x="653" y="1497"/>
                    </a:cubicBezTo>
                    <a:cubicBezTo>
                      <a:pt x="633" y="1468"/>
                      <a:pt x="623" y="1438"/>
                      <a:pt x="613" y="1409"/>
                    </a:cubicBezTo>
                    <a:cubicBezTo>
                      <a:pt x="692" y="1340"/>
                      <a:pt x="692" y="1340"/>
                      <a:pt x="692" y="1340"/>
                    </a:cubicBezTo>
                    <a:cubicBezTo>
                      <a:pt x="692" y="1310"/>
                      <a:pt x="692" y="1280"/>
                      <a:pt x="692" y="1251"/>
                    </a:cubicBezTo>
                    <a:cubicBezTo>
                      <a:pt x="623" y="1182"/>
                      <a:pt x="623" y="1182"/>
                      <a:pt x="623" y="1182"/>
                    </a:cubicBezTo>
                    <a:cubicBezTo>
                      <a:pt x="623" y="1152"/>
                      <a:pt x="643" y="1123"/>
                      <a:pt x="653" y="1093"/>
                    </a:cubicBezTo>
                    <a:cubicBezTo>
                      <a:pt x="761" y="1093"/>
                      <a:pt x="761" y="1093"/>
                      <a:pt x="761" y="1093"/>
                    </a:cubicBezTo>
                    <a:cubicBezTo>
                      <a:pt x="771" y="1083"/>
                      <a:pt x="781" y="1074"/>
                      <a:pt x="791" y="1064"/>
                    </a:cubicBezTo>
                    <a:cubicBezTo>
                      <a:pt x="801" y="1054"/>
                      <a:pt x="811" y="1044"/>
                      <a:pt x="821" y="1034"/>
                    </a:cubicBezTo>
                    <a:cubicBezTo>
                      <a:pt x="821" y="936"/>
                      <a:pt x="821" y="936"/>
                      <a:pt x="821" y="936"/>
                    </a:cubicBezTo>
                    <a:cubicBezTo>
                      <a:pt x="850" y="916"/>
                      <a:pt x="880" y="906"/>
                      <a:pt x="909" y="897"/>
                    </a:cubicBezTo>
                    <a:cubicBezTo>
                      <a:pt x="979" y="975"/>
                      <a:pt x="979" y="975"/>
                      <a:pt x="979" y="975"/>
                    </a:cubicBezTo>
                    <a:lnTo>
                      <a:pt x="979" y="975"/>
                    </a:lnTo>
                    <a:cubicBezTo>
                      <a:pt x="979" y="286"/>
                      <a:pt x="979" y="286"/>
                      <a:pt x="979" y="286"/>
                    </a:cubicBezTo>
                    <a:cubicBezTo>
                      <a:pt x="979" y="177"/>
                      <a:pt x="900" y="79"/>
                      <a:pt x="791" y="49"/>
                    </a:cubicBezTo>
                    <a:cubicBezTo>
                      <a:pt x="653" y="0"/>
                      <a:pt x="485" y="79"/>
                      <a:pt x="445" y="237"/>
                    </a:cubicBezTo>
                    <a:cubicBezTo>
                      <a:pt x="287" y="296"/>
                      <a:pt x="178" y="443"/>
                      <a:pt x="178" y="631"/>
                    </a:cubicBezTo>
                    <a:cubicBezTo>
                      <a:pt x="60" y="729"/>
                      <a:pt x="11" y="857"/>
                      <a:pt x="11" y="985"/>
                    </a:cubicBezTo>
                    <a:lnTo>
                      <a:pt x="11" y="985"/>
                    </a:lnTo>
                    <a:lnTo>
                      <a:pt x="11" y="985"/>
                    </a:lnTo>
                    <a:cubicBezTo>
                      <a:pt x="396" y="985"/>
                      <a:pt x="396" y="985"/>
                      <a:pt x="396" y="985"/>
                    </a:cubicBezTo>
                    <a:cubicBezTo>
                      <a:pt x="583" y="798"/>
                      <a:pt x="583" y="798"/>
                      <a:pt x="583" y="798"/>
                    </a:cubicBezTo>
                    <a:cubicBezTo>
                      <a:pt x="583" y="591"/>
                      <a:pt x="583" y="591"/>
                      <a:pt x="583" y="591"/>
                    </a:cubicBezTo>
                    <a:cubicBezTo>
                      <a:pt x="524" y="571"/>
                      <a:pt x="485" y="522"/>
                      <a:pt x="485" y="453"/>
                    </a:cubicBezTo>
                    <a:cubicBezTo>
                      <a:pt x="485" y="384"/>
                      <a:pt x="544" y="315"/>
                      <a:pt x="623" y="315"/>
                    </a:cubicBezTo>
                    <a:cubicBezTo>
                      <a:pt x="702" y="315"/>
                      <a:pt x="761" y="384"/>
                      <a:pt x="761" y="453"/>
                    </a:cubicBezTo>
                    <a:cubicBezTo>
                      <a:pt x="761" y="522"/>
                      <a:pt x="722" y="571"/>
                      <a:pt x="663" y="591"/>
                    </a:cubicBezTo>
                    <a:cubicBezTo>
                      <a:pt x="663" y="827"/>
                      <a:pt x="663" y="827"/>
                      <a:pt x="663" y="827"/>
                    </a:cubicBezTo>
                    <a:cubicBezTo>
                      <a:pt x="425" y="1064"/>
                      <a:pt x="425" y="1064"/>
                      <a:pt x="425" y="1064"/>
                    </a:cubicBezTo>
                    <a:cubicBezTo>
                      <a:pt x="11" y="1064"/>
                      <a:pt x="11" y="1064"/>
                      <a:pt x="11" y="1064"/>
                    </a:cubicBezTo>
                    <a:lnTo>
                      <a:pt x="11" y="1064"/>
                    </a:lnTo>
                    <a:cubicBezTo>
                      <a:pt x="20" y="1123"/>
                      <a:pt x="50" y="1192"/>
                      <a:pt x="79" y="1251"/>
                    </a:cubicBezTo>
                    <a:cubicBezTo>
                      <a:pt x="70" y="1261"/>
                      <a:pt x="60" y="1280"/>
                      <a:pt x="60" y="1300"/>
                    </a:cubicBezTo>
                    <a:lnTo>
                      <a:pt x="60" y="1300"/>
                    </a:lnTo>
                    <a:cubicBezTo>
                      <a:pt x="198" y="1300"/>
                      <a:pt x="198" y="1300"/>
                      <a:pt x="198" y="1300"/>
                    </a:cubicBezTo>
                    <a:cubicBezTo>
                      <a:pt x="218" y="1241"/>
                      <a:pt x="267" y="1202"/>
                      <a:pt x="337" y="1202"/>
                    </a:cubicBezTo>
                    <a:cubicBezTo>
                      <a:pt x="406" y="1202"/>
                      <a:pt x="475" y="1261"/>
                      <a:pt x="475" y="1340"/>
                    </a:cubicBezTo>
                    <a:cubicBezTo>
                      <a:pt x="475" y="1409"/>
                      <a:pt x="406" y="1477"/>
                      <a:pt x="337" y="1477"/>
                    </a:cubicBezTo>
                    <a:cubicBezTo>
                      <a:pt x="267" y="1477"/>
                      <a:pt x="218" y="1428"/>
                      <a:pt x="198" y="1379"/>
                    </a:cubicBezTo>
                    <a:cubicBezTo>
                      <a:pt x="30" y="1379"/>
                      <a:pt x="30" y="1379"/>
                      <a:pt x="30" y="1379"/>
                    </a:cubicBezTo>
                    <a:cubicBezTo>
                      <a:pt x="20" y="1379"/>
                      <a:pt x="20" y="1379"/>
                      <a:pt x="20" y="1379"/>
                    </a:cubicBezTo>
                    <a:cubicBezTo>
                      <a:pt x="0" y="1448"/>
                      <a:pt x="0" y="1537"/>
                      <a:pt x="11" y="1615"/>
                    </a:cubicBezTo>
                    <a:lnTo>
                      <a:pt x="11" y="1615"/>
                    </a:lnTo>
                    <a:cubicBezTo>
                      <a:pt x="465" y="1615"/>
                      <a:pt x="465" y="1615"/>
                      <a:pt x="465" y="1615"/>
                    </a:cubicBezTo>
                    <a:cubicBezTo>
                      <a:pt x="593" y="1743"/>
                      <a:pt x="593" y="1743"/>
                      <a:pt x="593" y="1743"/>
                    </a:cubicBezTo>
                    <a:cubicBezTo>
                      <a:pt x="613" y="1733"/>
                      <a:pt x="643" y="1724"/>
                      <a:pt x="663" y="1724"/>
                    </a:cubicBezTo>
                    <a:cubicBezTo>
                      <a:pt x="742" y="1724"/>
                      <a:pt x="801" y="1783"/>
                      <a:pt x="801" y="1861"/>
                    </a:cubicBezTo>
                    <a:cubicBezTo>
                      <a:pt x="801" y="1940"/>
                      <a:pt x="742" y="1999"/>
                      <a:pt x="663" y="1999"/>
                    </a:cubicBezTo>
                    <a:cubicBezTo>
                      <a:pt x="583" y="1999"/>
                      <a:pt x="524" y="1940"/>
                      <a:pt x="524" y="1861"/>
                    </a:cubicBezTo>
                    <a:cubicBezTo>
                      <a:pt x="524" y="1842"/>
                      <a:pt x="534" y="1812"/>
                      <a:pt x="544" y="1792"/>
                    </a:cubicBezTo>
                    <a:cubicBezTo>
                      <a:pt x="435" y="1694"/>
                      <a:pt x="435" y="1694"/>
                      <a:pt x="435" y="1694"/>
                    </a:cubicBezTo>
                    <a:cubicBezTo>
                      <a:pt x="30" y="1694"/>
                      <a:pt x="30" y="1694"/>
                      <a:pt x="30" y="1694"/>
                    </a:cubicBezTo>
                    <a:lnTo>
                      <a:pt x="30" y="1694"/>
                    </a:lnTo>
                    <a:cubicBezTo>
                      <a:pt x="30" y="1704"/>
                      <a:pt x="40" y="1714"/>
                      <a:pt x="40" y="1724"/>
                    </a:cubicBezTo>
                    <a:cubicBezTo>
                      <a:pt x="109" y="1891"/>
                      <a:pt x="267" y="2019"/>
                      <a:pt x="445" y="2058"/>
                    </a:cubicBezTo>
                    <a:cubicBezTo>
                      <a:pt x="475" y="2186"/>
                      <a:pt x="583" y="2265"/>
                      <a:pt x="712" y="2265"/>
                    </a:cubicBezTo>
                    <a:cubicBezTo>
                      <a:pt x="742" y="2265"/>
                      <a:pt x="771" y="2265"/>
                      <a:pt x="791" y="2255"/>
                    </a:cubicBezTo>
                    <a:cubicBezTo>
                      <a:pt x="900" y="2226"/>
                      <a:pt x="979" y="2127"/>
                      <a:pt x="979" y="2019"/>
                    </a:cubicBezTo>
                    <a:cubicBezTo>
                      <a:pt x="979" y="1625"/>
                      <a:pt x="979" y="1625"/>
                      <a:pt x="979" y="1625"/>
                    </a:cubicBezTo>
                    <a:cubicBezTo>
                      <a:pt x="979" y="1615"/>
                      <a:pt x="979" y="1615"/>
                      <a:pt x="969" y="1615"/>
                    </a:cubicBezTo>
                    <a:lnTo>
                      <a:pt x="900" y="1694"/>
                    </a:lnTo>
                    <a:moveTo>
                      <a:pt x="722" y="1861"/>
                    </a:moveTo>
                    <a:lnTo>
                      <a:pt x="722" y="1861"/>
                    </a:lnTo>
                    <a:cubicBezTo>
                      <a:pt x="722" y="1832"/>
                      <a:pt x="692" y="1802"/>
                      <a:pt x="663" y="1802"/>
                    </a:cubicBezTo>
                    <a:cubicBezTo>
                      <a:pt x="633" y="1802"/>
                      <a:pt x="603" y="1832"/>
                      <a:pt x="603" y="1861"/>
                    </a:cubicBezTo>
                    <a:cubicBezTo>
                      <a:pt x="603" y="1891"/>
                      <a:pt x="633" y="1921"/>
                      <a:pt x="663" y="1921"/>
                    </a:cubicBezTo>
                    <a:cubicBezTo>
                      <a:pt x="692" y="1921"/>
                      <a:pt x="722" y="1891"/>
                      <a:pt x="722" y="1861"/>
                    </a:cubicBezTo>
                    <a:moveTo>
                      <a:pt x="1315" y="1861"/>
                    </a:moveTo>
                    <a:lnTo>
                      <a:pt x="1315" y="1861"/>
                    </a:lnTo>
                    <a:cubicBezTo>
                      <a:pt x="1315" y="1891"/>
                      <a:pt x="1344" y="1921"/>
                      <a:pt x="1374" y="1921"/>
                    </a:cubicBezTo>
                    <a:cubicBezTo>
                      <a:pt x="1404" y="1921"/>
                      <a:pt x="1433" y="1891"/>
                      <a:pt x="1433" y="1861"/>
                    </a:cubicBezTo>
                    <a:cubicBezTo>
                      <a:pt x="1433" y="1832"/>
                      <a:pt x="1404" y="1802"/>
                      <a:pt x="1374" y="1802"/>
                    </a:cubicBezTo>
                    <a:cubicBezTo>
                      <a:pt x="1344" y="1802"/>
                      <a:pt x="1315" y="1832"/>
                      <a:pt x="1315" y="1861"/>
                    </a:cubicBezTo>
                    <a:moveTo>
                      <a:pt x="1641" y="1340"/>
                    </a:moveTo>
                    <a:lnTo>
                      <a:pt x="1641" y="1340"/>
                    </a:lnTo>
                    <a:cubicBezTo>
                      <a:pt x="1641" y="1369"/>
                      <a:pt x="1670" y="1398"/>
                      <a:pt x="1700" y="1398"/>
                    </a:cubicBezTo>
                    <a:cubicBezTo>
                      <a:pt x="1739" y="1398"/>
                      <a:pt x="1759" y="1369"/>
                      <a:pt x="1759" y="1340"/>
                    </a:cubicBezTo>
                    <a:cubicBezTo>
                      <a:pt x="1759" y="1300"/>
                      <a:pt x="1739" y="1280"/>
                      <a:pt x="1700" y="1280"/>
                    </a:cubicBezTo>
                    <a:cubicBezTo>
                      <a:pt x="1670" y="1280"/>
                      <a:pt x="1641" y="1300"/>
                      <a:pt x="1641" y="1340"/>
                    </a:cubicBezTo>
                    <a:moveTo>
                      <a:pt x="1473" y="453"/>
                    </a:moveTo>
                    <a:lnTo>
                      <a:pt x="1473" y="453"/>
                    </a:lnTo>
                    <a:cubicBezTo>
                      <a:pt x="1473" y="424"/>
                      <a:pt x="1443" y="394"/>
                      <a:pt x="1413" y="394"/>
                    </a:cubicBezTo>
                    <a:cubicBezTo>
                      <a:pt x="1384" y="394"/>
                      <a:pt x="1354" y="424"/>
                      <a:pt x="1354" y="453"/>
                    </a:cubicBezTo>
                    <a:cubicBezTo>
                      <a:pt x="1354" y="493"/>
                      <a:pt x="1384" y="512"/>
                      <a:pt x="1413" y="512"/>
                    </a:cubicBezTo>
                    <a:cubicBezTo>
                      <a:pt x="1443" y="512"/>
                      <a:pt x="1473" y="493"/>
                      <a:pt x="1473" y="453"/>
                    </a:cubicBezTo>
                    <a:moveTo>
                      <a:pt x="1166" y="1300"/>
                    </a:moveTo>
                    <a:lnTo>
                      <a:pt x="1166" y="1300"/>
                    </a:lnTo>
                    <a:cubicBezTo>
                      <a:pt x="1166" y="1221"/>
                      <a:pt x="1097" y="1152"/>
                      <a:pt x="1018" y="1152"/>
                    </a:cubicBezTo>
                    <a:cubicBezTo>
                      <a:pt x="939" y="1152"/>
                      <a:pt x="870" y="1221"/>
                      <a:pt x="870" y="1300"/>
                    </a:cubicBezTo>
                    <a:cubicBezTo>
                      <a:pt x="870" y="1379"/>
                      <a:pt x="939" y="1438"/>
                      <a:pt x="1018" y="1438"/>
                    </a:cubicBezTo>
                    <a:cubicBezTo>
                      <a:pt x="1097" y="1438"/>
                      <a:pt x="1166" y="1379"/>
                      <a:pt x="1166" y="1300"/>
                    </a:cubicBezTo>
                    <a:moveTo>
                      <a:pt x="2016" y="1379"/>
                    </a:moveTo>
                    <a:lnTo>
                      <a:pt x="2016" y="1379"/>
                    </a:lnTo>
                    <a:cubicBezTo>
                      <a:pt x="2016" y="1379"/>
                      <a:pt x="2016" y="1379"/>
                      <a:pt x="2006" y="1379"/>
                    </a:cubicBezTo>
                    <a:cubicBezTo>
                      <a:pt x="1838" y="1379"/>
                      <a:pt x="1838" y="1379"/>
                      <a:pt x="1838" y="1379"/>
                    </a:cubicBezTo>
                    <a:cubicBezTo>
                      <a:pt x="1818" y="1428"/>
                      <a:pt x="1769" y="1477"/>
                      <a:pt x="1700" y="1477"/>
                    </a:cubicBezTo>
                    <a:cubicBezTo>
                      <a:pt x="1631" y="1477"/>
                      <a:pt x="1562" y="1409"/>
                      <a:pt x="1562" y="1340"/>
                    </a:cubicBezTo>
                    <a:cubicBezTo>
                      <a:pt x="1562" y="1261"/>
                      <a:pt x="1631" y="1202"/>
                      <a:pt x="1700" y="1202"/>
                    </a:cubicBezTo>
                    <a:cubicBezTo>
                      <a:pt x="1769" y="1202"/>
                      <a:pt x="1818" y="1241"/>
                      <a:pt x="1838" y="1300"/>
                    </a:cubicBezTo>
                    <a:cubicBezTo>
                      <a:pt x="1977" y="1300"/>
                      <a:pt x="1977" y="1300"/>
                      <a:pt x="1977" y="1300"/>
                    </a:cubicBezTo>
                    <a:lnTo>
                      <a:pt x="1977" y="1300"/>
                    </a:lnTo>
                    <a:cubicBezTo>
                      <a:pt x="1977" y="1280"/>
                      <a:pt x="1967" y="1261"/>
                      <a:pt x="1957" y="1251"/>
                    </a:cubicBezTo>
                    <a:cubicBezTo>
                      <a:pt x="1987" y="1192"/>
                      <a:pt x="2016" y="1123"/>
                      <a:pt x="2026" y="1064"/>
                    </a:cubicBezTo>
                    <a:lnTo>
                      <a:pt x="2026" y="1064"/>
                    </a:lnTo>
                    <a:cubicBezTo>
                      <a:pt x="1611" y="1064"/>
                      <a:pt x="1611" y="1064"/>
                      <a:pt x="1611" y="1064"/>
                    </a:cubicBezTo>
                    <a:cubicBezTo>
                      <a:pt x="1374" y="827"/>
                      <a:pt x="1374" y="827"/>
                      <a:pt x="1374" y="827"/>
                    </a:cubicBezTo>
                    <a:cubicBezTo>
                      <a:pt x="1374" y="591"/>
                      <a:pt x="1374" y="591"/>
                      <a:pt x="1374" y="591"/>
                    </a:cubicBezTo>
                    <a:cubicBezTo>
                      <a:pt x="1315" y="571"/>
                      <a:pt x="1275" y="522"/>
                      <a:pt x="1275" y="453"/>
                    </a:cubicBezTo>
                    <a:cubicBezTo>
                      <a:pt x="1275" y="384"/>
                      <a:pt x="1334" y="315"/>
                      <a:pt x="1413" y="315"/>
                    </a:cubicBezTo>
                    <a:cubicBezTo>
                      <a:pt x="1492" y="315"/>
                      <a:pt x="1552" y="384"/>
                      <a:pt x="1552" y="453"/>
                    </a:cubicBezTo>
                    <a:cubicBezTo>
                      <a:pt x="1552" y="522"/>
                      <a:pt x="1512" y="571"/>
                      <a:pt x="1453" y="591"/>
                    </a:cubicBezTo>
                    <a:cubicBezTo>
                      <a:pt x="1453" y="798"/>
                      <a:pt x="1453" y="798"/>
                      <a:pt x="1453" y="798"/>
                    </a:cubicBezTo>
                    <a:cubicBezTo>
                      <a:pt x="1641" y="985"/>
                      <a:pt x="1641" y="985"/>
                      <a:pt x="1641" y="985"/>
                    </a:cubicBezTo>
                    <a:cubicBezTo>
                      <a:pt x="2026" y="985"/>
                      <a:pt x="2026" y="985"/>
                      <a:pt x="2026" y="985"/>
                    </a:cubicBezTo>
                    <a:lnTo>
                      <a:pt x="2026" y="985"/>
                    </a:lnTo>
                    <a:lnTo>
                      <a:pt x="2026" y="985"/>
                    </a:lnTo>
                    <a:cubicBezTo>
                      <a:pt x="2026" y="857"/>
                      <a:pt x="1977" y="729"/>
                      <a:pt x="1858" y="631"/>
                    </a:cubicBezTo>
                    <a:cubicBezTo>
                      <a:pt x="1858" y="443"/>
                      <a:pt x="1749" y="296"/>
                      <a:pt x="1591" y="237"/>
                    </a:cubicBezTo>
                    <a:cubicBezTo>
                      <a:pt x="1552" y="79"/>
                      <a:pt x="1384" y="0"/>
                      <a:pt x="1246" y="49"/>
                    </a:cubicBezTo>
                    <a:cubicBezTo>
                      <a:pt x="1137" y="79"/>
                      <a:pt x="1058" y="177"/>
                      <a:pt x="1058" y="286"/>
                    </a:cubicBezTo>
                    <a:cubicBezTo>
                      <a:pt x="1058" y="975"/>
                      <a:pt x="1058" y="975"/>
                      <a:pt x="1058" y="975"/>
                    </a:cubicBezTo>
                    <a:cubicBezTo>
                      <a:pt x="1058" y="975"/>
                      <a:pt x="1058" y="975"/>
                      <a:pt x="1068" y="975"/>
                    </a:cubicBezTo>
                    <a:cubicBezTo>
                      <a:pt x="1137" y="897"/>
                      <a:pt x="1137" y="897"/>
                      <a:pt x="1137" y="897"/>
                    </a:cubicBezTo>
                    <a:cubicBezTo>
                      <a:pt x="1166" y="906"/>
                      <a:pt x="1196" y="916"/>
                      <a:pt x="1226" y="936"/>
                    </a:cubicBezTo>
                    <a:cubicBezTo>
                      <a:pt x="1216" y="1044"/>
                      <a:pt x="1216" y="1044"/>
                      <a:pt x="1216" y="1044"/>
                    </a:cubicBezTo>
                    <a:cubicBezTo>
                      <a:pt x="1226" y="1044"/>
                      <a:pt x="1246" y="1054"/>
                      <a:pt x="1255" y="1064"/>
                    </a:cubicBezTo>
                    <a:cubicBezTo>
                      <a:pt x="1265" y="1074"/>
                      <a:pt x="1275" y="1093"/>
                      <a:pt x="1275" y="1103"/>
                    </a:cubicBezTo>
                    <a:cubicBezTo>
                      <a:pt x="1384" y="1093"/>
                      <a:pt x="1384" y="1093"/>
                      <a:pt x="1384" y="1093"/>
                    </a:cubicBezTo>
                    <a:cubicBezTo>
                      <a:pt x="1404" y="1123"/>
                      <a:pt x="1413" y="1152"/>
                      <a:pt x="1423" y="1192"/>
                    </a:cubicBezTo>
                    <a:cubicBezTo>
                      <a:pt x="1344" y="1261"/>
                      <a:pt x="1344" y="1261"/>
                      <a:pt x="1344" y="1261"/>
                    </a:cubicBezTo>
                    <a:cubicBezTo>
                      <a:pt x="1344" y="1280"/>
                      <a:pt x="1344" y="1310"/>
                      <a:pt x="1344" y="1340"/>
                    </a:cubicBezTo>
                    <a:cubicBezTo>
                      <a:pt x="1423" y="1409"/>
                      <a:pt x="1423" y="1409"/>
                      <a:pt x="1423" y="1409"/>
                    </a:cubicBezTo>
                    <a:cubicBezTo>
                      <a:pt x="1413" y="1448"/>
                      <a:pt x="1394" y="1477"/>
                      <a:pt x="1384" y="1507"/>
                    </a:cubicBezTo>
                    <a:cubicBezTo>
                      <a:pt x="1275" y="1497"/>
                      <a:pt x="1275" y="1497"/>
                      <a:pt x="1275" y="1497"/>
                    </a:cubicBezTo>
                    <a:cubicBezTo>
                      <a:pt x="1265" y="1507"/>
                      <a:pt x="1255" y="1517"/>
                      <a:pt x="1246" y="1527"/>
                    </a:cubicBezTo>
                    <a:cubicBezTo>
                      <a:pt x="1236" y="1537"/>
                      <a:pt x="1226" y="1546"/>
                      <a:pt x="1216" y="1556"/>
                    </a:cubicBezTo>
                    <a:cubicBezTo>
                      <a:pt x="1216" y="1664"/>
                      <a:pt x="1216" y="1664"/>
                      <a:pt x="1216" y="1664"/>
                    </a:cubicBezTo>
                    <a:cubicBezTo>
                      <a:pt x="1186" y="1674"/>
                      <a:pt x="1157" y="1684"/>
                      <a:pt x="1127" y="1694"/>
                    </a:cubicBezTo>
                    <a:cubicBezTo>
                      <a:pt x="1058" y="1615"/>
                      <a:pt x="1058" y="1615"/>
                      <a:pt x="1058" y="1615"/>
                    </a:cubicBezTo>
                    <a:cubicBezTo>
                      <a:pt x="1058" y="1625"/>
                      <a:pt x="1058" y="1625"/>
                      <a:pt x="1058" y="1625"/>
                    </a:cubicBezTo>
                    <a:cubicBezTo>
                      <a:pt x="1058" y="2019"/>
                      <a:pt x="1058" y="2019"/>
                      <a:pt x="1058" y="2019"/>
                    </a:cubicBezTo>
                    <a:cubicBezTo>
                      <a:pt x="1058" y="2127"/>
                      <a:pt x="1137" y="2226"/>
                      <a:pt x="1246" y="2255"/>
                    </a:cubicBezTo>
                    <a:cubicBezTo>
                      <a:pt x="1265" y="2265"/>
                      <a:pt x="1295" y="2265"/>
                      <a:pt x="1325" y="2265"/>
                    </a:cubicBezTo>
                    <a:cubicBezTo>
                      <a:pt x="1453" y="2265"/>
                      <a:pt x="1562" y="2186"/>
                      <a:pt x="1591" y="2058"/>
                    </a:cubicBezTo>
                    <a:cubicBezTo>
                      <a:pt x="1769" y="2019"/>
                      <a:pt x="1927" y="1891"/>
                      <a:pt x="1996" y="1724"/>
                    </a:cubicBezTo>
                    <a:cubicBezTo>
                      <a:pt x="1996" y="1714"/>
                      <a:pt x="2006" y="1704"/>
                      <a:pt x="2006" y="1694"/>
                    </a:cubicBezTo>
                    <a:lnTo>
                      <a:pt x="2006" y="1694"/>
                    </a:lnTo>
                    <a:cubicBezTo>
                      <a:pt x="1601" y="1694"/>
                      <a:pt x="1601" y="1694"/>
                      <a:pt x="1601" y="1694"/>
                    </a:cubicBezTo>
                    <a:cubicBezTo>
                      <a:pt x="1492" y="1792"/>
                      <a:pt x="1492" y="1792"/>
                      <a:pt x="1492" y="1792"/>
                    </a:cubicBezTo>
                    <a:cubicBezTo>
                      <a:pt x="1502" y="1812"/>
                      <a:pt x="1512" y="1842"/>
                      <a:pt x="1512" y="1861"/>
                    </a:cubicBezTo>
                    <a:cubicBezTo>
                      <a:pt x="1512" y="1940"/>
                      <a:pt x="1453" y="1999"/>
                      <a:pt x="1374" y="1999"/>
                    </a:cubicBezTo>
                    <a:cubicBezTo>
                      <a:pt x="1295" y="1999"/>
                      <a:pt x="1236" y="1940"/>
                      <a:pt x="1236" y="1861"/>
                    </a:cubicBezTo>
                    <a:cubicBezTo>
                      <a:pt x="1236" y="1783"/>
                      <a:pt x="1295" y="1724"/>
                      <a:pt x="1374" y="1724"/>
                    </a:cubicBezTo>
                    <a:cubicBezTo>
                      <a:pt x="1394" y="1724"/>
                      <a:pt x="1423" y="1733"/>
                      <a:pt x="1443" y="1743"/>
                    </a:cubicBezTo>
                    <a:cubicBezTo>
                      <a:pt x="1571" y="1615"/>
                      <a:pt x="1571" y="1615"/>
                      <a:pt x="1571" y="1615"/>
                    </a:cubicBezTo>
                    <a:cubicBezTo>
                      <a:pt x="2026" y="1615"/>
                      <a:pt x="2026" y="1615"/>
                      <a:pt x="2026" y="1615"/>
                    </a:cubicBezTo>
                    <a:lnTo>
                      <a:pt x="2026" y="1615"/>
                    </a:lnTo>
                    <a:cubicBezTo>
                      <a:pt x="2036" y="1537"/>
                      <a:pt x="2036" y="1448"/>
                      <a:pt x="2016" y="1379"/>
                    </a:cubicBezTo>
                  </a:path>
                </a:pathLst>
              </a:custGeom>
              <a:solidFill>
                <a:schemeClr val="bg1"/>
              </a:solidFill>
              <a:ln>
                <a:noFill/>
              </a:ln>
            </p:spPr>
          </p:sp>
        </p:grpSp>
      </p:grpSp>
      <p:grpSp>
        <p:nvGrpSpPr>
          <p:cNvPr id="33" name="Group 32">
            <a:extLst>
              <a:ext uri="{FF2B5EF4-FFF2-40B4-BE49-F238E27FC236}">
                <a16:creationId xmlns:a16="http://schemas.microsoft.com/office/drawing/2014/main" id="{83409CC8-357E-46BD-82EA-D1830D82758F}"/>
              </a:ext>
            </a:extLst>
          </p:cNvPr>
          <p:cNvGrpSpPr/>
          <p:nvPr/>
        </p:nvGrpSpPr>
        <p:grpSpPr>
          <a:xfrm>
            <a:off x="4037257" y="1326512"/>
            <a:ext cx="3877184" cy="4035060"/>
            <a:chOff x="4037257" y="1326512"/>
            <a:chExt cx="3877184" cy="4035060"/>
          </a:xfrm>
        </p:grpSpPr>
        <p:grpSp>
          <p:nvGrpSpPr>
            <p:cNvPr id="30" name="Group 29">
              <a:extLst>
                <a:ext uri="{FF2B5EF4-FFF2-40B4-BE49-F238E27FC236}">
                  <a16:creationId xmlns:a16="http://schemas.microsoft.com/office/drawing/2014/main" id="{652F0F34-F336-4A05-8DA3-9C473339DDD0}"/>
                </a:ext>
              </a:extLst>
            </p:cNvPr>
            <p:cNvGrpSpPr/>
            <p:nvPr/>
          </p:nvGrpSpPr>
          <p:grpSpPr>
            <a:xfrm>
              <a:off x="4349855" y="1326512"/>
              <a:ext cx="3147985" cy="4035060"/>
              <a:chOff x="4349855" y="1326512"/>
              <a:chExt cx="3147985" cy="4035060"/>
            </a:xfrm>
          </p:grpSpPr>
          <p:sp>
            <p:nvSpPr>
              <p:cNvPr id="3" name="Rectangle 2">
                <a:extLst>
                  <a:ext uri="{FF2B5EF4-FFF2-40B4-BE49-F238E27FC236}">
                    <a16:creationId xmlns:a16="http://schemas.microsoft.com/office/drawing/2014/main" id="{3904753E-C7DD-D442-9EE3-CAA0B779CA08}"/>
                  </a:ext>
                </a:extLst>
              </p:cNvPr>
              <p:cNvSpPr/>
              <p:nvPr/>
            </p:nvSpPr>
            <p:spPr>
              <a:xfrm>
                <a:off x="4349856" y="1864391"/>
                <a:ext cx="3147984" cy="349718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Light" panose="020B0403020204020204" pitchFamily="34" charset="0"/>
                  <a:ea typeface="+mn-ea"/>
                  <a:cs typeface="Oracle Sans Light" panose="020B0403020204020204" pitchFamily="34" charset="0"/>
                </a:endParaRPr>
              </a:p>
            </p:txBody>
          </p:sp>
          <p:sp>
            <p:nvSpPr>
              <p:cNvPr id="86" name="TextBox 85">
                <a:extLst>
                  <a:ext uri="{FF2B5EF4-FFF2-40B4-BE49-F238E27FC236}">
                    <a16:creationId xmlns:a16="http://schemas.microsoft.com/office/drawing/2014/main" id="{E3C7ABBA-7C80-5E46-B775-134818CC66E7}"/>
                  </a:ext>
                </a:extLst>
              </p:cNvPr>
              <p:cNvSpPr txBox="1"/>
              <p:nvPr/>
            </p:nvSpPr>
            <p:spPr>
              <a:xfrm>
                <a:off x="4349855" y="1326512"/>
                <a:ext cx="3147983" cy="461665"/>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13636"/>
                    </a:solidFill>
                    <a:effectLst/>
                    <a:uLnTx/>
                    <a:uFillTx/>
                    <a:latin typeface="Oracle Sans Light" panose="020B0403020204020204" pitchFamily="34" charset="0"/>
                    <a:ea typeface="+mn-ea"/>
                    <a:cs typeface="Oracle Sans Light" panose="020B0403020204020204" pitchFamily="34" charset="0"/>
                  </a:rPr>
                  <a:t>Exploiter </a:t>
                </a:r>
              </a:p>
            </p:txBody>
          </p:sp>
        </p:grpSp>
        <p:grpSp>
          <p:nvGrpSpPr>
            <p:cNvPr id="26" name="Group 25">
              <a:extLst>
                <a:ext uri="{FF2B5EF4-FFF2-40B4-BE49-F238E27FC236}">
                  <a16:creationId xmlns:a16="http://schemas.microsoft.com/office/drawing/2014/main" id="{EF018DE5-6369-466A-BFA7-E070CB4A9274}"/>
                </a:ext>
              </a:extLst>
            </p:cNvPr>
            <p:cNvGrpSpPr/>
            <p:nvPr/>
          </p:nvGrpSpPr>
          <p:grpSpPr>
            <a:xfrm>
              <a:off x="5748112" y="1935432"/>
              <a:ext cx="2135828" cy="1034896"/>
              <a:chOff x="5517865" y="1935432"/>
              <a:chExt cx="2135828" cy="1034896"/>
            </a:xfrm>
          </p:grpSpPr>
          <p:sp>
            <p:nvSpPr>
              <p:cNvPr id="106" name="Chevron 4">
                <a:extLst>
                  <a:ext uri="{FF2B5EF4-FFF2-40B4-BE49-F238E27FC236}">
                    <a16:creationId xmlns:a16="http://schemas.microsoft.com/office/drawing/2014/main" id="{7BF4A790-FDE0-924F-B8C8-220E237956AE}"/>
                  </a:ext>
                </a:extLst>
              </p:cNvPr>
              <p:cNvSpPr/>
              <p:nvPr/>
            </p:nvSpPr>
            <p:spPr>
              <a:xfrm>
                <a:off x="5574137" y="1935432"/>
                <a:ext cx="2028714" cy="187019"/>
              </a:xfrm>
              <a:prstGeom prst="rect">
                <a:avLst/>
              </a:prstGeom>
              <a:no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0" tIns="0" rIns="0" bIns="0" numCol="1" spcCol="1270" anchor="ctr" anchorCtr="0">
                <a:spAutoFit/>
              </a:bodyPr>
              <a:lstStyle/>
              <a:p>
                <a:pPr marL="0" marR="0" lvl="0" indent="0" algn="ctr" defTabSz="622113"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Big Data </a:t>
                </a:r>
              </a:p>
            </p:txBody>
          </p:sp>
          <p:sp>
            <p:nvSpPr>
              <p:cNvPr id="107" name="TextBox 106">
                <a:extLst>
                  <a:ext uri="{FF2B5EF4-FFF2-40B4-BE49-F238E27FC236}">
                    <a16:creationId xmlns:a16="http://schemas.microsoft.com/office/drawing/2014/main" id="{7775C9A5-8476-0C40-AF8D-827C46D5B932}"/>
                  </a:ext>
                </a:extLst>
              </p:cNvPr>
              <p:cNvSpPr txBox="1"/>
              <p:nvPr/>
            </p:nvSpPr>
            <p:spPr>
              <a:xfrm>
                <a:off x="5517865" y="2716412"/>
                <a:ext cx="213582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Big Data Service</a:t>
                </a:r>
              </a:p>
            </p:txBody>
          </p:sp>
          <p:pic>
            <p:nvPicPr>
              <p:cNvPr id="72" name="Picture 71">
                <a:extLst>
                  <a:ext uri="{FF2B5EF4-FFF2-40B4-BE49-F238E27FC236}">
                    <a16:creationId xmlns:a16="http://schemas.microsoft.com/office/drawing/2014/main" id="{94B47D58-4106-A24E-A24F-DD57CF97617D}"/>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353440" y="2229983"/>
                <a:ext cx="470108" cy="429001"/>
              </a:xfrm>
              <a:prstGeom prst="rect">
                <a:avLst/>
              </a:prstGeom>
              <a:effectLst/>
            </p:spPr>
          </p:pic>
        </p:grpSp>
        <p:grpSp>
          <p:nvGrpSpPr>
            <p:cNvPr id="25" name="Group 24">
              <a:extLst>
                <a:ext uri="{FF2B5EF4-FFF2-40B4-BE49-F238E27FC236}">
                  <a16:creationId xmlns:a16="http://schemas.microsoft.com/office/drawing/2014/main" id="{733C8D67-9178-47CD-811D-C2F41429020C}"/>
                </a:ext>
              </a:extLst>
            </p:cNvPr>
            <p:cNvGrpSpPr/>
            <p:nvPr/>
          </p:nvGrpSpPr>
          <p:grpSpPr>
            <a:xfrm>
              <a:off x="5199970" y="3348763"/>
              <a:ext cx="2714471" cy="1100630"/>
              <a:chOff x="5000224" y="3233911"/>
              <a:chExt cx="2714471" cy="1100630"/>
            </a:xfrm>
          </p:grpSpPr>
          <p:sp>
            <p:nvSpPr>
              <p:cNvPr id="77" name="Chevron 4">
                <a:extLst>
                  <a:ext uri="{FF2B5EF4-FFF2-40B4-BE49-F238E27FC236}">
                    <a16:creationId xmlns:a16="http://schemas.microsoft.com/office/drawing/2014/main" id="{EFCE5843-C623-A040-9092-98539BBEC99D}"/>
                  </a:ext>
                </a:extLst>
              </p:cNvPr>
              <p:cNvSpPr/>
              <p:nvPr/>
            </p:nvSpPr>
            <p:spPr>
              <a:xfrm>
                <a:off x="5000224" y="3233911"/>
                <a:ext cx="1605859" cy="152349"/>
              </a:xfrm>
              <a:prstGeom prst="rect">
                <a:avLst/>
              </a:prstGeom>
              <a:no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0" tIns="0" rIns="0" bIns="0" numCol="1" spcCol="1270" anchor="ctr" anchorCtr="0">
                <a:spAutoFit/>
              </a:bodyPr>
              <a:lstStyle/>
              <a:p>
                <a:pPr marL="0" marR="0" lvl="0" indent="0" algn="ctr" defTabSz="622113"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Cloud data warehouse</a:t>
                </a:r>
              </a:p>
            </p:txBody>
          </p:sp>
          <p:sp>
            <p:nvSpPr>
              <p:cNvPr id="79" name="TextBox 78">
                <a:extLst>
                  <a:ext uri="{FF2B5EF4-FFF2-40B4-BE49-F238E27FC236}">
                    <a16:creationId xmlns:a16="http://schemas.microsoft.com/office/drawing/2014/main" id="{7F0192B2-B50B-7046-BA22-71867A8EE06B}"/>
                  </a:ext>
                </a:extLst>
              </p:cNvPr>
              <p:cNvSpPr txBox="1"/>
              <p:nvPr/>
            </p:nvSpPr>
            <p:spPr>
              <a:xfrm>
                <a:off x="5517865" y="3919043"/>
                <a:ext cx="219683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Autonomo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 Data Platform</a:t>
                </a:r>
              </a:p>
            </p:txBody>
          </p:sp>
          <p:sp>
            <p:nvSpPr>
              <p:cNvPr id="114" name="Freeform 113">
                <a:extLst>
                  <a:ext uri="{FF2B5EF4-FFF2-40B4-BE49-F238E27FC236}">
                    <a16:creationId xmlns:a16="http://schemas.microsoft.com/office/drawing/2014/main" id="{DA278E4F-4C35-9F44-B460-3A7A418D4F36}"/>
                  </a:ext>
                </a:extLst>
              </p:cNvPr>
              <p:cNvSpPr>
                <a:spLocks noChangeAspect="1" noChangeArrowheads="1"/>
              </p:cNvSpPr>
              <p:nvPr/>
            </p:nvSpPr>
            <p:spPr bwMode="auto">
              <a:xfrm>
                <a:off x="6353440" y="3467008"/>
                <a:ext cx="552800" cy="411180"/>
              </a:xfrm>
              <a:custGeom>
                <a:avLst/>
                <a:gdLst>
                  <a:gd name="T0" fmla="*/ 10664 w 13294"/>
                  <a:gd name="T1" fmla="*/ 2695 h 10186"/>
                  <a:gd name="T2" fmla="*/ 5407 w 13294"/>
                  <a:gd name="T3" fmla="*/ 0 h 10186"/>
                  <a:gd name="T4" fmla="*/ 32 w 13294"/>
                  <a:gd name="T5" fmla="*/ 4696 h 10186"/>
                  <a:gd name="T6" fmla="*/ 4117 w 13294"/>
                  <a:gd name="T7" fmla="*/ 7986 h 10186"/>
                  <a:gd name="T8" fmla="*/ 9193 w 13294"/>
                  <a:gd name="T9" fmla="*/ 6778 h 10186"/>
                  <a:gd name="T10" fmla="*/ 4117 w 13294"/>
                  <a:gd name="T11" fmla="*/ 6811 h 10186"/>
                  <a:gd name="T12" fmla="*/ 2711 w 13294"/>
                  <a:gd name="T13" fmla="*/ 2678 h 10186"/>
                  <a:gd name="T14" fmla="*/ 3059 w 13294"/>
                  <a:gd name="T15" fmla="*/ 2695 h 10186"/>
                  <a:gd name="T16" fmla="*/ 5407 w 13294"/>
                  <a:gd name="T17" fmla="*/ 611 h 10186"/>
                  <a:gd name="T18" fmla="*/ 7572 w 13294"/>
                  <a:gd name="T19" fmla="*/ 1835 h 10186"/>
                  <a:gd name="T20" fmla="*/ 10085 w 13294"/>
                  <a:gd name="T21" fmla="*/ 2877 h 10186"/>
                  <a:gd name="T22" fmla="*/ 10730 w 13294"/>
                  <a:gd name="T23" fmla="*/ 3307 h 10186"/>
                  <a:gd name="T24" fmla="*/ 10879 w 13294"/>
                  <a:gd name="T25" fmla="*/ 6811 h 10186"/>
                  <a:gd name="T26" fmla="*/ 10830 w 13294"/>
                  <a:gd name="T27" fmla="*/ 7440 h 10186"/>
                  <a:gd name="T28" fmla="*/ 9193 w 13294"/>
                  <a:gd name="T29" fmla="*/ 6365 h 10186"/>
                  <a:gd name="T30" fmla="*/ 6647 w 13294"/>
                  <a:gd name="T31" fmla="*/ 6861 h 10186"/>
                  <a:gd name="T32" fmla="*/ 6647 w 13294"/>
                  <a:gd name="T33" fmla="*/ 4580 h 10186"/>
                  <a:gd name="T34" fmla="*/ 7539 w 13294"/>
                  <a:gd name="T35" fmla="*/ 4960 h 10186"/>
                  <a:gd name="T36" fmla="*/ 4431 w 13294"/>
                  <a:gd name="T37" fmla="*/ 5240 h 10186"/>
                  <a:gd name="T38" fmla="*/ 9193 w 13294"/>
                  <a:gd name="T39" fmla="*/ 6365 h 10186"/>
                  <a:gd name="T40" fmla="*/ 4117 w 13294"/>
                  <a:gd name="T41" fmla="*/ 8349 h 10186"/>
                  <a:gd name="T42" fmla="*/ 9193 w 13294"/>
                  <a:gd name="T43" fmla="*/ 9738 h 10186"/>
                  <a:gd name="T44" fmla="*/ 7770 w 13294"/>
                  <a:gd name="T45" fmla="*/ 4696 h 10186"/>
                  <a:gd name="T46" fmla="*/ 10614 w 13294"/>
                  <a:gd name="T47" fmla="*/ 4696 h 10186"/>
                  <a:gd name="T48" fmla="*/ 10119 w 13294"/>
                  <a:gd name="T49" fmla="*/ 5076 h 10186"/>
                  <a:gd name="T50" fmla="*/ 9755 w 13294"/>
                  <a:gd name="T51" fmla="*/ 4663 h 10186"/>
                  <a:gd name="T52" fmla="*/ 9854 w 13294"/>
                  <a:gd name="T53" fmla="*/ 4613 h 10186"/>
                  <a:gd name="T54" fmla="*/ 10069 w 13294"/>
                  <a:gd name="T55" fmla="*/ 4696 h 10186"/>
                  <a:gd name="T56" fmla="*/ 8498 w 13294"/>
                  <a:gd name="T57" fmla="*/ 4183 h 10186"/>
                  <a:gd name="T58" fmla="*/ 10168 w 13294"/>
                  <a:gd name="T59" fmla="*/ 4448 h 10186"/>
                  <a:gd name="T60" fmla="*/ 10383 w 13294"/>
                  <a:gd name="T61" fmla="*/ 4613 h 10186"/>
                  <a:gd name="T62" fmla="*/ 10499 w 13294"/>
                  <a:gd name="T63" fmla="*/ 4679 h 10186"/>
                  <a:gd name="T64" fmla="*/ 9606 w 13294"/>
                  <a:gd name="T65" fmla="*/ 5174 h 10186"/>
                  <a:gd name="T66" fmla="*/ 9391 w 13294"/>
                  <a:gd name="T67" fmla="*/ 5158 h 10186"/>
                  <a:gd name="T68" fmla="*/ 8978 w 13294"/>
                  <a:gd name="T69" fmla="*/ 5158 h 10186"/>
                  <a:gd name="T70" fmla="*/ 8746 w 13294"/>
                  <a:gd name="T71" fmla="*/ 5125 h 10186"/>
                  <a:gd name="T72" fmla="*/ 9275 w 13294"/>
                  <a:gd name="T73" fmla="*/ 4233 h 10186"/>
                  <a:gd name="T74" fmla="*/ 9606 w 13294"/>
                  <a:gd name="T75" fmla="*/ 5174 h 10186"/>
                  <a:gd name="T76" fmla="*/ 7886 w 13294"/>
                  <a:gd name="T77" fmla="*/ 4729 h 10186"/>
                  <a:gd name="T78" fmla="*/ 8630 w 13294"/>
                  <a:gd name="T79" fmla="*/ 4696 h 10186"/>
                  <a:gd name="T80" fmla="*/ 8597 w 13294"/>
                  <a:gd name="T81" fmla="*/ 4795 h 10186"/>
                  <a:gd name="T82" fmla="*/ 8333 w 13294"/>
                  <a:gd name="T83" fmla="*/ 4663 h 10186"/>
                  <a:gd name="T84" fmla="*/ 9193 w 13294"/>
                  <a:gd name="T85" fmla="*/ 5571 h 10186"/>
                  <a:gd name="T86" fmla="*/ 9193 w 13294"/>
                  <a:gd name="T87" fmla="*/ 5720 h 10186"/>
                  <a:gd name="T88" fmla="*/ 8184 w 13294"/>
                  <a:gd name="T89" fmla="*/ 4630 h 10186"/>
                  <a:gd name="T90" fmla="*/ 7902 w 13294"/>
                  <a:gd name="T91" fmla="*/ 4746 h 10186"/>
                  <a:gd name="T92" fmla="*/ 9291 w 13294"/>
                  <a:gd name="T93" fmla="*/ 4845 h 10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94" h="10186">
                    <a:moveTo>
                      <a:pt x="10879" y="2678"/>
                    </a:moveTo>
                    <a:lnTo>
                      <a:pt x="10879" y="2678"/>
                    </a:lnTo>
                    <a:cubicBezTo>
                      <a:pt x="10813" y="2678"/>
                      <a:pt x="10747" y="2678"/>
                      <a:pt x="10664" y="2695"/>
                    </a:cubicBezTo>
                    <a:cubicBezTo>
                      <a:pt x="10367" y="1719"/>
                      <a:pt x="9474" y="1025"/>
                      <a:pt x="8399" y="1025"/>
                    </a:cubicBezTo>
                    <a:cubicBezTo>
                      <a:pt x="8134" y="1025"/>
                      <a:pt x="7870" y="1074"/>
                      <a:pt x="7621" y="1157"/>
                    </a:cubicBezTo>
                    <a:cubicBezTo>
                      <a:pt x="7142" y="463"/>
                      <a:pt x="6333" y="0"/>
                      <a:pt x="5407" y="0"/>
                    </a:cubicBezTo>
                    <a:cubicBezTo>
                      <a:pt x="4133" y="0"/>
                      <a:pt x="3075" y="876"/>
                      <a:pt x="2794" y="2067"/>
                    </a:cubicBezTo>
                    <a:cubicBezTo>
                      <a:pt x="2761" y="2067"/>
                      <a:pt x="2744" y="2067"/>
                      <a:pt x="2711" y="2067"/>
                    </a:cubicBezTo>
                    <a:cubicBezTo>
                      <a:pt x="1256" y="2067"/>
                      <a:pt x="66" y="3241"/>
                      <a:pt x="32" y="4696"/>
                    </a:cubicBezTo>
                    <a:cubicBezTo>
                      <a:pt x="0" y="6200"/>
                      <a:pt x="1273" y="7440"/>
                      <a:pt x="2778" y="7440"/>
                    </a:cubicBezTo>
                    <a:cubicBezTo>
                      <a:pt x="4117" y="7440"/>
                      <a:pt x="4117" y="7440"/>
                      <a:pt x="4117" y="7440"/>
                    </a:cubicBezTo>
                    <a:cubicBezTo>
                      <a:pt x="4117" y="7986"/>
                      <a:pt x="4117" y="7986"/>
                      <a:pt x="4117" y="7986"/>
                    </a:cubicBezTo>
                    <a:cubicBezTo>
                      <a:pt x="4117" y="8233"/>
                      <a:pt x="5258" y="8432"/>
                      <a:pt x="6647" y="8432"/>
                    </a:cubicBezTo>
                    <a:cubicBezTo>
                      <a:pt x="8052" y="8432"/>
                      <a:pt x="9193" y="8233"/>
                      <a:pt x="9193" y="7986"/>
                    </a:cubicBezTo>
                    <a:cubicBezTo>
                      <a:pt x="9193" y="6778"/>
                      <a:pt x="9193" y="6778"/>
                      <a:pt x="9193" y="6778"/>
                    </a:cubicBezTo>
                    <a:cubicBezTo>
                      <a:pt x="9193" y="7010"/>
                      <a:pt x="8052" y="7208"/>
                      <a:pt x="6647" y="7208"/>
                    </a:cubicBezTo>
                    <a:cubicBezTo>
                      <a:pt x="5258" y="7208"/>
                      <a:pt x="4117" y="7010"/>
                      <a:pt x="4117" y="6778"/>
                    </a:cubicBezTo>
                    <a:cubicBezTo>
                      <a:pt x="4117" y="6811"/>
                      <a:pt x="4117" y="6811"/>
                      <a:pt x="4117" y="6811"/>
                    </a:cubicBezTo>
                    <a:cubicBezTo>
                      <a:pt x="2761" y="6811"/>
                      <a:pt x="2761" y="6811"/>
                      <a:pt x="2761" y="6811"/>
                    </a:cubicBezTo>
                    <a:cubicBezTo>
                      <a:pt x="1637" y="6811"/>
                      <a:pt x="694" y="5935"/>
                      <a:pt x="661" y="4812"/>
                    </a:cubicBezTo>
                    <a:cubicBezTo>
                      <a:pt x="611" y="3638"/>
                      <a:pt x="1554" y="2678"/>
                      <a:pt x="2711" y="2678"/>
                    </a:cubicBezTo>
                    <a:cubicBezTo>
                      <a:pt x="2728" y="2678"/>
                      <a:pt x="2744" y="2678"/>
                      <a:pt x="2744" y="2678"/>
                    </a:cubicBezTo>
                    <a:cubicBezTo>
                      <a:pt x="2778" y="2678"/>
                      <a:pt x="2778" y="2678"/>
                      <a:pt x="2778" y="2678"/>
                    </a:cubicBezTo>
                    <a:cubicBezTo>
                      <a:pt x="3059" y="2695"/>
                      <a:pt x="3059" y="2695"/>
                      <a:pt x="3059" y="2695"/>
                    </a:cubicBezTo>
                    <a:cubicBezTo>
                      <a:pt x="3191" y="2695"/>
                      <a:pt x="3307" y="2612"/>
                      <a:pt x="3323" y="2480"/>
                    </a:cubicBezTo>
                    <a:cubicBezTo>
                      <a:pt x="3389" y="2199"/>
                      <a:pt x="3389" y="2199"/>
                      <a:pt x="3389" y="2199"/>
                    </a:cubicBezTo>
                    <a:cubicBezTo>
                      <a:pt x="3621" y="1273"/>
                      <a:pt x="4448" y="611"/>
                      <a:pt x="5407" y="611"/>
                    </a:cubicBezTo>
                    <a:cubicBezTo>
                      <a:pt x="6085" y="611"/>
                      <a:pt x="6729" y="942"/>
                      <a:pt x="7109" y="1505"/>
                    </a:cubicBezTo>
                    <a:cubicBezTo>
                      <a:pt x="7258" y="1736"/>
                      <a:pt x="7258" y="1736"/>
                      <a:pt x="7258" y="1736"/>
                    </a:cubicBezTo>
                    <a:cubicBezTo>
                      <a:pt x="7324" y="1835"/>
                      <a:pt x="7456" y="1868"/>
                      <a:pt x="7572" y="1835"/>
                    </a:cubicBezTo>
                    <a:cubicBezTo>
                      <a:pt x="7804" y="1752"/>
                      <a:pt x="7804" y="1752"/>
                      <a:pt x="7804" y="1752"/>
                    </a:cubicBezTo>
                    <a:cubicBezTo>
                      <a:pt x="7936" y="1703"/>
                      <a:pt x="8052" y="1670"/>
                      <a:pt x="8184" y="1670"/>
                    </a:cubicBezTo>
                    <a:cubicBezTo>
                      <a:pt x="9044" y="1554"/>
                      <a:pt x="9821" y="2067"/>
                      <a:pt x="10085" y="2877"/>
                    </a:cubicBezTo>
                    <a:cubicBezTo>
                      <a:pt x="10168" y="3141"/>
                      <a:pt x="10168" y="3141"/>
                      <a:pt x="10168" y="3141"/>
                    </a:cubicBezTo>
                    <a:cubicBezTo>
                      <a:pt x="10201" y="3257"/>
                      <a:pt x="10317" y="3340"/>
                      <a:pt x="10449" y="3340"/>
                    </a:cubicBezTo>
                    <a:cubicBezTo>
                      <a:pt x="10730" y="3307"/>
                      <a:pt x="10730" y="3307"/>
                      <a:pt x="10730" y="3307"/>
                    </a:cubicBezTo>
                    <a:cubicBezTo>
                      <a:pt x="10830" y="3307"/>
                      <a:pt x="10929" y="3307"/>
                      <a:pt x="11011" y="3307"/>
                    </a:cubicBezTo>
                    <a:cubicBezTo>
                      <a:pt x="11871" y="3389"/>
                      <a:pt x="12566" y="4067"/>
                      <a:pt x="12632" y="4927"/>
                    </a:cubicBezTo>
                    <a:cubicBezTo>
                      <a:pt x="12715" y="5952"/>
                      <a:pt x="11888" y="6811"/>
                      <a:pt x="10879" y="6811"/>
                    </a:cubicBezTo>
                    <a:cubicBezTo>
                      <a:pt x="9738" y="6811"/>
                      <a:pt x="9738" y="6811"/>
                      <a:pt x="9738" y="6811"/>
                    </a:cubicBezTo>
                    <a:cubicBezTo>
                      <a:pt x="9738" y="7440"/>
                      <a:pt x="9738" y="7440"/>
                      <a:pt x="9738" y="7440"/>
                    </a:cubicBezTo>
                    <a:cubicBezTo>
                      <a:pt x="10830" y="7440"/>
                      <a:pt x="10830" y="7440"/>
                      <a:pt x="10830" y="7440"/>
                    </a:cubicBezTo>
                    <a:cubicBezTo>
                      <a:pt x="12169" y="7440"/>
                      <a:pt x="13293" y="6348"/>
                      <a:pt x="13260" y="5010"/>
                    </a:cubicBezTo>
                    <a:cubicBezTo>
                      <a:pt x="13227" y="3720"/>
                      <a:pt x="12185" y="2678"/>
                      <a:pt x="10879" y="2678"/>
                    </a:cubicBezTo>
                    <a:close/>
                    <a:moveTo>
                      <a:pt x="9193" y="6365"/>
                    </a:moveTo>
                    <a:lnTo>
                      <a:pt x="9193" y="6365"/>
                    </a:lnTo>
                    <a:cubicBezTo>
                      <a:pt x="9193" y="6415"/>
                      <a:pt x="9193" y="6415"/>
                      <a:pt x="9193" y="6415"/>
                    </a:cubicBezTo>
                    <a:cubicBezTo>
                      <a:pt x="9193" y="6663"/>
                      <a:pt x="8052" y="6861"/>
                      <a:pt x="6647" y="6861"/>
                    </a:cubicBezTo>
                    <a:cubicBezTo>
                      <a:pt x="5258" y="6861"/>
                      <a:pt x="4117" y="6663"/>
                      <a:pt x="4117" y="6415"/>
                    </a:cubicBezTo>
                    <a:cubicBezTo>
                      <a:pt x="4117" y="5027"/>
                      <a:pt x="4117" y="5027"/>
                      <a:pt x="4117" y="5027"/>
                    </a:cubicBezTo>
                    <a:cubicBezTo>
                      <a:pt x="4117" y="4778"/>
                      <a:pt x="5258" y="4580"/>
                      <a:pt x="6647" y="4580"/>
                    </a:cubicBezTo>
                    <a:cubicBezTo>
                      <a:pt x="6960" y="4580"/>
                      <a:pt x="7258" y="4596"/>
                      <a:pt x="7523" y="4613"/>
                    </a:cubicBezTo>
                    <a:cubicBezTo>
                      <a:pt x="7523" y="4646"/>
                      <a:pt x="7523" y="4679"/>
                      <a:pt x="7523" y="4696"/>
                    </a:cubicBezTo>
                    <a:cubicBezTo>
                      <a:pt x="7523" y="4795"/>
                      <a:pt x="7539" y="4878"/>
                      <a:pt x="7539" y="4960"/>
                    </a:cubicBezTo>
                    <a:cubicBezTo>
                      <a:pt x="7274" y="4944"/>
                      <a:pt x="6960" y="4927"/>
                      <a:pt x="6647" y="4927"/>
                    </a:cubicBezTo>
                    <a:cubicBezTo>
                      <a:pt x="5704" y="4927"/>
                      <a:pt x="4878" y="5027"/>
                      <a:pt x="4431" y="5158"/>
                    </a:cubicBezTo>
                    <a:cubicBezTo>
                      <a:pt x="4398" y="5174"/>
                      <a:pt x="4398" y="5224"/>
                      <a:pt x="4431" y="5240"/>
                    </a:cubicBezTo>
                    <a:cubicBezTo>
                      <a:pt x="4878" y="5373"/>
                      <a:pt x="5704" y="5455"/>
                      <a:pt x="6647" y="5455"/>
                    </a:cubicBezTo>
                    <a:cubicBezTo>
                      <a:pt x="7026" y="5455"/>
                      <a:pt x="7373" y="5439"/>
                      <a:pt x="7688" y="5422"/>
                    </a:cubicBezTo>
                    <a:cubicBezTo>
                      <a:pt x="8002" y="6034"/>
                      <a:pt x="8548" y="6365"/>
                      <a:pt x="9193" y="6365"/>
                    </a:cubicBezTo>
                    <a:close/>
                    <a:moveTo>
                      <a:pt x="6647" y="8779"/>
                    </a:moveTo>
                    <a:lnTo>
                      <a:pt x="6647" y="8779"/>
                    </a:lnTo>
                    <a:cubicBezTo>
                      <a:pt x="5258" y="8779"/>
                      <a:pt x="4117" y="8581"/>
                      <a:pt x="4117" y="8349"/>
                    </a:cubicBezTo>
                    <a:cubicBezTo>
                      <a:pt x="4117" y="9738"/>
                      <a:pt x="4117" y="9738"/>
                      <a:pt x="4117" y="9738"/>
                    </a:cubicBezTo>
                    <a:cubicBezTo>
                      <a:pt x="4117" y="9986"/>
                      <a:pt x="5258" y="10185"/>
                      <a:pt x="6647" y="10185"/>
                    </a:cubicBezTo>
                    <a:cubicBezTo>
                      <a:pt x="8052" y="10185"/>
                      <a:pt x="9193" y="9986"/>
                      <a:pt x="9193" y="9738"/>
                    </a:cubicBezTo>
                    <a:cubicBezTo>
                      <a:pt x="9193" y="8349"/>
                      <a:pt x="9193" y="8349"/>
                      <a:pt x="9193" y="8349"/>
                    </a:cubicBezTo>
                    <a:cubicBezTo>
                      <a:pt x="9193" y="8581"/>
                      <a:pt x="8052" y="8779"/>
                      <a:pt x="6647" y="8779"/>
                    </a:cubicBezTo>
                    <a:close/>
                    <a:moveTo>
                      <a:pt x="7770" y="4696"/>
                    </a:moveTo>
                    <a:lnTo>
                      <a:pt x="7770" y="4696"/>
                    </a:lnTo>
                    <a:cubicBezTo>
                      <a:pt x="7770" y="5489"/>
                      <a:pt x="8399" y="6134"/>
                      <a:pt x="9193" y="6134"/>
                    </a:cubicBezTo>
                    <a:cubicBezTo>
                      <a:pt x="9986" y="6134"/>
                      <a:pt x="10614" y="5489"/>
                      <a:pt x="10614" y="4696"/>
                    </a:cubicBezTo>
                    <a:cubicBezTo>
                      <a:pt x="10614" y="3919"/>
                      <a:pt x="9986" y="3274"/>
                      <a:pt x="9193" y="3274"/>
                    </a:cubicBezTo>
                    <a:cubicBezTo>
                      <a:pt x="8399" y="3274"/>
                      <a:pt x="7770" y="3919"/>
                      <a:pt x="7770" y="4696"/>
                    </a:cubicBezTo>
                    <a:close/>
                    <a:moveTo>
                      <a:pt x="10119" y="5076"/>
                    </a:moveTo>
                    <a:lnTo>
                      <a:pt x="10119" y="5076"/>
                    </a:lnTo>
                    <a:cubicBezTo>
                      <a:pt x="9755" y="4712"/>
                      <a:pt x="9755" y="4712"/>
                      <a:pt x="9755" y="4712"/>
                    </a:cubicBezTo>
                    <a:cubicBezTo>
                      <a:pt x="9738" y="4696"/>
                      <a:pt x="9738" y="4663"/>
                      <a:pt x="9755" y="4663"/>
                    </a:cubicBezTo>
                    <a:cubicBezTo>
                      <a:pt x="9804" y="4613"/>
                      <a:pt x="9804" y="4613"/>
                      <a:pt x="9804" y="4613"/>
                    </a:cubicBezTo>
                    <a:cubicBezTo>
                      <a:pt x="9804" y="4596"/>
                      <a:pt x="9821" y="4596"/>
                      <a:pt x="9821" y="4596"/>
                    </a:cubicBezTo>
                    <a:cubicBezTo>
                      <a:pt x="9838" y="4596"/>
                      <a:pt x="9838" y="4596"/>
                      <a:pt x="9854" y="4613"/>
                    </a:cubicBezTo>
                    <a:cubicBezTo>
                      <a:pt x="10052" y="4812"/>
                      <a:pt x="10052" y="4812"/>
                      <a:pt x="10052" y="4812"/>
                    </a:cubicBezTo>
                    <a:cubicBezTo>
                      <a:pt x="10069" y="4746"/>
                      <a:pt x="10069" y="4746"/>
                      <a:pt x="10069" y="4746"/>
                    </a:cubicBezTo>
                    <a:cubicBezTo>
                      <a:pt x="10069" y="4729"/>
                      <a:pt x="10069" y="4712"/>
                      <a:pt x="10069" y="4696"/>
                    </a:cubicBezTo>
                    <a:cubicBezTo>
                      <a:pt x="10069" y="4580"/>
                      <a:pt x="10036" y="4481"/>
                      <a:pt x="9986" y="4365"/>
                    </a:cubicBezTo>
                    <a:cubicBezTo>
                      <a:pt x="9854" y="4051"/>
                      <a:pt x="9540" y="3836"/>
                      <a:pt x="9193" y="3836"/>
                    </a:cubicBezTo>
                    <a:cubicBezTo>
                      <a:pt x="8928" y="3836"/>
                      <a:pt x="8663" y="3968"/>
                      <a:pt x="8498" y="4183"/>
                    </a:cubicBezTo>
                    <a:cubicBezTo>
                      <a:pt x="8399" y="4067"/>
                      <a:pt x="8399" y="4067"/>
                      <a:pt x="8399" y="4067"/>
                    </a:cubicBezTo>
                    <a:cubicBezTo>
                      <a:pt x="8597" y="3836"/>
                      <a:pt x="8878" y="3687"/>
                      <a:pt x="9193" y="3687"/>
                    </a:cubicBezTo>
                    <a:cubicBezTo>
                      <a:pt x="9656" y="3687"/>
                      <a:pt x="10052" y="4001"/>
                      <a:pt x="10168" y="4448"/>
                    </a:cubicBezTo>
                    <a:cubicBezTo>
                      <a:pt x="10201" y="4530"/>
                      <a:pt x="10201" y="4613"/>
                      <a:pt x="10201" y="4696"/>
                    </a:cubicBezTo>
                    <a:cubicBezTo>
                      <a:pt x="10201" y="4778"/>
                      <a:pt x="10201" y="4778"/>
                      <a:pt x="10201" y="4778"/>
                    </a:cubicBezTo>
                    <a:cubicBezTo>
                      <a:pt x="10383" y="4613"/>
                      <a:pt x="10383" y="4613"/>
                      <a:pt x="10383" y="4613"/>
                    </a:cubicBezTo>
                    <a:cubicBezTo>
                      <a:pt x="10400" y="4596"/>
                      <a:pt x="10416" y="4596"/>
                      <a:pt x="10433" y="4613"/>
                    </a:cubicBezTo>
                    <a:cubicBezTo>
                      <a:pt x="10482" y="4663"/>
                      <a:pt x="10482" y="4663"/>
                      <a:pt x="10482" y="4663"/>
                    </a:cubicBezTo>
                    <a:cubicBezTo>
                      <a:pt x="10499" y="4663"/>
                      <a:pt x="10499" y="4679"/>
                      <a:pt x="10499" y="4679"/>
                    </a:cubicBezTo>
                    <a:cubicBezTo>
                      <a:pt x="10499" y="4696"/>
                      <a:pt x="10499" y="4696"/>
                      <a:pt x="10482" y="4712"/>
                    </a:cubicBezTo>
                    <a:lnTo>
                      <a:pt x="10119" y="5076"/>
                    </a:lnTo>
                    <a:close/>
                    <a:moveTo>
                      <a:pt x="9606" y="5174"/>
                    </a:moveTo>
                    <a:lnTo>
                      <a:pt x="9606" y="5174"/>
                    </a:lnTo>
                    <a:cubicBezTo>
                      <a:pt x="9424" y="5174"/>
                      <a:pt x="9424" y="5174"/>
                      <a:pt x="9424" y="5174"/>
                    </a:cubicBezTo>
                    <a:cubicBezTo>
                      <a:pt x="9407" y="5174"/>
                      <a:pt x="9407" y="5174"/>
                      <a:pt x="9391" y="5158"/>
                    </a:cubicBezTo>
                    <a:cubicBezTo>
                      <a:pt x="9341" y="5010"/>
                      <a:pt x="9341" y="5010"/>
                      <a:pt x="9341" y="5010"/>
                    </a:cubicBezTo>
                    <a:cubicBezTo>
                      <a:pt x="9027" y="5010"/>
                      <a:pt x="9027" y="5010"/>
                      <a:pt x="9027" y="5010"/>
                    </a:cubicBezTo>
                    <a:cubicBezTo>
                      <a:pt x="8978" y="5158"/>
                      <a:pt x="8978" y="5158"/>
                      <a:pt x="8978" y="5158"/>
                    </a:cubicBezTo>
                    <a:cubicBezTo>
                      <a:pt x="8978" y="5174"/>
                      <a:pt x="8961" y="5174"/>
                      <a:pt x="8944" y="5174"/>
                    </a:cubicBezTo>
                    <a:cubicBezTo>
                      <a:pt x="8779" y="5174"/>
                      <a:pt x="8779" y="5174"/>
                      <a:pt x="8779" y="5174"/>
                    </a:cubicBezTo>
                    <a:cubicBezTo>
                      <a:pt x="8762" y="5174"/>
                      <a:pt x="8746" y="5158"/>
                      <a:pt x="8746" y="5125"/>
                    </a:cubicBezTo>
                    <a:cubicBezTo>
                      <a:pt x="9110" y="4249"/>
                      <a:pt x="9110" y="4249"/>
                      <a:pt x="9110" y="4249"/>
                    </a:cubicBezTo>
                    <a:cubicBezTo>
                      <a:pt x="9126" y="4233"/>
                      <a:pt x="9143" y="4233"/>
                      <a:pt x="9143" y="4233"/>
                    </a:cubicBezTo>
                    <a:cubicBezTo>
                      <a:pt x="9275" y="4233"/>
                      <a:pt x="9275" y="4233"/>
                      <a:pt x="9275" y="4233"/>
                    </a:cubicBezTo>
                    <a:cubicBezTo>
                      <a:pt x="9291" y="4233"/>
                      <a:pt x="9308" y="4233"/>
                      <a:pt x="9308" y="4249"/>
                    </a:cubicBezTo>
                    <a:cubicBezTo>
                      <a:pt x="9639" y="5125"/>
                      <a:pt x="9639" y="5125"/>
                      <a:pt x="9639" y="5125"/>
                    </a:cubicBezTo>
                    <a:cubicBezTo>
                      <a:pt x="9639" y="5158"/>
                      <a:pt x="9622" y="5174"/>
                      <a:pt x="9606" y="5174"/>
                    </a:cubicBezTo>
                    <a:close/>
                    <a:moveTo>
                      <a:pt x="7902" y="4746"/>
                    </a:moveTo>
                    <a:lnTo>
                      <a:pt x="7902" y="4746"/>
                    </a:lnTo>
                    <a:lnTo>
                      <a:pt x="7886" y="4729"/>
                    </a:lnTo>
                    <a:cubicBezTo>
                      <a:pt x="7886" y="4712"/>
                      <a:pt x="7902" y="4712"/>
                      <a:pt x="7902" y="4696"/>
                    </a:cubicBezTo>
                    <a:cubicBezTo>
                      <a:pt x="8267" y="4332"/>
                      <a:pt x="8267" y="4332"/>
                      <a:pt x="8267" y="4332"/>
                    </a:cubicBezTo>
                    <a:cubicBezTo>
                      <a:pt x="8630" y="4696"/>
                      <a:pt x="8630" y="4696"/>
                      <a:pt x="8630" y="4696"/>
                    </a:cubicBezTo>
                    <a:cubicBezTo>
                      <a:pt x="8647" y="4712"/>
                      <a:pt x="8647" y="4712"/>
                      <a:pt x="8647" y="4729"/>
                    </a:cubicBezTo>
                    <a:cubicBezTo>
                      <a:pt x="8647" y="4729"/>
                      <a:pt x="8647" y="4746"/>
                      <a:pt x="8630" y="4746"/>
                    </a:cubicBezTo>
                    <a:cubicBezTo>
                      <a:pt x="8597" y="4795"/>
                      <a:pt x="8597" y="4795"/>
                      <a:pt x="8597" y="4795"/>
                    </a:cubicBezTo>
                    <a:cubicBezTo>
                      <a:pt x="8581" y="4812"/>
                      <a:pt x="8548" y="4812"/>
                      <a:pt x="8531" y="4795"/>
                    </a:cubicBezTo>
                    <a:cubicBezTo>
                      <a:pt x="8333" y="4596"/>
                      <a:pt x="8333" y="4596"/>
                      <a:pt x="8333" y="4596"/>
                    </a:cubicBezTo>
                    <a:cubicBezTo>
                      <a:pt x="8333" y="4663"/>
                      <a:pt x="8333" y="4663"/>
                      <a:pt x="8333" y="4663"/>
                    </a:cubicBezTo>
                    <a:cubicBezTo>
                      <a:pt x="8333" y="4679"/>
                      <a:pt x="8333" y="4696"/>
                      <a:pt x="8333" y="4696"/>
                    </a:cubicBezTo>
                    <a:cubicBezTo>
                      <a:pt x="8333" y="4828"/>
                      <a:pt x="8349" y="4927"/>
                      <a:pt x="8399" y="5043"/>
                    </a:cubicBezTo>
                    <a:cubicBezTo>
                      <a:pt x="8531" y="5356"/>
                      <a:pt x="8845" y="5571"/>
                      <a:pt x="9193" y="5571"/>
                    </a:cubicBezTo>
                    <a:cubicBezTo>
                      <a:pt x="9457" y="5571"/>
                      <a:pt x="9722" y="5439"/>
                      <a:pt x="9887" y="5224"/>
                    </a:cubicBezTo>
                    <a:cubicBezTo>
                      <a:pt x="9986" y="5340"/>
                      <a:pt x="9986" y="5340"/>
                      <a:pt x="9986" y="5340"/>
                    </a:cubicBezTo>
                    <a:cubicBezTo>
                      <a:pt x="9788" y="5571"/>
                      <a:pt x="9507" y="5720"/>
                      <a:pt x="9193" y="5720"/>
                    </a:cubicBezTo>
                    <a:cubicBezTo>
                      <a:pt x="8730" y="5720"/>
                      <a:pt x="8333" y="5406"/>
                      <a:pt x="8217" y="4960"/>
                    </a:cubicBezTo>
                    <a:cubicBezTo>
                      <a:pt x="8184" y="4878"/>
                      <a:pt x="8184" y="4795"/>
                      <a:pt x="8184" y="4696"/>
                    </a:cubicBezTo>
                    <a:cubicBezTo>
                      <a:pt x="8184" y="4630"/>
                      <a:pt x="8184" y="4630"/>
                      <a:pt x="8184" y="4630"/>
                    </a:cubicBezTo>
                    <a:cubicBezTo>
                      <a:pt x="8002" y="4795"/>
                      <a:pt x="8002" y="4795"/>
                      <a:pt x="8002" y="4795"/>
                    </a:cubicBezTo>
                    <a:cubicBezTo>
                      <a:pt x="7986" y="4812"/>
                      <a:pt x="7969" y="4812"/>
                      <a:pt x="7952" y="4795"/>
                    </a:cubicBezTo>
                    <a:lnTo>
                      <a:pt x="7902" y="4746"/>
                    </a:lnTo>
                    <a:close/>
                    <a:moveTo>
                      <a:pt x="9193" y="4564"/>
                    </a:moveTo>
                    <a:lnTo>
                      <a:pt x="9193" y="4564"/>
                    </a:lnTo>
                    <a:cubicBezTo>
                      <a:pt x="9291" y="4845"/>
                      <a:pt x="9291" y="4845"/>
                      <a:pt x="9291" y="4845"/>
                    </a:cubicBezTo>
                    <a:cubicBezTo>
                      <a:pt x="9093" y="4845"/>
                      <a:pt x="9093" y="4845"/>
                      <a:pt x="9093" y="4845"/>
                    </a:cubicBezTo>
                    <a:cubicBezTo>
                      <a:pt x="9193" y="4564"/>
                      <a:pt x="9193" y="4564"/>
                      <a:pt x="9193" y="4564"/>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CE3E4"/>
                  </a:solidFill>
                  <a:effectLst/>
                  <a:uLnTx/>
                  <a:uFillTx/>
                  <a:latin typeface="Oracle Sans Semi" panose="020B0503020204020204" pitchFamily="34" charset="0"/>
                  <a:ea typeface="+mn-ea"/>
                  <a:cs typeface="Oracle Sans Semi" panose="020B0503020204020204" pitchFamily="34" charset="0"/>
                </a:endParaRPr>
              </a:p>
            </p:txBody>
          </p:sp>
        </p:grpSp>
        <p:grpSp>
          <p:nvGrpSpPr>
            <p:cNvPr id="27" name="Group 26">
              <a:extLst>
                <a:ext uri="{FF2B5EF4-FFF2-40B4-BE49-F238E27FC236}">
                  <a16:creationId xmlns:a16="http://schemas.microsoft.com/office/drawing/2014/main" id="{9D0CDCB3-8C06-46A1-9399-14C8C43DFCC0}"/>
                </a:ext>
              </a:extLst>
            </p:cNvPr>
            <p:cNvGrpSpPr/>
            <p:nvPr/>
          </p:nvGrpSpPr>
          <p:grpSpPr>
            <a:xfrm>
              <a:off x="4037257" y="1952074"/>
              <a:ext cx="2150724" cy="1016250"/>
              <a:chOff x="3968346" y="1952074"/>
              <a:chExt cx="2150724" cy="1016250"/>
            </a:xfrm>
          </p:grpSpPr>
          <p:sp>
            <p:nvSpPr>
              <p:cNvPr id="76" name="Chevron 4">
                <a:extLst>
                  <a:ext uri="{FF2B5EF4-FFF2-40B4-BE49-F238E27FC236}">
                    <a16:creationId xmlns:a16="http://schemas.microsoft.com/office/drawing/2014/main" id="{7440469E-729C-EA4C-ADD6-06D267F3ADB4}"/>
                  </a:ext>
                </a:extLst>
              </p:cNvPr>
              <p:cNvSpPr/>
              <p:nvPr/>
            </p:nvSpPr>
            <p:spPr>
              <a:xfrm>
                <a:off x="4090356" y="1952074"/>
                <a:ext cx="2028714" cy="152348"/>
              </a:xfrm>
              <a:prstGeom prst="rect">
                <a:avLst/>
              </a:prstGeom>
              <a:no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0" tIns="0" rIns="0" bIns="0" numCol="1" spcCol="1270" anchor="ctr" anchorCtr="0">
                <a:spAutoFit/>
              </a:bodyPr>
              <a:lstStyle/>
              <a:p>
                <a:pPr marL="0" marR="0" lvl="0" indent="0" algn="ctr" defTabSz="622113"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Spark as service</a:t>
                </a:r>
              </a:p>
            </p:txBody>
          </p:sp>
          <p:sp>
            <p:nvSpPr>
              <p:cNvPr id="78" name="TextBox 77">
                <a:extLst>
                  <a:ext uri="{FF2B5EF4-FFF2-40B4-BE49-F238E27FC236}">
                    <a16:creationId xmlns:a16="http://schemas.microsoft.com/office/drawing/2014/main" id="{133A5A3B-151A-4B42-B715-D5D11AF47DFD}"/>
                  </a:ext>
                </a:extLst>
              </p:cNvPr>
              <p:cNvSpPr txBox="1"/>
              <p:nvPr/>
            </p:nvSpPr>
            <p:spPr>
              <a:xfrm>
                <a:off x="3968346" y="2714408"/>
                <a:ext cx="213582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Data Flow</a:t>
                </a:r>
              </a:p>
            </p:txBody>
          </p:sp>
          <p:pic>
            <p:nvPicPr>
              <p:cNvPr id="137" name="Picture 136" descr="A close up of a logo&#10;&#10;Description automatically generated">
                <a:extLst>
                  <a:ext uri="{FF2B5EF4-FFF2-40B4-BE49-F238E27FC236}">
                    <a16:creationId xmlns:a16="http://schemas.microsoft.com/office/drawing/2014/main" id="{A0F57862-DBEB-40BA-9B94-4D465661B913}"/>
                  </a:ext>
                </a:extLst>
              </p:cNvPr>
              <p:cNvPicPr>
                <a:picLocks noChangeAspect="1"/>
              </p:cNvPicPr>
              <p:nvPr/>
            </p:nvPicPr>
            <p:blipFill>
              <a:blip r:embed="rId14" cstate="print">
                <a:lum bright="70000" contrast="-70000"/>
                <a:extLst>
                  <a:ext uri="{28A0092B-C50C-407E-A947-70E740481C1C}">
                    <a14:useLocalDpi xmlns:a14="http://schemas.microsoft.com/office/drawing/2010/main" val="0"/>
                  </a:ext>
                </a:extLst>
              </a:blip>
              <a:stretch>
                <a:fillRect/>
              </a:stretch>
            </p:blipFill>
            <p:spPr>
              <a:xfrm>
                <a:off x="4840758" y="2292769"/>
                <a:ext cx="391005" cy="319604"/>
              </a:xfrm>
              <a:prstGeom prst="rect">
                <a:avLst/>
              </a:prstGeom>
            </p:spPr>
          </p:pic>
        </p:grpSp>
        <p:grpSp>
          <p:nvGrpSpPr>
            <p:cNvPr id="24" name="Group 23">
              <a:extLst>
                <a:ext uri="{FF2B5EF4-FFF2-40B4-BE49-F238E27FC236}">
                  <a16:creationId xmlns:a16="http://schemas.microsoft.com/office/drawing/2014/main" id="{63D41F1B-D050-4734-BFB8-E3819ECC6C3C}"/>
                </a:ext>
              </a:extLst>
            </p:cNvPr>
            <p:cNvGrpSpPr/>
            <p:nvPr/>
          </p:nvGrpSpPr>
          <p:grpSpPr>
            <a:xfrm>
              <a:off x="4044705" y="3567971"/>
              <a:ext cx="2135828" cy="765800"/>
              <a:chOff x="3916869" y="3567971"/>
              <a:chExt cx="2135828" cy="765800"/>
            </a:xfrm>
          </p:grpSpPr>
          <p:pic>
            <p:nvPicPr>
              <p:cNvPr id="96" name="Picture 2" descr="http://blafstaging.us.oracle.com/coordination/syounossi/vDesign-MUX-collab/Mux-DesignGuide/Cloud14-1/content/19.Service-Logos-Blue/16.Service-Logos-92px/_icons/NoSQL_92@2x.png">
                <a:extLst>
                  <a:ext uri="{FF2B5EF4-FFF2-40B4-BE49-F238E27FC236}">
                    <a16:creationId xmlns:a16="http://schemas.microsoft.com/office/drawing/2014/main" id="{EF50F3E7-3581-4EF1-B907-6A8ED63A52D2}"/>
                  </a:ext>
                </a:extLst>
              </p:cNvPr>
              <p:cNvPicPr>
                <a:picLocks noChangeAspect="1" noChangeArrowheads="1"/>
              </p:cNvPicPr>
              <p:nvPr/>
            </p:nvPicPr>
            <p:blipFill>
              <a:blip r:embed="rId15">
                <a:biLevel thresh="25000"/>
                <a:extLst>
                  <a:ext uri="{28A0092B-C50C-407E-A947-70E740481C1C}">
                    <a14:useLocalDpi xmlns:a14="http://schemas.microsoft.com/office/drawing/2010/main"/>
                  </a:ext>
                </a:extLst>
              </a:blip>
              <a:stretch>
                <a:fillRect/>
              </a:stretch>
            </p:blipFill>
            <p:spPr bwMode="auto">
              <a:xfrm>
                <a:off x="4727698" y="3567971"/>
                <a:ext cx="485945" cy="48594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2A6A2388-B253-40FD-AE91-C9CCE47C9840}"/>
                  </a:ext>
                </a:extLst>
              </p:cNvPr>
              <p:cNvSpPr txBox="1"/>
              <p:nvPr/>
            </p:nvSpPr>
            <p:spPr>
              <a:xfrm>
                <a:off x="3916869" y="4079855"/>
                <a:ext cx="213582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FFFFFF"/>
                    </a:solidFill>
                    <a:effectLst/>
                    <a:uLnTx/>
                    <a:uFillTx/>
                    <a:latin typeface="Oracle Sans Light" panose="020B0403020204020204" pitchFamily="34" charset="0"/>
                    <a:ea typeface="+mn-ea"/>
                    <a:cs typeface="Oracle Sans Light" panose="020B0403020204020204" pitchFamily="34" charset="0"/>
                  </a:rPr>
                  <a:t>MySql</a:t>
                </a: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 Service</a:t>
                </a:r>
              </a:p>
            </p:txBody>
          </p:sp>
        </p:grpSp>
        <p:grpSp>
          <p:nvGrpSpPr>
            <p:cNvPr id="22" name="Group 21">
              <a:extLst>
                <a:ext uri="{FF2B5EF4-FFF2-40B4-BE49-F238E27FC236}">
                  <a16:creationId xmlns:a16="http://schemas.microsoft.com/office/drawing/2014/main" id="{6885AAF4-6002-4E06-A4AB-49992222395D}"/>
                </a:ext>
              </a:extLst>
            </p:cNvPr>
            <p:cNvGrpSpPr/>
            <p:nvPr/>
          </p:nvGrpSpPr>
          <p:grpSpPr>
            <a:xfrm>
              <a:off x="4982883" y="4529490"/>
              <a:ext cx="2135828" cy="783558"/>
              <a:chOff x="4849719" y="4449588"/>
              <a:chExt cx="2135828" cy="783558"/>
            </a:xfrm>
          </p:grpSpPr>
          <p:grpSp>
            <p:nvGrpSpPr>
              <p:cNvPr id="131" name="Group 130">
                <a:extLst>
                  <a:ext uri="{FF2B5EF4-FFF2-40B4-BE49-F238E27FC236}">
                    <a16:creationId xmlns:a16="http://schemas.microsoft.com/office/drawing/2014/main" id="{7EDF36E8-9DF1-467C-8BD0-17F8AE818212}"/>
                  </a:ext>
                </a:extLst>
              </p:cNvPr>
              <p:cNvGrpSpPr/>
              <p:nvPr/>
            </p:nvGrpSpPr>
            <p:grpSpPr>
              <a:xfrm>
                <a:off x="5704695" y="4655502"/>
                <a:ext cx="348002" cy="367424"/>
                <a:chOff x="9113143" y="1758788"/>
                <a:chExt cx="582945" cy="635162"/>
              </a:xfrm>
            </p:grpSpPr>
            <p:sp>
              <p:nvSpPr>
                <p:cNvPr id="132" name="Rectangle 131">
                  <a:extLst>
                    <a:ext uri="{FF2B5EF4-FFF2-40B4-BE49-F238E27FC236}">
                      <a16:creationId xmlns:a16="http://schemas.microsoft.com/office/drawing/2014/main" id="{54035F10-FA68-4FBF-970C-6D96F9C80BE5}"/>
                    </a:ext>
                  </a:extLst>
                </p:cNvPr>
                <p:cNvSpPr/>
                <p:nvPr/>
              </p:nvSpPr>
              <p:spPr>
                <a:xfrm>
                  <a:off x="9113143" y="1758788"/>
                  <a:ext cx="582945" cy="635162"/>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6" name="Freeform 30">
                  <a:extLst>
                    <a:ext uri="{FF2B5EF4-FFF2-40B4-BE49-F238E27FC236}">
                      <a16:creationId xmlns:a16="http://schemas.microsoft.com/office/drawing/2014/main" id="{673A5A15-667A-4A35-972F-A4F5919131AC}"/>
                    </a:ext>
                  </a:extLst>
                </p:cNvPr>
                <p:cNvSpPr>
                  <a:spLocks noChangeArrowheads="1"/>
                </p:cNvSpPr>
                <p:nvPr/>
              </p:nvSpPr>
              <p:spPr bwMode="auto">
                <a:xfrm>
                  <a:off x="9207801" y="1847739"/>
                  <a:ext cx="394941" cy="429056"/>
                </a:xfrm>
                <a:custGeom>
                  <a:avLst/>
                  <a:gdLst>
                    <a:gd name="T0" fmla="*/ 1022 w 1327"/>
                    <a:gd name="T1" fmla="*/ 21 h 1442"/>
                    <a:gd name="T2" fmla="*/ 663 w 1327"/>
                    <a:gd name="T3" fmla="*/ 0 h 1442"/>
                    <a:gd name="T4" fmla="*/ 304 w 1327"/>
                    <a:gd name="T5" fmla="*/ 21 h 1442"/>
                    <a:gd name="T6" fmla="*/ 0 w 1327"/>
                    <a:gd name="T7" fmla="*/ 121 h 1442"/>
                    <a:gd name="T8" fmla="*/ 0 w 1327"/>
                    <a:gd name="T9" fmla="*/ 1320 h 1442"/>
                    <a:gd name="T10" fmla="*/ 304 w 1327"/>
                    <a:gd name="T11" fmla="*/ 1420 h 1442"/>
                    <a:gd name="T12" fmla="*/ 663 w 1327"/>
                    <a:gd name="T13" fmla="*/ 1441 h 1442"/>
                    <a:gd name="T14" fmla="*/ 1022 w 1327"/>
                    <a:gd name="T15" fmla="*/ 1420 h 1442"/>
                    <a:gd name="T16" fmla="*/ 1326 w 1327"/>
                    <a:gd name="T17" fmla="*/ 1320 h 1442"/>
                    <a:gd name="T18" fmla="*/ 1326 w 1327"/>
                    <a:gd name="T19" fmla="*/ 121 h 1442"/>
                    <a:gd name="T20" fmla="*/ 1022 w 1327"/>
                    <a:gd name="T21" fmla="*/ 21 h 1442"/>
                    <a:gd name="T22" fmla="*/ 346 w 1327"/>
                    <a:gd name="T23" fmla="*/ 1042 h 1442"/>
                    <a:gd name="T24" fmla="*/ 257 w 1327"/>
                    <a:gd name="T25" fmla="*/ 953 h 1442"/>
                    <a:gd name="T26" fmla="*/ 346 w 1327"/>
                    <a:gd name="T27" fmla="*/ 864 h 1442"/>
                    <a:gd name="T28" fmla="*/ 435 w 1327"/>
                    <a:gd name="T29" fmla="*/ 953 h 1442"/>
                    <a:gd name="T30" fmla="*/ 346 w 1327"/>
                    <a:gd name="T31" fmla="*/ 1042 h 1442"/>
                    <a:gd name="T32" fmla="*/ 377 w 1327"/>
                    <a:gd name="T33" fmla="*/ 661 h 1442"/>
                    <a:gd name="T34" fmla="*/ 480 w 1327"/>
                    <a:gd name="T35" fmla="*/ 459 h 1442"/>
                    <a:gd name="T36" fmla="*/ 582 w 1327"/>
                    <a:gd name="T37" fmla="*/ 661 h 1442"/>
                    <a:gd name="T38" fmla="*/ 377 w 1327"/>
                    <a:gd name="T39" fmla="*/ 661 h 1442"/>
                    <a:gd name="T40" fmla="*/ 550 w 1327"/>
                    <a:gd name="T41" fmla="*/ 791 h 1442"/>
                    <a:gd name="T42" fmla="*/ 655 w 1327"/>
                    <a:gd name="T43" fmla="*/ 746 h 1442"/>
                    <a:gd name="T44" fmla="*/ 760 w 1327"/>
                    <a:gd name="T45" fmla="*/ 791 h 1442"/>
                    <a:gd name="T46" fmla="*/ 760 w 1327"/>
                    <a:gd name="T47" fmla="*/ 940 h 1442"/>
                    <a:gd name="T48" fmla="*/ 655 w 1327"/>
                    <a:gd name="T49" fmla="*/ 985 h 1442"/>
                    <a:gd name="T50" fmla="*/ 550 w 1327"/>
                    <a:gd name="T51" fmla="*/ 940 h 1442"/>
                    <a:gd name="T52" fmla="*/ 550 w 1327"/>
                    <a:gd name="T53" fmla="*/ 791 h 1442"/>
                    <a:gd name="T54" fmla="*/ 689 w 1327"/>
                    <a:gd name="T55" fmla="*/ 1265 h 1442"/>
                    <a:gd name="T56" fmla="*/ 600 w 1327"/>
                    <a:gd name="T57" fmla="*/ 1176 h 1442"/>
                    <a:gd name="T58" fmla="*/ 689 w 1327"/>
                    <a:gd name="T59" fmla="*/ 1087 h 1442"/>
                    <a:gd name="T60" fmla="*/ 778 w 1327"/>
                    <a:gd name="T61" fmla="*/ 1176 h 1442"/>
                    <a:gd name="T62" fmla="*/ 689 w 1327"/>
                    <a:gd name="T63" fmla="*/ 1265 h 1442"/>
                    <a:gd name="T64" fmla="*/ 757 w 1327"/>
                    <a:gd name="T65" fmla="*/ 558 h 1442"/>
                    <a:gd name="T66" fmla="*/ 870 w 1327"/>
                    <a:gd name="T67" fmla="*/ 446 h 1442"/>
                    <a:gd name="T68" fmla="*/ 983 w 1327"/>
                    <a:gd name="T69" fmla="*/ 558 h 1442"/>
                    <a:gd name="T70" fmla="*/ 870 w 1327"/>
                    <a:gd name="T71" fmla="*/ 671 h 1442"/>
                    <a:gd name="T72" fmla="*/ 757 w 1327"/>
                    <a:gd name="T73" fmla="*/ 558 h 1442"/>
                    <a:gd name="T74" fmla="*/ 917 w 1327"/>
                    <a:gd name="T75" fmla="*/ 1003 h 1442"/>
                    <a:gd name="T76" fmla="*/ 1007 w 1327"/>
                    <a:gd name="T77" fmla="*/ 825 h 1442"/>
                    <a:gd name="T78" fmla="*/ 1096 w 1327"/>
                    <a:gd name="T79" fmla="*/ 1003 h 1442"/>
                    <a:gd name="T80" fmla="*/ 917 w 1327"/>
                    <a:gd name="T81" fmla="*/ 1003 h 1442"/>
                    <a:gd name="T82" fmla="*/ 1269 w 1327"/>
                    <a:gd name="T83" fmla="*/ 220 h 1442"/>
                    <a:gd name="T84" fmla="*/ 660 w 1327"/>
                    <a:gd name="T85" fmla="*/ 315 h 1442"/>
                    <a:gd name="T86" fmla="*/ 52 w 1327"/>
                    <a:gd name="T87" fmla="*/ 220 h 1442"/>
                    <a:gd name="T88" fmla="*/ 52 w 1327"/>
                    <a:gd name="T89" fmla="*/ 220 h 1442"/>
                    <a:gd name="T90" fmla="*/ 660 w 1327"/>
                    <a:gd name="T91" fmla="*/ 126 h 1442"/>
                    <a:gd name="T92" fmla="*/ 1269 w 1327"/>
                    <a:gd name="T93" fmla="*/ 22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7" h="1442">
                      <a:moveTo>
                        <a:pt x="1022" y="21"/>
                      </a:moveTo>
                      <a:cubicBezTo>
                        <a:pt x="849" y="0"/>
                        <a:pt x="671" y="0"/>
                        <a:pt x="663" y="0"/>
                      </a:cubicBezTo>
                      <a:cubicBezTo>
                        <a:pt x="655" y="0"/>
                        <a:pt x="477" y="0"/>
                        <a:pt x="304" y="21"/>
                      </a:cubicBezTo>
                      <a:cubicBezTo>
                        <a:pt x="2" y="58"/>
                        <a:pt x="0" y="121"/>
                        <a:pt x="0" y="121"/>
                      </a:cubicBezTo>
                      <a:lnTo>
                        <a:pt x="0" y="1320"/>
                      </a:lnTo>
                      <a:cubicBezTo>
                        <a:pt x="0" y="1320"/>
                        <a:pt x="2" y="1383"/>
                        <a:pt x="304" y="1420"/>
                      </a:cubicBezTo>
                      <a:cubicBezTo>
                        <a:pt x="477" y="1441"/>
                        <a:pt x="655" y="1441"/>
                        <a:pt x="663" y="1441"/>
                      </a:cubicBezTo>
                      <a:cubicBezTo>
                        <a:pt x="671" y="1441"/>
                        <a:pt x="849" y="1441"/>
                        <a:pt x="1022" y="1420"/>
                      </a:cubicBezTo>
                      <a:cubicBezTo>
                        <a:pt x="1324" y="1383"/>
                        <a:pt x="1326" y="1320"/>
                        <a:pt x="1326" y="1320"/>
                      </a:cubicBezTo>
                      <a:lnTo>
                        <a:pt x="1326" y="121"/>
                      </a:lnTo>
                      <a:cubicBezTo>
                        <a:pt x="1326" y="121"/>
                        <a:pt x="1324" y="58"/>
                        <a:pt x="1022" y="21"/>
                      </a:cubicBezTo>
                      <a:close/>
                      <a:moveTo>
                        <a:pt x="346" y="1042"/>
                      </a:moveTo>
                      <a:cubicBezTo>
                        <a:pt x="296" y="1042"/>
                        <a:pt x="257" y="1003"/>
                        <a:pt x="257" y="953"/>
                      </a:cubicBezTo>
                      <a:cubicBezTo>
                        <a:pt x="257" y="906"/>
                        <a:pt x="296" y="864"/>
                        <a:pt x="346" y="864"/>
                      </a:cubicBezTo>
                      <a:cubicBezTo>
                        <a:pt x="396" y="864"/>
                        <a:pt x="435" y="903"/>
                        <a:pt x="435" y="953"/>
                      </a:cubicBezTo>
                      <a:cubicBezTo>
                        <a:pt x="435" y="1003"/>
                        <a:pt x="396" y="1042"/>
                        <a:pt x="346" y="1042"/>
                      </a:cubicBezTo>
                      <a:close/>
                      <a:moveTo>
                        <a:pt x="377" y="661"/>
                      </a:moveTo>
                      <a:lnTo>
                        <a:pt x="480" y="459"/>
                      </a:lnTo>
                      <a:lnTo>
                        <a:pt x="582" y="661"/>
                      </a:lnTo>
                      <a:lnTo>
                        <a:pt x="377" y="661"/>
                      </a:lnTo>
                      <a:close/>
                      <a:moveTo>
                        <a:pt x="550" y="791"/>
                      </a:moveTo>
                      <a:lnTo>
                        <a:pt x="655" y="746"/>
                      </a:lnTo>
                      <a:lnTo>
                        <a:pt x="760" y="791"/>
                      </a:lnTo>
                      <a:lnTo>
                        <a:pt x="760" y="940"/>
                      </a:lnTo>
                      <a:lnTo>
                        <a:pt x="655" y="985"/>
                      </a:lnTo>
                      <a:lnTo>
                        <a:pt x="550" y="940"/>
                      </a:lnTo>
                      <a:lnTo>
                        <a:pt x="550" y="791"/>
                      </a:lnTo>
                      <a:close/>
                      <a:moveTo>
                        <a:pt x="689" y="1265"/>
                      </a:moveTo>
                      <a:cubicBezTo>
                        <a:pt x="640" y="1265"/>
                        <a:pt x="600" y="1226"/>
                        <a:pt x="600" y="1176"/>
                      </a:cubicBezTo>
                      <a:cubicBezTo>
                        <a:pt x="600" y="1129"/>
                        <a:pt x="640" y="1087"/>
                        <a:pt x="689" y="1087"/>
                      </a:cubicBezTo>
                      <a:cubicBezTo>
                        <a:pt x="739" y="1087"/>
                        <a:pt x="778" y="1126"/>
                        <a:pt x="778" y="1176"/>
                      </a:cubicBezTo>
                      <a:cubicBezTo>
                        <a:pt x="776" y="1226"/>
                        <a:pt x="736" y="1265"/>
                        <a:pt x="689" y="1265"/>
                      </a:cubicBezTo>
                      <a:close/>
                      <a:moveTo>
                        <a:pt x="757" y="558"/>
                      </a:moveTo>
                      <a:cubicBezTo>
                        <a:pt x="757" y="496"/>
                        <a:pt x="807" y="446"/>
                        <a:pt x="870" y="446"/>
                      </a:cubicBezTo>
                      <a:cubicBezTo>
                        <a:pt x="933" y="446"/>
                        <a:pt x="983" y="496"/>
                        <a:pt x="983" y="558"/>
                      </a:cubicBezTo>
                      <a:cubicBezTo>
                        <a:pt x="983" y="621"/>
                        <a:pt x="933" y="671"/>
                        <a:pt x="870" y="671"/>
                      </a:cubicBezTo>
                      <a:cubicBezTo>
                        <a:pt x="807" y="671"/>
                        <a:pt x="757" y="621"/>
                        <a:pt x="757" y="558"/>
                      </a:cubicBezTo>
                      <a:close/>
                      <a:moveTo>
                        <a:pt x="917" y="1003"/>
                      </a:moveTo>
                      <a:lnTo>
                        <a:pt x="1007" y="825"/>
                      </a:lnTo>
                      <a:lnTo>
                        <a:pt x="1096" y="1003"/>
                      </a:lnTo>
                      <a:lnTo>
                        <a:pt x="917" y="1003"/>
                      </a:lnTo>
                      <a:close/>
                      <a:moveTo>
                        <a:pt x="1269" y="220"/>
                      </a:moveTo>
                      <a:cubicBezTo>
                        <a:pt x="1245" y="254"/>
                        <a:pt x="1030" y="315"/>
                        <a:pt x="660" y="315"/>
                      </a:cubicBezTo>
                      <a:cubicBezTo>
                        <a:pt x="291" y="315"/>
                        <a:pt x="76" y="254"/>
                        <a:pt x="52" y="220"/>
                      </a:cubicBezTo>
                      <a:lnTo>
                        <a:pt x="52" y="220"/>
                      </a:lnTo>
                      <a:cubicBezTo>
                        <a:pt x="73" y="186"/>
                        <a:pt x="288" y="126"/>
                        <a:pt x="660" y="126"/>
                      </a:cubicBezTo>
                      <a:cubicBezTo>
                        <a:pt x="1033" y="123"/>
                        <a:pt x="1248" y="184"/>
                        <a:pt x="1269" y="220"/>
                      </a:cubicBezTo>
                      <a:close/>
                    </a:path>
                  </a:pathLst>
                </a:custGeom>
                <a:solidFill>
                  <a:schemeClr val="bg1"/>
                </a:solid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3736"/>
                    </a:solidFill>
                    <a:effectLst/>
                    <a:uLnTx/>
                    <a:uFillTx/>
                    <a:latin typeface="Calibri" panose="020F0502020204030204"/>
                    <a:ea typeface="+mn-ea"/>
                    <a:cs typeface="+mn-cs"/>
                  </a:endParaRPr>
                </a:p>
              </p:txBody>
            </p:sp>
          </p:grpSp>
          <p:sp>
            <p:nvSpPr>
              <p:cNvPr id="102" name="Chevron 4">
                <a:extLst>
                  <a:ext uri="{FF2B5EF4-FFF2-40B4-BE49-F238E27FC236}">
                    <a16:creationId xmlns:a16="http://schemas.microsoft.com/office/drawing/2014/main" id="{681B6BAD-9E87-4469-8816-690AE479C5FB}"/>
                  </a:ext>
                </a:extLst>
              </p:cNvPr>
              <p:cNvSpPr/>
              <p:nvPr/>
            </p:nvSpPr>
            <p:spPr>
              <a:xfrm>
                <a:off x="5247644" y="4449588"/>
                <a:ext cx="1275509" cy="152349"/>
              </a:xfrm>
              <a:prstGeom prst="rect">
                <a:avLst/>
              </a:prstGeom>
              <a:no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0" tIns="0" rIns="0" bIns="0" numCol="1" spcCol="1270" anchor="ctr" anchorCtr="0">
                <a:spAutoFit/>
              </a:bodyPr>
              <a:lstStyle/>
              <a:p>
                <a:pPr marL="0" marR="0" lvl="0" indent="0" algn="ctr" defTabSz="622113"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Enterprise Data lake</a:t>
                </a:r>
              </a:p>
            </p:txBody>
          </p:sp>
          <p:sp>
            <p:nvSpPr>
              <p:cNvPr id="103" name="TextBox 102">
                <a:extLst>
                  <a:ext uri="{FF2B5EF4-FFF2-40B4-BE49-F238E27FC236}">
                    <a16:creationId xmlns:a16="http://schemas.microsoft.com/office/drawing/2014/main" id="{94F54EC2-759C-416A-B223-CFF0E1BBB348}"/>
                  </a:ext>
                </a:extLst>
              </p:cNvPr>
              <p:cNvSpPr txBox="1"/>
              <p:nvPr/>
            </p:nvSpPr>
            <p:spPr>
              <a:xfrm>
                <a:off x="4849719" y="4979230"/>
                <a:ext cx="213582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racle Sans Light" panose="020B0403020204020204" pitchFamily="34" charset="0"/>
                    <a:ea typeface="+mn-ea"/>
                    <a:cs typeface="Oracle Sans Light" panose="020B0403020204020204" pitchFamily="34" charset="0"/>
                  </a:rPr>
                  <a:t>OCI Object Storage</a:t>
                </a:r>
              </a:p>
            </p:txBody>
          </p:sp>
        </p:grpSp>
      </p:grpSp>
    </p:spTree>
    <p:extLst>
      <p:ext uri="{BB962C8B-B14F-4D97-AF65-F5344CB8AC3E}">
        <p14:creationId xmlns:p14="http://schemas.microsoft.com/office/powerpoint/2010/main" val="106924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CA70FB-BCA5-4097-BF40-EE839038CBC8}"/>
              </a:ext>
            </a:extLst>
          </p:cNvPr>
          <p:cNvSpPr>
            <a:spLocks noGrp="1"/>
          </p:cNvSpPr>
          <p:nvPr>
            <p:ph type="title"/>
          </p:nvPr>
        </p:nvSpPr>
        <p:spPr/>
        <p:txBody>
          <a:bodyPr/>
          <a:lstStyle/>
          <a:p>
            <a:r>
              <a:rPr lang="fr-FR" dirty="0"/>
              <a:t>Entreprise data </a:t>
            </a:r>
            <a:r>
              <a:rPr lang="fr-FR" dirty="0" err="1"/>
              <a:t>warehouse</a:t>
            </a:r>
            <a:endParaRPr lang="fr-FR" dirty="0"/>
          </a:p>
        </p:txBody>
      </p:sp>
      <p:sp>
        <p:nvSpPr>
          <p:cNvPr id="2" name="Footer Placeholder 1">
            <a:extLst>
              <a:ext uri="{FF2B5EF4-FFF2-40B4-BE49-F238E27FC236}">
                <a16:creationId xmlns:a16="http://schemas.microsoft.com/office/drawing/2014/main" id="{A6C2C466-F7F1-49F7-A656-F0132AA6E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srgbClr val="8B8580"/>
              </a:solidFill>
              <a:effectLst/>
              <a:uLnTx/>
              <a:uFillTx/>
              <a:latin typeface="Oracle Sans"/>
              <a:cs typeface="Arial"/>
            </a:endParaRPr>
          </a:p>
        </p:txBody>
      </p:sp>
      <p:pic>
        <p:nvPicPr>
          <p:cNvPr id="77826" name="Picture 2" descr="Description of analysis-hcm-architecture.png follows">
            <a:extLst>
              <a:ext uri="{FF2B5EF4-FFF2-40B4-BE49-F238E27FC236}">
                <a16:creationId xmlns:a16="http://schemas.microsoft.com/office/drawing/2014/main" id="{0E4C4B98-6EB8-4DED-8CBD-7EBE158232C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8306"/>
          <a:stretch/>
        </p:blipFill>
        <p:spPr bwMode="auto">
          <a:xfrm>
            <a:off x="1809750" y="1793178"/>
            <a:ext cx="8572500" cy="396851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13">
            <a:extLst>
              <a:ext uri="{FF2B5EF4-FFF2-40B4-BE49-F238E27FC236}">
                <a16:creationId xmlns:a16="http://schemas.microsoft.com/office/drawing/2014/main" id="{AC02DD7A-A339-4D41-815D-20FE614148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65480" y="473081"/>
            <a:ext cx="1357573" cy="532759"/>
          </a:xfrm>
          <a:prstGeom prst="rect">
            <a:avLst/>
          </a:prstGeom>
        </p:spPr>
      </p:pic>
    </p:spTree>
    <p:extLst>
      <p:ext uri="{BB962C8B-B14F-4D97-AF65-F5344CB8AC3E}">
        <p14:creationId xmlns:p14="http://schemas.microsoft.com/office/powerpoint/2010/main" val="212143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4D7043-7814-4F3A-9CEC-3C49107481A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8B8580"/>
              </a:solidFill>
              <a:effectLst/>
              <a:uLnTx/>
              <a:uFillTx/>
              <a:latin typeface="Oracle Sans"/>
              <a:cs typeface="Arial"/>
            </a:endParaRPr>
          </a:p>
        </p:txBody>
      </p:sp>
      <p:sp>
        <p:nvSpPr>
          <p:cNvPr id="4" name="Footer Placeholder 3">
            <a:extLst>
              <a:ext uri="{FF2B5EF4-FFF2-40B4-BE49-F238E27FC236}">
                <a16:creationId xmlns:a16="http://schemas.microsoft.com/office/drawing/2014/main" id="{50CB7DD2-0EF4-40BA-A396-67560E6B684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a:cs typeface="Arial"/>
              </a:rPr>
              <a:t>Copyright © 2020, Oracle and/or its affiliates. All rights reserved.</a:t>
            </a:r>
          </a:p>
        </p:txBody>
      </p:sp>
      <p:pic>
        <p:nvPicPr>
          <p:cNvPr id="78850" name="Picture 2" descr="Description of analysis-enterprise-and-streamed-data-architecture.png follows">
            <a:extLst>
              <a:ext uri="{FF2B5EF4-FFF2-40B4-BE49-F238E27FC236}">
                <a16:creationId xmlns:a16="http://schemas.microsoft.com/office/drawing/2014/main" id="{BA5CB152-839C-4CD2-AEEC-307FE63A7EC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7022"/>
          <a:stretch/>
        </p:blipFill>
        <p:spPr bwMode="auto">
          <a:xfrm>
            <a:off x="5228947" y="1304783"/>
            <a:ext cx="6509074" cy="511903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3">
            <a:extLst>
              <a:ext uri="{FF2B5EF4-FFF2-40B4-BE49-F238E27FC236}">
                <a16:creationId xmlns:a16="http://schemas.microsoft.com/office/drawing/2014/main" id="{2756C242-7261-4BFA-860B-2EA8D033DABD}"/>
              </a:ext>
            </a:extLst>
          </p:cNvPr>
          <p:cNvSpPr>
            <a:spLocks noGrp="1"/>
          </p:cNvSpPr>
          <p:nvPr>
            <p:ph type="title"/>
          </p:nvPr>
        </p:nvSpPr>
        <p:spPr>
          <a:xfrm>
            <a:off x="768875" y="508000"/>
            <a:ext cx="10671048" cy="822960"/>
          </a:xfrm>
        </p:spPr>
        <p:txBody>
          <a:bodyPr/>
          <a:lstStyle/>
          <a:p>
            <a:r>
              <a:rPr lang="fr-FR" dirty="0"/>
              <a:t>Modern data </a:t>
            </a:r>
            <a:r>
              <a:rPr lang="fr-FR" dirty="0" err="1"/>
              <a:t>warehouse</a:t>
            </a:r>
            <a:endParaRPr lang="fr-FR" dirty="0"/>
          </a:p>
        </p:txBody>
      </p:sp>
      <p:sp>
        <p:nvSpPr>
          <p:cNvPr id="5" name="Rectangle 4">
            <a:extLst>
              <a:ext uri="{FF2B5EF4-FFF2-40B4-BE49-F238E27FC236}">
                <a16:creationId xmlns:a16="http://schemas.microsoft.com/office/drawing/2014/main" id="{8BE70A9C-FD25-41CC-B4AC-10E193331CE2}"/>
              </a:ext>
            </a:extLst>
          </p:cNvPr>
          <p:cNvSpPr/>
          <p:nvPr/>
        </p:nvSpPr>
        <p:spPr>
          <a:xfrm>
            <a:off x="82558" y="1758411"/>
            <a:ext cx="534832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312D2A"/>
                </a:solidFill>
                <a:effectLst/>
                <a:uLnTx/>
                <a:uFillTx/>
                <a:latin typeface="Oracle Sans"/>
                <a:cs typeface="Arial"/>
              </a:rPr>
              <a:t>Entreprise Data Warehouse &amp; Big data </a:t>
            </a:r>
            <a:r>
              <a:rPr kumimoji="0" lang="fr-FR" sz="1800" b="0" i="0" u="none" strike="noStrike" kern="1200" cap="none" spc="0" normalizeH="0" baseline="0" noProof="0" dirty="0" err="1">
                <a:ln>
                  <a:noFill/>
                </a:ln>
                <a:solidFill>
                  <a:srgbClr val="312D2A"/>
                </a:solidFill>
                <a:effectLst/>
                <a:uLnTx/>
                <a:uFillTx/>
                <a:latin typeface="Oracle Sans"/>
                <a:cs typeface="Arial"/>
              </a:rPr>
              <a:t>processing</a:t>
            </a:r>
            <a:endParaRPr kumimoji="0" lang="fr-FR" sz="1800" b="0" i="0" u="none" strike="noStrike" kern="1200" cap="none" spc="0" normalizeH="0" baseline="0" noProof="0" dirty="0">
              <a:ln>
                <a:noFill/>
              </a:ln>
              <a:solidFill>
                <a:srgbClr val="312D2A"/>
              </a:solidFill>
              <a:effectLst/>
              <a:uLnTx/>
              <a:uFillTx/>
              <a:latin typeface="Oracle Sans"/>
              <a:cs typeface="Arial"/>
            </a:endParaRPr>
          </a:p>
        </p:txBody>
      </p:sp>
    </p:spTree>
    <p:extLst>
      <p:ext uri="{BB962C8B-B14F-4D97-AF65-F5344CB8AC3E}">
        <p14:creationId xmlns:p14="http://schemas.microsoft.com/office/powerpoint/2010/main" val="170694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E0BFC6-4EBF-42CE-A951-E1543B985AE5}"/>
              </a:ext>
            </a:extLst>
          </p:cNvPr>
          <p:cNvSpPr/>
          <p:nvPr/>
        </p:nvSpPr>
        <p:spPr>
          <a:xfrm>
            <a:off x="4796492" y="1231253"/>
            <a:ext cx="6939569" cy="4247317"/>
          </a:xfrm>
          <a:prstGeom prst="rect">
            <a:avLst/>
          </a:prstGeom>
        </p:spPr>
        <p:txBody>
          <a:bodyPr wrap="square">
            <a:spAutoFit/>
          </a:bodyPr>
          <a:lstStyle/>
          <a:p>
            <a:pPr algn="just"/>
            <a:r>
              <a:rPr lang="fr-FR" b="1" dirty="0">
                <a:solidFill>
                  <a:srgbClr val="C00000"/>
                </a:solidFill>
                <a:effectLst/>
                <a:latin typeface="Avenir Next LT Pro Demi" panose="020B0704020202020204" pitchFamily="34" charset="0"/>
                <a:ea typeface="Times New Roman" panose="02020603050405020304" pitchFamily="18" charset="0"/>
              </a:rPr>
              <a:t>Seif ABBASSI, </a:t>
            </a:r>
            <a:r>
              <a:rPr lang="fr-FR" b="0" i="1" dirty="0">
                <a:solidFill>
                  <a:srgbClr val="C00000"/>
                </a:solidFill>
                <a:effectLst/>
                <a:latin typeface="Avenir Next LT Pro Demi" panose="020B0704020202020204" pitchFamily="34" charset="0"/>
              </a:rPr>
              <a:t>Data Solution Engineer</a:t>
            </a:r>
          </a:p>
          <a:p>
            <a:pPr algn="just"/>
            <a:endParaRPr lang="fr-FR" i="1" dirty="0">
              <a:solidFill>
                <a:srgbClr val="C00000"/>
              </a:solidFill>
              <a:latin typeface="Avenir Next LT Pro Demi" panose="020B0704020202020204" pitchFamily="34" charset="0"/>
              <a:ea typeface="Calibri" panose="020F0502020204030204" pitchFamily="34" charset="0"/>
            </a:endParaRPr>
          </a:p>
          <a:p>
            <a:pPr algn="just"/>
            <a:endParaRPr lang="fr-FR" i="1" dirty="0">
              <a:solidFill>
                <a:srgbClr val="C00000"/>
              </a:solidFill>
              <a:effectLst/>
              <a:latin typeface="Avenir Next LT Pro Demi" panose="020B0704020202020204" pitchFamily="34" charset="0"/>
              <a:ea typeface="Calibri" panose="020F0502020204030204" pitchFamily="34" charset="0"/>
            </a:endParaRPr>
          </a:p>
          <a:p>
            <a:pPr algn="just"/>
            <a:endParaRPr lang="fr-FR" i="1" dirty="0">
              <a:solidFill>
                <a:srgbClr val="C00000"/>
              </a:solidFill>
              <a:latin typeface="Avenir Next LT Pro Demi" panose="020B0704020202020204" pitchFamily="34" charset="0"/>
              <a:ea typeface="Calibri" panose="020F0502020204030204" pitchFamily="34" charset="0"/>
            </a:endParaRPr>
          </a:p>
          <a:p>
            <a:pPr algn="just"/>
            <a:endParaRPr lang="fr-FR" dirty="0">
              <a:solidFill>
                <a:srgbClr val="C00000"/>
              </a:solidFill>
              <a:effectLst/>
              <a:latin typeface="Avenir Next LT Pro Demi" panose="020B0704020202020204" pitchFamily="34" charset="0"/>
              <a:ea typeface="Calibri" panose="020F0502020204030204" pitchFamily="34" charset="0"/>
            </a:endParaRPr>
          </a:p>
          <a:p>
            <a:pPr algn="just"/>
            <a:r>
              <a:rPr lang="fr-FR" dirty="0">
                <a:solidFill>
                  <a:srgbClr val="3C4858"/>
                </a:solidFill>
                <a:effectLst/>
                <a:latin typeface="Avenir Next LT Pro Demi" panose="020B0704020202020204" pitchFamily="34" charset="0"/>
                <a:ea typeface="Times New Roman" panose="02020603050405020304" pitchFamily="18" charset="0"/>
              </a:rPr>
              <a:t> </a:t>
            </a:r>
            <a:endParaRPr lang="fr-FR" dirty="0">
              <a:effectLst/>
              <a:latin typeface="Avenir Next LT Pro Demi" panose="020B0704020202020204" pitchFamily="34" charset="0"/>
              <a:ea typeface="Calibri" panose="020F0502020204030204" pitchFamily="34" charset="0"/>
            </a:endParaRPr>
          </a:p>
          <a:p>
            <a:pPr algn="just"/>
            <a:r>
              <a:rPr lang="fr-FR" b="0" i="0" dirty="0">
                <a:solidFill>
                  <a:srgbClr val="333333"/>
                </a:solidFill>
                <a:effectLst/>
                <a:latin typeface="Avenir Next LT Pro Demi" panose="020B0704020202020204" pitchFamily="34" charset="0"/>
              </a:rPr>
              <a:t>La donnée est essentielle pour tous les métiers : Finance, Marketing, Ressources Humaines, </a:t>
            </a:r>
            <a:r>
              <a:rPr lang="fr-FR" b="0" i="0" dirty="0" err="1">
                <a:solidFill>
                  <a:srgbClr val="333333"/>
                </a:solidFill>
                <a:effectLst/>
                <a:latin typeface="Avenir Next LT Pro Demi" panose="020B0704020202020204" pitchFamily="34" charset="0"/>
              </a:rPr>
              <a:t>Supply</a:t>
            </a:r>
            <a:r>
              <a:rPr lang="fr-FR" b="0" i="0" dirty="0">
                <a:solidFill>
                  <a:srgbClr val="333333"/>
                </a:solidFill>
                <a:effectLst/>
                <a:latin typeface="Avenir Next LT Pro Demi" panose="020B0704020202020204" pitchFamily="34" charset="0"/>
              </a:rPr>
              <a:t> Chain, … Avez-vous la certitude de la traiter de façon optimisée ?</a:t>
            </a:r>
          </a:p>
          <a:p>
            <a:pPr algn="just"/>
            <a:endParaRPr lang="fr-FR" b="0" i="0" dirty="0">
              <a:solidFill>
                <a:srgbClr val="333333"/>
              </a:solidFill>
              <a:effectLst/>
              <a:latin typeface="Avenir Next LT Pro Demi" panose="020B0704020202020204" pitchFamily="34" charset="0"/>
            </a:endParaRPr>
          </a:p>
          <a:p>
            <a:pPr algn="just"/>
            <a:r>
              <a:rPr lang="fr-FR" b="1" i="0" dirty="0">
                <a:solidFill>
                  <a:srgbClr val="333333"/>
                </a:solidFill>
                <a:effectLst/>
                <a:latin typeface="Avenir Next LT Pro Demi" panose="020B0704020202020204" pitchFamily="34" charset="0"/>
              </a:rPr>
              <a:t>1 heure pour tout comprendre sur l’écosystème Oracle autour de la donnée, sa finalité et ses défis : </a:t>
            </a:r>
          </a:p>
          <a:p>
            <a:pPr algn="just"/>
            <a:r>
              <a:rPr lang="fr-FR" b="1" i="0" dirty="0">
                <a:solidFill>
                  <a:srgbClr val="333333"/>
                </a:solidFill>
                <a:effectLst/>
                <a:latin typeface="Avenir Next LT Pro Demi" panose="020B0704020202020204" pitchFamily="34" charset="0"/>
              </a:rPr>
              <a:t>data </a:t>
            </a:r>
            <a:r>
              <a:rPr lang="fr-FR" b="1" i="0" dirty="0" err="1">
                <a:solidFill>
                  <a:srgbClr val="333333"/>
                </a:solidFill>
                <a:effectLst/>
                <a:latin typeface="Avenir Next LT Pro Demi" panose="020B0704020202020204" pitchFamily="34" charset="0"/>
              </a:rPr>
              <a:t>lake</a:t>
            </a:r>
            <a:r>
              <a:rPr lang="fr-FR" b="1" i="0" dirty="0">
                <a:solidFill>
                  <a:srgbClr val="333333"/>
                </a:solidFill>
                <a:effectLst/>
                <a:latin typeface="Avenir Next LT Pro Demi" panose="020B0704020202020204" pitchFamily="34" charset="0"/>
              </a:rPr>
              <a:t>, data </a:t>
            </a:r>
            <a:r>
              <a:rPr lang="fr-FR" b="1" i="0" dirty="0" err="1">
                <a:solidFill>
                  <a:srgbClr val="333333"/>
                </a:solidFill>
                <a:effectLst/>
                <a:latin typeface="Avenir Next LT Pro Demi" panose="020B0704020202020204" pitchFamily="34" charset="0"/>
              </a:rPr>
              <a:t>warehouse</a:t>
            </a:r>
            <a:r>
              <a:rPr lang="fr-FR" b="1" i="0" dirty="0">
                <a:solidFill>
                  <a:srgbClr val="333333"/>
                </a:solidFill>
                <a:effectLst/>
                <a:latin typeface="Avenir Next LT Pro Demi" panose="020B0704020202020204" pitchFamily="34" charset="0"/>
              </a:rPr>
              <a:t>, BI, machine </a:t>
            </a:r>
            <a:r>
              <a:rPr lang="fr-FR" b="1" i="0" dirty="0" err="1">
                <a:solidFill>
                  <a:srgbClr val="333333"/>
                </a:solidFill>
                <a:effectLst/>
                <a:latin typeface="Avenir Next LT Pro Demi" panose="020B0704020202020204" pitchFamily="34" charset="0"/>
              </a:rPr>
              <a:t>learning</a:t>
            </a:r>
            <a:r>
              <a:rPr lang="fr-FR" b="1" i="0" dirty="0">
                <a:solidFill>
                  <a:srgbClr val="333333"/>
                </a:solidFill>
                <a:effectLst/>
                <a:latin typeface="Avenir Next LT Pro Demi" panose="020B0704020202020204" pitchFamily="34" charset="0"/>
              </a:rPr>
              <a:t>, data visualisation, data gouvernance, big data, …</a:t>
            </a:r>
            <a:endParaRPr lang="fr-FR" b="0" i="0" dirty="0">
              <a:solidFill>
                <a:srgbClr val="333333"/>
              </a:solidFill>
              <a:effectLst/>
              <a:latin typeface="Avenir Next LT Pro Demi" panose="020B0704020202020204" pitchFamily="34" charset="0"/>
            </a:endParaRPr>
          </a:p>
          <a:p>
            <a:pPr algn="just"/>
            <a:endParaRPr lang="fr-FR" b="1" i="1" dirty="0">
              <a:latin typeface="Avenir Next LT Pro Demi" panose="020B0704020202020204" pitchFamily="34" charset="0"/>
              <a:ea typeface="Cambria" panose="02040503050406030204" pitchFamily="18" charset="0"/>
            </a:endParaRPr>
          </a:p>
        </p:txBody>
      </p:sp>
      <p:sp>
        <p:nvSpPr>
          <p:cNvPr id="6" name="Rectangle : coins arrondis 5">
            <a:extLst>
              <a:ext uri="{FF2B5EF4-FFF2-40B4-BE49-F238E27FC236}">
                <a16:creationId xmlns:a16="http://schemas.microsoft.com/office/drawing/2014/main" id="{8204A2D4-0B19-B357-9A26-8575FCB825E0}"/>
              </a:ext>
            </a:extLst>
          </p:cNvPr>
          <p:cNvSpPr/>
          <p:nvPr/>
        </p:nvSpPr>
        <p:spPr>
          <a:xfrm>
            <a:off x="0" y="0"/>
            <a:ext cx="4399057" cy="6858000"/>
          </a:xfrm>
          <a:prstGeom prst="roundRect">
            <a:avLst>
              <a:gd name="adj" fmla="val 0"/>
            </a:avLst>
          </a:prstGeom>
          <a:solidFill>
            <a:srgbClr val="E3A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7" name="Titre 1">
            <a:extLst>
              <a:ext uri="{FF2B5EF4-FFF2-40B4-BE49-F238E27FC236}">
                <a16:creationId xmlns:a16="http://schemas.microsoft.com/office/drawing/2014/main" id="{9DEA13B5-6EC6-4083-8F1E-77CD92696FF7}"/>
              </a:ext>
            </a:extLst>
          </p:cNvPr>
          <p:cNvSpPr txBox="1">
            <a:spLocks/>
          </p:cNvSpPr>
          <p:nvPr/>
        </p:nvSpPr>
        <p:spPr>
          <a:xfrm>
            <a:off x="0" y="2487425"/>
            <a:ext cx="4399057" cy="1883149"/>
          </a:xfrm>
          <a:prstGeom prst="rect">
            <a:avLst/>
          </a:prstGeom>
        </p:spPr>
        <p:txBody>
          <a:bodyPr vert="horz" lIns="91440" tIns="45720" rIns="91440" bIns="45720" rtlCol="0" anchor="ctr">
            <a:noAutofit/>
          </a:bodyPr>
          <a:lstStyle>
            <a:lvl1pPr algn="r" rtl="0" eaLnBrk="1" fontAlgn="base" hangingPunct="1">
              <a:lnSpc>
                <a:spcPts val="2800"/>
              </a:lnSpc>
              <a:spcBef>
                <a:spcPct val="0"/>
              </a:spcBef>
              <a:spcAft>
                <a:spcPct val="0"/>
              </a:spcAft>
              <a:defRPr sz="3200" b="0" i="0">
                <a:solidFill>
                  <a:schemeClr val="bg1"/>
                </a:solidFill>
                <a:latin typeface="Noto Sans UI" panose="020B0502040504020204" pitchFamily="34" charset="0"/>
                <a:ea typeface="+mj-ea"/>
                <a:cs typeface="Poppins" panose="02000000000000000000" pitchFamily="2" charset="77"/>
              </a:defRPr>
            </a:lvl1pPr>
            <a:lvl2pPr algn="r" rtl="0" eaLnBrk="1" fontAlgn="base" hangingPunct="1">
              <a:spcBef>
                <a:spcPct val="0"/>
              </a:spcBef>
              <a:spcAft>
                <a:spcPct val="0"/>
              </a:spcAft>
              <a:defRPr sz="2100" b="1">
                <a:solidFill>
                  <a:schemeClr val="bg1"/>
                </a:solidFill>
                <a:latin typeface="Arial" charset="0"/>
              </a:defRPr>
            </a:lvl2pPr>
            <a:lvl3pPr algn="r" rtl="0" eaLnBrk="1" fontAlgn="base" hangingPunct="1">
              <a:spcBef>
                <a:spcPct val="0"/>
              </a:spcBef>
              <a:spcAft>
                <a:spcPct val="0"/>
              </a:spcAft>
              <a:defRPr sz="2100" b="1">
                <a:solidFill>
                  <a:schemeClr val="bg1"/>
                </a:solidFill>
                <a:latin typeface="Arial" charset="0"/>
              </a:defRPr>
            </a:lvl3pPr>
            <a:lvl4pPr algn="r" rtl="0" eaLnBrk="1" fontAlgn="base" hangingPunct="1">
              <a:spcBef>
                <a:spcPct val="0"/>
              </a:spcBef>
              <a:spcAft>
                <a:spcPct val="0"/>
              </a:spcAft>
              <a:defRPr sz="2100" b="1">
                <a:solidFill>
                  <a:schemeClr val="bg1"/>
                </a:solidFill>
                <a:latin typeface="Arial" charset="0"/>
              </a:defRPr>
            </a:lvl4pPr>
            <a:lvl5pPr algn="r" rtl="0" eaLnBrk="1" fontAlgn="base" hangingPunct="1">
              <a:spcBef>
                <a:spcPct val="0"/>
              </a:spcBef>
              <a:spcAft>
                <a:spcPct val="0"/>
              </a:spcAft>
              <a:defRPr sz="2100" b="1">
                <a:solidFill>
                  <a:schemeClr val="bg1"/>
                </a:solidFill>
                <a:latin typeface="Arial" charset="0"/>
              </a:defRPr>
            </a:lvl5pPr>
            <a:lvl6pPr marL="342891" algn="r" rtl="0" eaLnBrk="1" fontAlgn="base" hangingPunct="1">
              <a:spcBef>
                <a:spcPct val="0"/>
              </a:spcBef>
              <a:spcAft>
                <a:spcPct val="0"/>
              </a:spcAft>
              <a:defRPr sz="2100" b="1">
                <a:solidFill>
                  <a:schemeClr val="bg1"/>
                </a:solidFill>
                <a:latin typeface="Arial" charset="0"/>
              </a:defRPr>
            </a:lvl6pPr>
            <a:lvl7pPr marL="685783" algn="r" rtl="0" eaLnBrk="1" fontAlgn="base" hangingPunct="1">
              <a:spcBef>
                <a:spcPct val="0"/>
              </a:spcBef>
              <a:spcAft>
                <a:spcPct val="0"/>
              </a:spcAft>
              <a:defRPr sz="2100" b="1">
                <a:solidFill>
                  <a:schemeClr val="bg1"/>
                </a:solidFill>
                <a:latin typeface="Arial" charset="0"/>
              </a:defRPr>
            </a:lvl7pPr>
            <a:lvl8pPr marL="1028674" algn="r" rtl="0" eaLnBrk="1" fontAlgn="base" hangingPunct="1">
              <a:spcBef>
                <a:spcPct val="0"/>
              </a:spcBef>
              <a:spcAft>
                <a:spcPct val="0"/>
              </a:spcAft>
              <a:defRPr sz="2100" b="1">
                <a:solidFill>
                  <a:schemeClr val="bg1"/>
                </a:solidFill>
                <a:latin typeface="Arial" charset="0"/>
              </a:defRPr>
            </a:lvl8pPr>
            <a:lvl9pPr marL="1371566" algn="r" rtl="0" eaLnBrk="1" fontAlgn="base" hangingPunct="1">
              <a:spcBef>
                <a:spcPct val="0"/>
              </a:spcBef>
              <a:spcAft>
                <a:spcPct val="0"/>
              </a:spcAft>
              <a:defRPr sz="2100" b="1">
                <a:solidFill>
                  <a:schemeClr val="bg1"/>
                </a:solidFill>
                <a:latin typeface="Arial" charset="0"/>
              </a:defRPr>
            </a:lvl9pPr>
          </a:lstStyle>
          <a:p>
            <a:pPr algn="ctr">
              <a:lnSpc>
                <a:spcPct val="100000"/>
              </a:lnSpc>
            </a:pPr>
            <a:r>
              <a:rPr lang="fr-FR" sz="4000" kern="0" dirty="0">
                <a:latin typeface="Avenir Next LT Pro Demi" panose="020B0704020202020204" pitchFamily="34" charset="0"/>
                <a:ea typeface="Cambria" panose="02040503050406030204" pitchFamily="18" charset="0"/>
              </a:rPr>
              <a:t>Programme</a:t>
            </a:r>
            <a:br>
              <a:rPr lang="fr-FR" sz="1600" kern="0" dirty="0">
                <a:solidFill>
                  <a:srgbClr val="5E5E5E"/>
                </a:solidFill>
                <a:latin typeface="Avenir Next LT Pro Demi" panose="020B0704020202020204" pitchFamily="34" charset="0"/>
              </a:rPr>
            </a:br>
            <a:br>
              <a:rPr lang="fr-FR" sz="2800" kern="0" dirty="0">
                <a:latin typeface="Avenir Next LT Pro Demi" panose="020B0704020202020204" pitchFamily="34" charset="0"/>
                <a:ea typeface="Cambria" panose="02040503050406030204" pitchFamily="18" charset="0"/>
              </a:rPr>
            </a:br>
            <a:r>
              <a:rPr lang="fr-FR" sz="2400" i="1" kern="0" dirty="0">
                <a:latin typeface="Avenir Next LT Pro Demi" panose="020B0704020202020204" pitchFamily="34" charset="0"/>
                <a:ea typeface="Cambria" panose="02040503050406030204" pitchFamily="18" charset="0"/>
              </a:rPr>
              <a:t>Mercredi 22 juin</a:t>
            </a:r>
            <a:endParaRPr lang="fr-FR" sz="2800" i="1" kern="0" dirty="0">
              <a:latin typeface="Avenir Next LT Pro Demi" panose="020B0704020202020204" pitchFamily="34" charset="0"/>
              <a:ea typeface="Cambria" panose="02040503050406030204" pitchFamily="18" charset="0"/>
            </a:endParaRPr>
          </a:p>
        </p:txBody>
      </p:sp>
      <p:pic>
        <p:nvPicPr>
          <p:cNvPr id="5" name="Image 4">
            <a:extLst>
              <a:ext uri="{FF2B5EF4-FFF2-40B4-BE49-F238E27FC236}">
                <a16:creationId xmlns:a16="http://schemas.microsoft.com/office/drawing/2014/main" id="{90B51CEB-17D1-DBA0-8C1B-7638AFB33C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2374" y="1745435"/>
            <a:ext cx="3573902" cy="750937"/>
          </a:xfrm>
          <a:prstGeom prst="rect">
            <a:avLst/>
          </a:prstGeom>
        </p:spPr>
      </p:pic>
    </p:spTree>
    <p:extLst>
      <p:ext uri="{BB962C8B-B14F-4D97-AF65-F5344CB8AC3E}">
        <p14:creationId xmlns:p14="http://schemas.microsoft.com/office/powerpoint/2010/main" val="13942433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0184A3-8538-C64A-B41A-88AF3F02C8A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Tab"/>
                <a:ea typeface="+mn-ea"/>
                <a:cs typeface="Arial"/>
              </a:rPr>
              <a:t>Copyright © 2022, Oracle and/or its affiliates</a:t>
            </a:r>
          </a:p>
        </p:txBody>
      </p:sp>
      <p:pic>
        <p:nvPicPr>
          <p:cNvPr id="15" name="Image 14">
            <a:extLst>
              <a:ext uri="{FF2B5EF4-FFF2-40B4-BE49-F238E27FC236}">
                <a16:creationId xmlns:a16="http://schemas.microsoft.com/office/drawing/2014/main" id="{C000C983-0C4D-F04E-A452-F1A4C03483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441960"/>
          </a:xfrm>
          <a:prstGeom prst="rect">
            <a:avLst/>
          </a:prstGeom>
        </p:spPr>
      </p:pic>
      <p:sp>
        <p:nvSpPr>
          <p:cNvPr id="11" name="ZoneTexte 11">
            <a:extLst>
              <a:ext uri="{FF2B5EF4-FFF2-40B4-BE49-F238E27FC236}">
                <a16:creationId xmlns:a16="http://schemas.microsoft.com/office/drawing/2014/main" id="{7BAFD6D6-F16E-4D1B-83BC-5A4EE2CAA588}"/>
              </a:ext>
            </a:extLst>
          </p:cNvPr>
          <p:cNvSpPr txBox="1"/>
          <p:nvPr/>
        </p:nvSpPr>
        <p:spPr>
          <a:xfrm>
            <a:off x="200980" y="1263404"/>
            <a:ext cx="75535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CFBFA">
                    <a:lumMod val="25000"/>
                  </a:srgbClr>
                </a:solidFill>
                <a:effectLst/>
                <a:uLnTx/>
                <a:uFillTx/>
                <a:latin typeface="Oracle Sans Tab"/>
                <a:ea typeface="+mn-ea"/>
                <a:cs typeface="Arial"/>
              </a:rPr>
              <a:t>Une extension des applications Oracle</a:t>
            </a:r>
          </a:p>
        </p:txBody>
      </p:sp>
      <p:sp>
        <p:nvSpPr>
          <p:cNvPr id="13" name="ZoneTexte 16">
            <a:extLst>
              <a:ext uri="{FF2B5EF4-FFF2-40B4-BE49-F238E27FC236}">
                <a16:creationId xmlns:a16="http://schemas.microsoft.com/office/drawing/2014/main" id="{8CE89117-B809-426A-9EC9-0FE978881671}"/>
              </a:ext>
            </a:extLst>
          </p:cNvPr>
          <p:cNvSpPr txBox="1"/>
          <p:nvPr/>
        </p:nvSpPr>
        <p:spPr>
          <a:xfrm>
            <a:off x="142100" y="576743"/>
            <a:ext cx="6843162"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500" b="1" i="0" u="none" strike="noStrike" kern="1200" cap="none" spc="0" normalizeH="0" baseline="0" noProof="0" dirty="0">
                <a:ln>
                  <a:noFill/>
                </a:ln>
                <a:solidFill>
                  <a:srgbClr val="312D2A"/>
                </a:solidFill>
                <a:effectLst/>
                <a:uLnTx/>
                <a:uFillTx/>
                <a:latin typeface="Oracle Sans Tab"/>
                <a:ea typeface="+mn-ea"/>
                <a:cs typeface="Arial"/>
              </a:rPr>
              <a:t>Feuille de calcul RH : Scorecard</a:t>
            </a:r>
          </a:p>
        </p:txBody>
      </p:sp>
      <p:sp>
        <p:nvSpPr>
          <p:cNvPr id="23" name="Rectangle 22">
            <a:extLst>
              <a:ext uri="{FF2B5EF4-FFF2-40B4-BE49-F238E27FC236}">
                <a16:creationId xmlns:a16="http://schemas.microsoft.com/office/drawing/2014/main" id="{17436BAE-CB64-4126-8613-0C1A40262DDD}"/>
              </a:ext>
            </a:extLst>
          </p:cNvPr>
          <p:cNvSpPr/>
          <p:nvPr/>
        </p:nvSpPr>
        <p:spPr>
          <a:xfrm>
            <a:off x="257689" y="1127031"/>
            <a:ext cx="65319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CFBFA"/>
              </a:solidFill>
              <a:effectLst/>
              <a:uLnTx/>
              <a:uFillTx/>
              <a:latin typeface="Oracle Sans"/>
              <a:ea typeface="+mn-ea"/>
              <a:cs typeface="Arial"/>
            </a:endParaRPr>
          </a:p>
        </p:txBody>
      </p:sp>
      <p:sp>
        <p:nvSpPr>
          <p:cNvPr id="25" name="TextBox 24">
            <a:extLst>
              <a:ext uri="{FF2B5EF4-FFF2-40B4-BE49-F238E27FC236}">
                <a16:creationId xmlns:a16="http://schemas.microsoft.com/office/drawing/2014/main" id="{4BB84CC0-AD40-90F6-D300-B9E81BFBEBC9}"/>
              </a:ext>
            </a:extLst>
          </p:cNvPr>
          <p:cNvSpPr txBox="1"/>
          <p:nvPr/>
        </p:nvSpPr>
        <p:spPr>
          <a:xfrm>
            <a:off x="257689" y="1842343"/>
            <a:ext cx="2862582"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Utilisateurs méti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Ressources humaines</a:t>
            </a:r>
            <a:endParaRPr kumimoji="0" lang="en-FR" sz="1200" b="0" i="0" u="none" strike="noStrike" kern="1200" cap="none" spc="0" normalizeH="0" baseline="0" noProof="0" dirty="0">
              <a:ln>
                <a:noFill/>
              </a:ln>
              <a:solidFill>
                <a:srgbClr val="312D2A"/>
              </a:solidFill>
              <a:effectLst/>
              <a:uLnTx/>
              <a:uFillTx/>
              <a:latin typeface="Oracle Sans Tab"/>
              <a:ea typeface="+mn-ea"/>
              <a:cs typeface="Arial"/>
            </a:endParaRPr>
          </a:p>
        </p:txBody>
      </p:sp>
      <p:sp>
        <p:nvSpPr>
          <p:cNvPr id="26" name="TextBox 25">
            <a:extLst>
              <a:ext uri="{FF2B5EF4-FFF2-40B4-BE49-F238E27FC236}">
                <a16:creationId xmlns:a16="http://schemas.microsoft.com/office/drawing/2014/main" id="{F86F2A84-C0CF-3714-4DCB-E5CF176F7CCE}"/>
              </a:ext>
            </a:extLst>
          </p:cNvPr>
          <p:cNvSpPr txBox="1"/>
          <p:nvPr/>
        </p:nvSpPr>
        <p:spPr>
          <a:xfrm>
            <a:off x="4392220" y="3131853"/>
            <a:ext cx="3182050" cy="569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Réalisé pa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a:t>
            </a: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 en collaboration avec un client</a:t>
            </a:r>
            <a:endPar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endParaRPr>
          </a:p>
        </p:txBody>
      </p:sp>
      <p:sp>
        <p:nvSpPr>
          <p:cNvPr id="27" name="TextBox 26">
            <a:extLst>
              <a:ext uri="{FF2B5EF4-FFF2-40B4-BE49-F238E27FC236}">
                <a16:creationId xmlns:a16="http://schemas.microsoft.com/office/drawing/2014/main" id="{2FCB2F81-332E-7FD8-1759-2EBC180C094B}"/>
              </a:ext>
            </a:extLst>
          </p:cNvPr>
          <p:cNvSpPr txBox="1"/>
          <p:nvPr/>
        </p:nvSpPr>
        <p:spPr>
          <a:xfrm>
            <a:off x="4392220" y="1854013"/>
            <a:ext cx="3182050"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Outils de mise en oeuvr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 SOA Cloud Servic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 JavaScript Extension Toolki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 Cloud HCM</a:t>
            </a:r>
            <a:endParaRPr kumimoji="0" lang="en-FR" sz="1200" b="0" i="0" u="none" strike="noStrike" kern="1200" cap="none" spc="0" normalizeH="0" baseline="0" noProof="0" dirty="0">
              <a:ln>
                <a:noFill/>
              </a:ln>
              <a:solidFill>
                <a:srgbClr val="C74634"/>
              </a:solidFill>
              <a:effectLst/>
              <a:uLnTx/>
              <a:uFillTx/>
              <a:latin typeface="Oracle Sans Tab"/>
              <a:ea typeface="+mn-ea"/>
              <a:cs typeface="Arial"/>
            </a:endParaRPr>
          </a:p>
        </p:txBody>
      </p:sp>
      <p:sp>
        <p:nvSpPr>
          <p:cNvPr id="28" name="TextBox 27">
            <a:extLst>
              <a:ext uri="{FF2B5EF4-FFF2-40B4-BE49-F238E27FC236}">
                <a16:creationId xmlns:a16="http://schemas.microsoft.com/office/drawing/2014/main" id="{8CBEA01D-290C-531E-B459-0632C7EBDE1B}"/>
              </a:ext>
            </a:extLst>
          </p:cNvPr>
          <p:cNvSpPr txBox="1"/>
          <p:nvPr/>
        </p:nvSpPr>
        <p:spPr>
          <a:xfrm>
            <a:off x="4392220" y="4286190"/>
            <a:ext cx="2815466" cy="9694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Oracle peut vous aider à réaliser ce type d’application</a:t>
            </a:r>
            <a:endPar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Via son programme </a:t>
            </a:r>
            <a:r>
              <a:rPr kumimoji="0" lang="fr-FR" sz="1200" b="1" i="0" u="none" strike="noStrike" kern="1200" cap="none" spc="0" normalizeH="0" baseline="0" noProof="0" dirty="0">
                <a:ln>
                  <a:noFill/>
                </a:ln>
                <a:solidFill>
                  <a:srgbClr val="2B6242"/>
                </a:solidFill>
                <a:effectLst/>
                <a:uLnTx/>
                <a:uFillTx/>
                <a:latin typeface="Oracle Sans Tab"/>
                <a:ea typeface="+mn-ea"/>
                <a:cs typeface="Arial"/>
              </a:rPr>
              <a:t>Oracle Cloud Lift Services</a:t>
            </a:r>
          </a:p>
        </p:txBody>
      </p:sp>
      <p:pic>
        <p:nvPicPr>
          <p:cNvPr id="30" name="Picture 29" descr="A picture containing transport, balloon, aircraft, green&#10;&#10;Description automatically generated">
            <a:extLst>
              <a:ext uri="{FF2B5EF4-FFF2-40B4-BE49-F238E27FC236}">
                <a16:creationId xmlns:a16="http://schemas.microsoft.com/office/drawing/2014/main" id="{4FEDB987-C086-475A-F822-D4F16B9930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7066775" y="4274303"/>
            <a:ext cx="281822" cy="281822"/>
          </a:xfrm>
          <a:prstGeom prst="rect">
            <a:avLst/>
          </a:prstGeom>
        </p:spPr>
      </p:pic>
      <p:sp>
        <p:nvSpPr>
          <p:cNvPr id="32" name="TextBox 31">
            <a:extLst>
              <a:ext uri="{FF2B5EF4-FFF2-40B4-BE49-F238E27FC236}">
                <a16:creationId xmlns:a16="http://schemas.microsoft.com/office/drawing/2014/main" id="{1A7C7614-6C33-F4C3-54F0-4E0C3A736BFB}"/>
              </a:ext>
            </a:extLst>
          </p:cNvPr>
          <p:cNvSpPr txBox="1"/>
          <p:nvPr/>
        </p:nvSpPr>
        <p:spPr>
          <a:xfrm>
            <a:off x="257687" y="2473810"/>
            <a:ext cx="3912107" cy="18004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Sources de donné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Résultats d’exercice locaux et collectifs de différents départemen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ource Objectifs annuels collaborateur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Base résultats de performances RH</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Moteur de règle de calcul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I paie des différents pays/départements</a:t>
            </a:r>
          </a:p>
        </p:txBody>
      </p:sp>
      <p:sp>
        <p:nvSpPr>
          <p:cNvPr id="33" name="TextBox 32">
            <a:extLst>
              <a:ext uri="{FF2B5EF4-FFF2-40B4-BE49-F238E27FC236}">
                <a16:creationId xmlns:a16="http://schemas.microsoft.com/office/drawing/2014/main" id="{64E9B671-F25F-3586-3575-299CB92837E3}"/>
              </a:ext>
            </a:extLst>
          </p:cNvPr>
          <p:cNvSpPr txBox="1"/>
          <p:nvPr/>
        </p:nvSpPr>
        <p:spPr>
          <a:xfrm>
            <a:off x="257688" y="4321544"/>
            <a:ext cx="3912106"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Bénéfic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Automatiser la récupération de données RH nécessaire aux équipes rémunéra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implifier les calculs liés à la rémunération variable pour les collaborateur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Réduire les erreurs humain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implifier l’obtention de la fiche récapitulativ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implifier les actions métiers au sein d’un outil unique intégré au Saa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312D2A"/>
              </a:solidFill>
              <a:effectLst/>
              <a:uLnTx/>
              <a:uFillTx/>
              <a:latin typeface="Oracle Sans Tab"/>
              <a:ea typeface="+mn-ea"/>
              <a:cs typeface="Arial"/>
            </a:endParaRPr>
          </a:p>
        </p:txBody>
      </p:sp>
      <p:pic>
        <p:nvPicPr>
          <p:cNvPr id="4" name="Picture 3" descr="A picture containing text, indoor, electronics, computer&#10;&#10;Description automatically generated">
            <a:extLst>
              <a:ext uri="{FF2B5EF4-FFF2-40B4-BE49-F238E27FC236}">
                <a16:creationId xmlns:a16="http://schemas.microsoft.com/office/drawing/2014/main" id="{C347F91B-52F6-5EDA-6F8B-4E24BDADA2C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274" t="8740" r="22875" b="9414"/>
          <a:stretch/>
        </p:blipFill>
        <p:spPr>
          <a:xfrm>
            <a:off x="7387494" y="1426152"/>
            <a:ext cx="4657425" cy="4550176"/>
          </a:xfrm>
          <a:prstGeom prst="rect">
            <a:avLst/>
          </a:prstGeom>
        </p:spPr>
      </p:pic>
    </p:spTree>
    <p:extLst>
      <p:ext uri="{BB962C8B-B14F-4D97-AF65-F5344CB8AC3E}">
        <p14:creationId xmlns:p14="http://schemas.microsoft.com/office/powerpoint/2010/main" val="474243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0184A3-8538-C64A-B41A-88AF3F02C8A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Tab"/>
                <a:ea typeface="+mn-ea"/>
                <a:cs typeface="Arial"/>
              </a:rPr>
              <a:t>Copyright © 2022, Oracle and/or its affiliates</a:t>
            </a:r>
          </a:p>
        </p:txBody>
      </p:sp>
      <p:pic>
        <p:nvPicPr>
          <p:cNvPr id="15" name="Image 14">
            <a:extLst>
              <a:ext uri="{FF2B5EF4-FFF2-40B4-BE49-F238E27FC236}">
                <a16:creationId xmlns:a16="http://schemas.microsoft.com/office/drawing/2014/main" id="{C000C983-0C4D-F04E-A452-F1A4C03483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441960"/>
          </a:xfrm>
          <a:prstGeom prst="rect">
            <a:avLst/>
          </a:prstGeom>
        </p:spPr>
      </p:pic>
      <p:sp>
        <p:nvSpPr>
          <p:cNvPr id="11" name="ZoneTexte 11">
            <a:extLst>
              <a:ext uri="{FF2B5EF4-FFF2-40B4-BE49-F238E27FC236}">
                <a16:creationId xmlns:a16="http://schemas.microsoft.com/office/drawing/2014/main" id="{7BAFD6D6-F16E-4D1B-83BC-5A4EE2CAA588}"/>
              </a:ext>
            </a:extLst>
          </p:cNvPr>
          <p:cNvSpPr txBox="1"/>
          <p:nvPr/>
        </p:nvSpPr>
        <p:spPr>
          <a:xfrm>
            <a:off x="200980" y="1263404"/>
            <a:ext cx="75535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CFBFA">
                    <a:lumMod val="25000"/>
                  </a:srgbClr>
                </a:solidFill>
                <a:effectLst/>
                <a:uLnTx/>
                <a:uFillTx/>
                <a:latin typeface="Oracle Sans Tab"/>
                <a:ea typeface="+mn-ea"/>
                <a:cs typeface="Arial"/>
              </a:rPr>
              <a:t>Une application tablette développée sur mesure</a:t>
            </a:r>
          </a:p>
        </p:txBody>
      </p:sp>
      <p:sp>
        <p:nvSpPr>
          <p:cNvPr id="13" name="ZoneTexte 16">
            <a:extLst>
              <a:ext uri="{FF2B5EF4-FFF2-40B4-BE49-F238E27FC236}">
                <a16:creationId xmlns:a16="http://schemas.microsoft.com/office/drawing/2014/main" id="{8CE89117-B809-426A-9EC9-0FE978881671}"/>
              </a:ext>
            </a:extLst>
          </p:cNvPr>
          <p:cNvSpPr txBox="1"/>
          <p:nvPr/>
        </p:nvSpPr>
        <p:spPr>
          <a:xfrm>
            <a:off x="142100" y="576743"/>
            <a:ext cx="6192560"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500" b="1" i="0" u="none" strike="noStrike" kern="1200" cap="none" spc="0" normalizeH="0" baseline="0" noProof="0" dirty="0">
                <a:ln>
                  <a:noFill/>
                </a:ln>
                <a:solidFill>
                  <a:srgbClr val="312D2A"/>
                </a:solidFill>
                <a:effectLst/>
                <a:uLnTx/>
                <a:uFillTx/>
                <a:latin typeface="Oracle Sans Tab"/>
                <a:ea typeface="+mn-ea"/>
                <a:cs typeface="Arial"/>
              </a:rPr>
              <a:t>Vue à 360° du client</a:t>
            </a:r>
          </a:p>
        </p:txBody>
      </p:sp>
      <p:sp>
        <p:nvSpPr>
          <p:cNvPr id="23" name="Rectangle 22">
            <a:extLst>
              <a:ext uri="{FF2B5EF4-FFF2-40B4-BE49-F238E27FC236}">
                <a16:creationId xmlns:a16="http://schemas.microsoft.com/office/drawing/2014/main" id="{17436BAE-CB64-4126-8613-0C1A40262DDD}"/>
              </a:ext>
            </a:extLst>
          </p:cNvPr>
          <p:cNvSpPr/>
          <p:nvPr/>
        </p:nvSpPr>
        <p:spPr>
          <a:xfrm>
            <a:off x="257689" y="1127031"/>
            <a:ext cx="65319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CFBFA"/>
              </a:solidFill>
              <a:effectLst/>
              <a:uLnTx/>
              <a:uFillTx/>
              <a:latin typeface="Oracle Sans"/>
              <a:ea typeface="+mn-ea"/>
              <a:cs typeface="Arial"/>
            </a:endParaRPr>
          </a:p>
        </p:txBody>
      </p:sp>
      <p:grpSp>
        <p:nvGrpSpPr>
          <p:cNvPr id="6" name="Group 5">
            <a:extLst>
              <a:ext uri="{FF2B5EF4-FFF2-40B4-BE49-F238E27FC236}">
                <a16:creationId xmlns:a16="http://schemas.microsoft.com/office/drawing/2014/main" id="{4BA85D0D-B4A8-7532-79A6-ADCAFEAEC40E}"/>
              </a:ext>
            </a:extLst>
          </p:cNvPr>
          <p:cNvGrpSpPr/>
          <p:nvPr/>
        </p:nvGrpSpPr>
        <p:grpSpPr>
          <a:xfrm>
            <a:off x="7163123" y="2172510"/>
            <a:ext cx="4771188" cy="3135600"/>
            <a:chOff x="4069473" y="720305"/>
            <a:chExt cx="8166100" cy="5372100"/>
          </a:xfrm>
        </p:grpSpPr>
        <p:grpSp>
          <p:nvGrpSpPr>
            <p:cNvPr id="4" name="Group 3">
              <a:extLst>
                <a:ext uri="{FF2B5EF4-FFF2-40B4-BE49-F238E27FC236}">
                  <a16:creationId xmlns:a16="http://schemas.microsoft.com/office/drawing/2014/main" id="{F596DC64-1AC3-C525-7638-3CE036D44FAF}"/>
                </a:ext>
              </a:extLst>
            </p:cNvPr>
            <p:cNvGrpSpPr/>
            <p:nvPr/>
          </p:nvGrpSpPr>
          <p:grpSpPr>
            <a:xfrm>
              <a:off x="4069473" y="720305"/>
              <a:ext cx="8166100" cy="5372100"/>
              <a:chOff x="4069473" y="720305"/>
              <a:chExt cx="8166100" cy="5372100"/>
            </a:xfrm>
          </p:grpSpPr>
          <p:pic>
            <p:nvPicPr>
              <p:cNvPr id="17" name="Picture 16" descr="Graphical user interface, application&#10;&#10;Description automatically generated">
                <a:extLst>
                  <a:ext uri="{FF2B5EF4-FFF2-40B4-BE49-F238E27FC236}">
                    <a16:creationId xmlns:a16="http://schemas.microsoft.com/office/drawing/2014/main" id="{CC82BBFD-DB24-EA50-CE89-650C3C2574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9473" y="720305"/>
                <a:ext cx="8166100" cy="5372100"/>
              </a:xfrm>
              <a:prstGeom prst="rect">
                <a:avLst/>
              </a:prstGeom>
            </p:spPr>
          </p:pic>
          <p:pic>
            <p:nvPicPr>
              <p:cNvPr id="2" name="Picture 1">
                <a:extLst>
                  <a:ext uri="{FF2B5EF4-FFF2-40B4-BE49-F238E27FC236}">
                    <a16:creationId xmlns:a16="http://schemas.microsoft.com/office/drawing/2014/main" id="{65412ADA-7C9C-1B45-6661-31748A161346}"/>
                  </a:ext>
                </a:extLst>
              </p:cNvPr>
              <p:cNvPicPr>
                <a:picLocks noChangeAspect="1"/>
              </p:cNvPicPr>
              <p:nvPr/>
            </p:nvPicPr>
            <p:blipFill>
              <a:blip r:embed="rId5"/>
              <a:stretch>
                <a:fillRect/>
              </a:stretch>
            </p:blipFill>
            <p:spPr>
              <a:xfrm>
                <a:off x="4661452" y="4353339"/>
                <a:ext cx="1008222" cy="268356"/>
              </a:xfrm>
              <a:prstGeom prst="rect">
                <a:avLst/>
              </a:prstGeom>
            </p:spPr>
          </p:pic>
        </p:grpSp>
        <p:pic>
          <p:nvPicPr>
            <p:cNvPr id="5" name="Picture 4">
              <a:extLst>
                <a:ext uri="{FF2B5EF4-FFF2-40B4-BE49-F238E27FC236}">
                  <a16:creationId xmlns:a16="http://schemas.microsoft.com/office/drawing/2014/main" id="{DB336D86-7C75-6FCC-4AE4-660F3BABA987}"/>
                </a:ext>
              </a:extLst>
            </p:cNvPr>
            <p:cNvPicPr>
              <a:picLocks noChangeAspect="1"/>
            </p:cNvPicPr>
            <p:nvPr/>
          </p:nvPicPr>
          <p:blipFill>
            <a:blip r:embed="rId6"/>
            <a:stretch>
              <a:fillRect/>
            </a:stretch>
          </p:blipFill>
          <p:spPr>
            <a:xfrm>
              <a:off x="4830970" y="3471505"/>
              <a:ext cx="1008222" cy="81145"/>
            </a:xfrm>
            <a:prstGeom prst="rect">
              <a:avLst/>
            </a:prstGeom>
          </p:spPr>
        </p:pic>
      </p:grpSp>
      <p:sp>
        <p:nvSpPr>
          <p:cNvPr id="25" name="TextBox 24">
            <a:extLst>
              <a:ext uri="{FF2B5EF4-FFF2-40B4-BE49-F238E27FC236}">
                <a16:creationId xmlns:a16="http://schemas.microsoft.com/office/drawing/2014/main" id="{4BB84CC0-AD40-90F6-D300-B9E81BFBEBC9}"/>
              </a:ext>
            </a:extLst>
          </p:cNvPr>
          <p:cNvSpPr txBox="1"/>
          <p:nvPr/>
        </p:nvSpPr>
        <p:spPr>
          <a:xfrm>
            <a:off x="257689" y="1842343"/>
            <a:ext cx="2862582"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Utilisateurs méti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Responsables commerciaux</a:t>
            </a:r>
            <a:endParaRPr kumimoji="0" lang="en-FR" sz="1200" b="0" i="0" u="none" strike="noStrike" kern="1200" cap="none" spc="0" normalizeH="0" baseline="0" noProof="0" dirty="0">
              <a:ln>
                <a:noFill/>
              </a:ln>
              <a:solidFill>
                <a:srgbClr val="312D2A"/>
              </a:solidFill>
              <a:effectLst/>
              <a:uLnTx/>
              <a:uFillTx/>
              <a:latin typeface="Oracle Sans Tab"/>
              <a:ea typeface="+mn-ea"/>
              <a:cs typeface="Arial"/>
            </a:endParaRPr>
          </a:p>
        </p:txBody>
      </p:sp>
      <p:sp>
        <p:nvSpPr>
          <p:cNvPr id="26" name="TextBox 25">
            <a:extLst>
              <a:ext uri="{FF2B5EF4-FFF2-40B4-BE49-F238E27FC236}">
                <a16:creationId xmlns:a16="http://schemas.microsoft.com/office/drawing/2014/main" id="{F86F2A84-C0CF-3714-4DCB-E5CF176F7CCE}"/>
              </a:ext>
            </a:extLst>
          </p:cNvPr>
          <p:cNvSpPr txBox="1"/>
          <p:nvPr/>
        </p:nvSpPr>
        <p:spPr>
          <a:xfrm>
            <a:off x="3923088" y="3118869"/>
            <a:ext cx="2815466"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Réalisé pa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a:t>
            </a: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 en collaboration avec un client</a:t>
            </a:r>
            <a:endPar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endParaRPr>
          </a:p>
        </p:txBody>
      </p:sp>
      <p:sp>
        <p:nvSpPr>
          <p:cNvPr id="27" name="TextBox 26">
            <a:extLst>
              <a:ext uri="{FF2B5EF4-FFF2-40B4-BE49-F238E27FC236}">
                <a16:creationId xmlns:a16="http://schemas.microsoft.com/office/drawing/2014/main" id="{2FCB2F81-332E-7FD8-1759-2EBC180C094B}"/>
              </a:ext>
            </a:extLst>
          </p:cNvPr>
          <p:cNvSpPr txBox="1"/>
          <p:nvPr/>
        </p:nvSpPr>
        <p:spPr>
          <a:xfrm>
            <a:off x="3923088" y="1841029"/>
            <a:ext cx="2815466"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Outils de mise en oeuvr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 Integration Clou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 Visual Builder Clou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C74634"/>
                </a:solidFill>
                <a:effectLst/>
                <a:uLnTx/>
                <a:uFillTx/>
                <a:latin typeface="Oracle Sans Tab"/>
                <a:ea typeface="+mn-ea"/>
                <a:cs typeface="Arial"/>
              </a:rPr>
              <a:t>Oracle Cloud Eloqua</a:t>
            </a:r>
            <a:endParaRPr kumimoji="0" lang="en-FR" sz="1200" b="0" i="0" u="none" strike="noStrike" kern="1200" cap="none" spc="0" normalizeH="0" baseline="0" noProof="0" dirty="0">
              <a:ln>
                <a:noFill/>
              </a:ln>
              <a:solidFill>
                <a:srgbClr val="C74634"/>
              </a:solidFill>
              <a:effectLst/>
              <a:uLnTx/>
              <a:uFillTx/>
              <a:latin typeface="Oracle Sans Tab"/>
              <a:ea typeface="+mn-ea"/>
              <a:cs typeface="Arial"/>
            </a:endParaRPr>
          </a:p>
        </p:txBody>
      </p:sp>
      <p:sp>
        <p:nvSpPr>
          <p:cNvPr id="28" name="TextBox 27">
            <a:extLst>
              <a:ext uri="{FF2B5EF4-FFF2-40B4-BE49-F238E27FC236}">
                <a16:creationId xmlns:a16="http://schemas.microsoft.com/office/drawing/2014/main" id="{8CBEA01D-290C-531E-B459-0632C7EBDE1B}"/>
              </a:ext>
            </a:extLst>
          </p:cNvPr>
          <p:cNvSpPr txBox="1"/>
          <p:nvPr/>
        </p:nvSpPr>
        <p:spPr>
          <a:xfrm>
            <a:off x="3923088" y="4223198"/>
            <a:ext cx="2815466" cy="9694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Oracle peut vous aider à réaliser ce type d’application</a:t>
            </a:r>
            <a:endPar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Via son programme </a:t>
            </a:r>
            <a:r>
              <a:rPr kumimoji="0" lang="fr-FR" sz="1200" b="1" i="0" u="none" strike="noStrike" kern="1200" cap="none" spc="0" normalizeH="0" baseline="0" noProof="0" dirty="0">
                <a:ln>
                  <a:noFill/>
                </a:ln>
                <a:solidFill>
                  <a:srgbClr val="2B6242"/>
                </a:solidFill>
                <a:effectLst/>
                <a:uLnTx/>
                <a:uFillTx/>
                <a:latin typeface="Oracle Sans Tab"/>
                <a:ea typeface="+mn-ea"/>
                <a:cs typeface="Arial"/>
              </a:rPr>
              <a:t>Oracle Cloud Lift Services</a:t>
            </a:r>
          </a:p>
        </p:txBody>
      </p:sp>
      <p:pic>
        <p:nvPicPr>
          <p:cNvPr id="30" name="Picture 29" descr="A picture containing transport, balloon, aircraft, green&#10;&#10;Description automatically generated">
            <a:extLst>
              <a:ext uri="{FF2B5EF4-FFF2-40B4-BE49-F238E27FC236}">
                <a16:creationId xmlns:a16="http://schemas.microsoft.com/office/drawing/2014/main" id="{4FEDB987-C086-475A-F822-D4F16B99309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6597643" y="4223198"/>
            <a:ext cx="281822" cy="281822"/>
          </a:xfrm>
          <a:prstGeom prst="rect">
            <a:avLst/>
          </a:prstGeom>
        </p:spPr>
      </p:pic>
      <p:sp>
        <p:nvSpPr>
          <p:cNvPr id="32" name="TextBox 31">
            <a:extLst>
              <a:ext uri="{FF2B5EF4-FFF2-40B4-BE49-F238E27FC236}">
                <a16:creationId xmlns:a16="http://schemas.microsoft.com/office/drawing/2014/main" id="{1A7C7614-6C33-F4C3-54F0-4E0C3A736BFB}"/>
              </a:ext>
            </a:extLst>
          </p:cNvPr>
          <p:cNvSpPr txBox="1"/>
          <p:nvPr/>
        </p:nvSpPr>
        <p:spPr>
          <a:xfrm>
            <a:off x="257689" y="2676441"/>
            <a:ext cx="2862582"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Sources de donné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I Clien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SI Market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Outil décisionnel (BI)</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Applications specifiques (stocks, liste des RDV, etc.)</a:t>
            </a:r>
          </a:p>
        </p:txBody>
      </p:sp>
      <p:sp>
        <p:nvSpPr>
          <p:cNvPr id="33" name="TextBox 32">
            <a:extLst>
              <a:ext uri="{FF2B5EF4-FFF2-40B4-BE49-F238E27FC236}">
                <a16:creationId xmlns:a16="http://schemas.microsoft.com/office/drawing/2014/main" id="{64E9B671-F25F-3586-3575-299CB92837E3}"/>
              </a:ext>
            </a:extLst>
          </p:cNvPr>
          <p:cNvSpPr txBox="1"/>
          <p:nvPr/>
        </p:nvSpPr>
        <p:spPr>
          <a:xfrm>
            <a:off x="257688" y="4223198"/>
            <a:ext cx="3498766" cy="21698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1">
                <a:ln>
                  <a:noFill/>
                </a:ln>
                <a:solidFill>
                  <a:srgbClr val="668382"/>
                </a:solidFill>
                <a:effectLst/>
                <a:uLnTx/>
                <a:uFillTx/>
                <a:latin typeface="Oracle Sans Tab" panose="020B0503020204020204" pitchFamily="34" charset="0"/>
                <a:ea typeface="+mn-ea"/>
                <a:cs typeface="Oracle Sans Tab" panose="020B0503020204020204" pitchFamily="34" charset="0"/>
              </a:rPr>
              <a:t>Bénéfic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FCFBFA">
                    <a:lumMod val="25000"/>
                  </a:srgbClr>
                </a:solidFill>
                <a:effectLst/>
                <a:uLnTx/>
                <a:uFillTx/>
                <a:latin typeface="Oracle Sans Tab"/>
                <a:ea typeface="+mn-ea"/>
                <a:cs typeface="Arial"/>
              </a:rPr>
              <a:t>Capturer et gérer les informations clients dans une vue à 360°</a:t>
            </a:r>
            <a:endParaRPr kumimoji="0" lang="en-GB" sz="1200" b="0" i="0" u="none" strike="noStrike" kern="1200" cap="none" spc="0" normalizeH="0" baseline="0" noProof="0" dirty="0">
              <a:ln>
                <a:noFill/>
              </a:ln>
              <a:solidFill>
                <a:srgbClr val="312D2A"/>
              </a:solidFill>
              <a:effectLst/>
              <a:uLnTx/>
              <a:uFillTx/>
              <a:latin typeface="Oracle Sans Tab"/>
              <a:ea typeface="+mn-ea"/>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12D2A"/>
                </a:solidFill>
                <a:effectLst/>
                <a:uLnTx/>
                <a:uFillTx/>
                <a:latin typeface="Oracle Sans Tab"/>
                <a:ea typeface="+mn-ea"/>
                <a:cs typeface="Arial"/>
              </a:rPr>
              <a:t>Maintenir un meilleur taux d'engagement clie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12D2A"/>
                </a:solidFill>
                <a:effectLst/>
                <a:uLnTx/>
                <a:uFillTx/>
                <a:latin typeface="Oracle Sans Tab"/>
                <a:ea typeface="+mn-ea"/>
                <a:cs typeface="Arial"/>
              </a:rPr>
              <a:t>Améliorer le chiffre d'affaires et les rendez-vous clien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12D2A"/>
                </a:solidFill>
                <a:effectLst/>
                <a:uLnTx/>
                <a:uFillTx/>
                <a:latin typeface="Oracle Sans Tab"/>
                <a:ea typeface="+mn-ea"/>
                <a:cs typeface="Arial"/>
              </a:rPr>
              <a:t>Augmenter la taille des paniers des clients.</a:t>
            </a:r>
            <a:endParaRPr kumimoji="0" lang="en-FR" sz="1200" b="0" i="0" u="none" strike="noStrike" kern="1200" cap="none" spc="0" normalizeH="0" baseline="0" noProof="0" dirty="0">
              <a:ln>
                <a:noFill/>
              </a:ln>
              <a:solidFill>
                <a:srgbClr val="312D2A"/>
              </a:solidFill>
              <a:effectLst/>
              <a:uLnTx/>
              <a:uFillTx/>
              <a:latin typeface="Oracle Sans Tab"/>
              <a:ea typeface="+mn-ea"/>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FR" sz="1200" b="0" i="0" u="none" strike="noStrike" kern="1200" cap="none" spc="0" normalizeH="0" baseline="0" noProof="0" dirty="0">
                <a:ln>
                  <a:noFill/>
                </a:ln>
                <a:solidFill>
                  <a:srgbClr val="312D2A"/>
                </a:solidFill>
                <a:effectLst/>
                <a:uLnTx/>
                <a:uFillTx/>
                <a:latin typeface="Oracle Sans Tab"/>
                <a:ea typeface="+mn-ea"/>
                <a:cs typeface="Arial"/>
              </a:rPr>
              <a:t>Connaître son client</a:t>
            </a:r>
            <a:endParaRPr kumimoji="0" lang="en-GB" sz="1200" b="0" i="0" u="none" strike="noStrike" kern="1200" cap="none" spc="0" normalizeH="0" baseline="0" noProof="0" dirty="0">
              <a:ln>
                <a:noFill/>
              </a:ln>
              <a:solidFill>
                <a:srgbClr val="312D2A"/>
              </a:solidFill>
              <a:effectLst/>
              <a:uLnTx/>
              <a:uFillTx/>
              <a:latin typeface="Oracle Sans Tab"/>
              <a:ea typeface="+mn-ea"/>
              <a:cs typeface="Arial"/>
            </a:endParaRPr>
          </a:p>
        </p:txBody>
      </p:sp>
    </p:spTree>
    <p:extLst>
      <p:ext uri="{BB962C8B-B14F-4D97-AF65-F5344CB8AC3E}">
        <p14:creationId xmlns:p14="http://schemas.microsoft.com/office/powerpoint/2010/main" val="8471060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2246225-3B8A-9146-9EF3-60940EAF86F5}"/>
              </a:ext>
            </a:extLst>
          </p:cNvPr>
          <p:cNvGrpSpPr/>
          <p:nvPr/>
        </p:nvGrpSpPr>
        <p:grpSpPr>
          <a:xfrm>
            <a:off x="9358387" y="2486298"/>
            <a:ext cx="2184707" cy="1363531"/>
            <a:chOff x="8618341" y="4418759"/>
            <a:chExt cx="3267103" cy="1801647"/>
          </a:xfrm>
        </p:grpSpPr>
        <p:sp>
          <p:nvSpPr>
            <p:cNvPr id="25" name="Freeform 4">
              <a:extLst>
                <a:ext uri="{FF2B5EF4-FFF2-40B4-BE49-F238E27FC236}">
                  <a16:creationId xmlns:a16="http://schemas.microsoft.com/office/drawing/2014/main" id="{06DC2143-3B85-9143-A8A8-6598D2CA9213}"/>
                </a:ext>
              </a:extLst>
            </p:cNvPr>
            <p:cNvSpPr>
              <a:spLocks noChangeAspect="1" noChangeArrowheads="1"/>
            </p:cNvSpPr>
            <p:nvPr/>
          </p:nvSpPr>
          <p:spPr bwMode="auto">
            <a:xfrm>
              <a:off x="8668216" y="4418759"/>
              <a:ext cx="3217228" cy="1801647"/>
            </a:xfrm>
            <a:custGeom>
              <a:avLst/>
              <a:gdLst>
                <a:gd name="T0" fmla="*/ 1216 w 2977"/>
                <a:gd name="T1" fmla="*/ 139 h 1668"/>
                <a:gd name="T2" fmla="*/ 1598 w 2977"/>
                <a:gd name="T3" fmla="*/ 336 h 1668"/>
                <a:gd name="T4" fmla="*/ 1633 w 2977"/>
                <a:gd name="T5" fmla="*/ 394 h 1668"/>
                <a:gd name="T6" fmla="*/ 1702 w 2977"/>
                <a:gd name="T7" fmla="*/ 417 h 1668"/>
                <a:gd name="T8" fmla="*/ 1749 w 2977"/>
                <a:gd name="T9" fmla="*/ 394 h 1668"/>
                <a:gd name="T10" fmla="*/ 1841 w 2977"/>
                <a:gd name="T11" fmla="*/ 371 h 1668"/>
                <a:gd name="T12" fmla="*/ 2258 w 2977"/>
                <a:gd name="T13" fmla="*/ 649 h 1668"/>
                <a:gd name="T14" fmla="*/ 2281 w 2977"/>
                <a:gd name="T15" fmla="*/ 706 h 1668"/>
                <a:gd name="T16" fmla="*/ 2351 w 2977"/>
                <a:gd name="T17" fmla="*/ 753 h 1668"/>
                <a:gd name="T18" fmla="*/ 2409 w 2977"/>
                <a:gd name="T19" fmla="*/ 741 h 1668"/>
                <a:gd name="T20" fmla="*/ 2466 w 2977"/>
                <a:gd name="T21" fmla="*/ 741 h 1668"/>
                <a:gd name="T22" fmla="*/ 2837 w 2977"/>
                <a:gd name="T23" fmla="*/ 1100 h 1668"/>
                <a:gd name="T24" fmla="*/ 2443 w 2977"/>
                <a:gd name="T25" fmla="*/ 1528 h 1668"/>
                <a:gd name="T26" fmla="*/ 625 w 2977"/>
                <a:gd name="T27" fmla="*/ 1528 h 1668"/>
                <a:gd name="T28" fmla="*/ 151 w 2977"/>
                <a:gd name="T29" fmla="*/ 1077 h 1668"/>
                <a:gd name="T30" fmla="*/ 614 w 2977"/>
                <a:gd name="T31" fmla="*/ 602 h 1668"/>
                <a:gd name="T32" fmla="*/ 625 w 2977"/>
                <a:gd name="T33" fmla="*/ 602 h 1668"/>
                <a:gd name="T34" fmla="*/ 695 w 2977"/>
                <a:gd name="T35" fmla="*/ 602 h 1668"/>
                <a:gd name="T36" fmla="*/ 753 w 2977"/>
                <a:gd name="T37" fmla="*/ 556 h 1668"/>
                <a:gd name="T38" fmla="*/ 764 w 2977"/>
                <a:gd name="T39" fmla="*/ 498 h 1668"/>
                <a:gd name="T40" fmla="*/ 1216 w 2977"/>
                <a:gd name="T41" fmla="*/ 139 h 1668"/>
                <a:gd name="T42" fmla="*/ 1216 w 2977"/>
                <a:gd name="T43" fmla="*/ 0 h 1668"/>
                <a:gd name="T44" fmla="*/ 625 w 2977"/>
                <a:gd name="T45" fmla="*/ 463 h 1668"/>
                <a:gd name="T46" fmla="*/ 614 w 2977"/>
                <a:gd name="T47" fmla="*/ 463 h 1668"/>
                <a:gd name="T48" fmla="*/ 12 w 2977"/>
                <a:gd name="T49" fmla="*/ 1054 h 1668"/>
                <a:gd name="T50" fmla="*/ 625 w 2977"/>
                <a:gd name="T51" fmla="*/ 1667 h 1668"/>
                <a:gd name="T52" fmla="*/ 2431 w 2977"/>
                <a:gd name="T53" fmla="*/ 1667 h 1668"/>
                <a:gd name="T54" fmla="*/ 2976 w 2977"/>
                <a:gd name="T55" fmla="*/ 1123 h 1668"/>
                <a:gd name="T56" fmla="*/ 2443 w 2977"/>
                <a:gd name="T57" fmla="*/ 602 h 1668"/>
                <a:gd name="T58" fmla="*/ 2397 w 2977"/>
                <a:gd name="T59" fmla="*/ 602 h 1668"/>
                <a:gd name="T60" fmla="*/ 1888 w 2977"/>
                <a:gd name="T61" fmla="*/ 232 h 1668"/>
                <a:gd name="T62" fmla="*/ 1714 w 2977"/>
                <a:gd name="T63" fmla="*/ 267 h 1668"/>
                <a:gd name="T64" fmla="*/ 1216 w 2977"/>
                <a:gd name="T65" fmla="*/ 0 h 1668"/>
                <a:gd name="T66" fmla="*/ 1216 w 2977"/>
                <a:gd name="T67" fmla="*/ 139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7" h="1668">
                  <a:moveTo>
                    <a:pt x="1216" y="139"/>
                  </a:moveTo>
                  <a:cubicBezTo>
                    <a:pt x="1366" y="139"/>
                    <a:pt x="1505" y="209"/>
                    <a:pt x="1598" y="336"/>
                  </a:cubicBezTo>
                  <a:cubicBezTo>
                    <a:pt x="1633" y="394"/>
                    <a:pt x="1633" y="394"/>
                    <a:pt x="1633" y="394"/>
                  </a:cubicBezTo>
                  <a:cubicBezTo>
                    <a:pt x="1644" y="417"/>
                    <a:pt x="1679" y="417"/>
                    <a:pt x="1702" y="417"/>
                  </a:cubicBezTo>
                  <a:cubicBezTo>
                    <a:pt x="1749" y="394"/>
                    <a:pt x="1749" y="394"/>
                    <a:pt x="1749" y="394"/>
                  </a:cubicBezTo>
                  <a:cubicBezTo>
                    <a:pt x="1783" y="382"/>
                    <a:pt x="1806" y="382"/>
                    <a:pt x="1841" y="371"/>
                  </a:cubicBezTo>
                  <a:cubicBezTo>
                    <a:pt x="2027" y="348"/>
                    <a:pt x="2212" y="463"/>
                    <a:pt x="2258" y="649"/>
                  </a:cubicBezTo>
                  <a:cubicBezTo>
                    <a:pt x="2281" y="706"/>
                    <a:pt x="2281" y="706"/>
                    <a:pt x="2281" y="706"/>
                  </a:cubicBezTo>
                  <a:cubicBezTo>
                    <a:pt x="2293" y="730"/>
                    <a:pt x="2316" y="753"/>
                    <a:pt x="2351" y="753"/>
                  </a:cubicBezTo>
                  <a:cubicBezTo>
                    <a:pt x="2409" y="741"/>
                    <a:pt x="2409" y="741"/>
                    <a:pt x="2409" y="741"/>
                  </a:cubicBezTo>
                  <a:cubicBezTo>
                    <a:pt x="2431" y="741"/>
                    <a:pt x="2455" y="741"/>
                    <a:pt x="2466" y="741"/>
                  </a:cubicBezTo>
                  <a:cubicBezTo>
                    <a:pt x="2663" y="765"/>
                    <a:pt x="2825" y="915"/>
                    <a:pt x="2837" y="1100"/>
                  </a:cubicBezTo>
                  <a:cubicBezTo>
                    <a:pt x="2848" y="1332"/>
                    <a:pt x="2675" y="1528"/>
                    <a:pt x="2443" y="1528"/>
                  </a:cubicBezTo>
                  <a:cubicBezTo>
                    <a:pt x="625" y="1528"/>
                    <a:pt x="625" y="1528"/>
                    <a:pt x="625" y="1528"/>
                  </a:cubicBezTo>
                  <a:cubicBezTo>
                    <a:pt x="371" y="1528"/>
                    <a:pt x="162" y="1332"/>
                    <a:pt x="151" y="1077"/>
                  </a:cubicBezTo>
                  <a:cubicBezTo>
                    <a:pt x="139" y="822"/>
                    <a:pt x="359" y="602"/>
                    <a:pt x="614" y="602"/>
                  </a:cubicBezTo>
                  <a:lnTo>
                    <a:pt x="625" y="602"/>
                  </a:lnTo>
                  <a:cubicBezTo>
                    <a:pt x="695" y="602"/>
                    <a:pt x="695" y="602"/>
                    <a:pt x="695" y="602"/>
                  </a:cubicBezTo>
                  <a:cubicBezTo>
                    <a:pt x="718" y="602"/>
                    <a:pt x="741" y="591"/>
                    <a:pt x="753" y="556"/>
                  </a:cubicBezTo>
                  <a:cubicBezTo>
                    <a:pt x="764" y="498"/>
                    <a:pt x="764" y="498"/>
                    <a:pt x="764" y="498"/>
                  </a:cubicBezTo>
                  <a:cubicBezTo>
                    <a:pt x="811" y="290"/>
                    <a:pt x="996" y="139"/>
                    <a:pt x="1216" y="139"/>
                  </a:cubicBezTo>
                  <a:lnTo>
                    <a:pt x="1216" y="0"/>
                  </a:lnTo>
                  <a:cubicBezTo>
                    <a:pt x="927" y="0"/>
                    <a:pt x="695" y="197"/>
                    <a:pt x="625" y="463"/>
                  </a:cubicBezTo>
                  <a:lnTo>
                    <a:pt x="614" y="463"/>
                  </a:lnTo>
                  <a:cubicBezTo>
                    <a:pt x="290" y="463"/>
                    <a:pt x="23" y="730"/>
                    <a:pt x="12" y="1054"/>
                  </a:cubicBezTo>
                  <a:cubicBezTo>
                    <a:pt x="0" y="1390"/>
                    <a:pt x="290" y="1667"/>
                    <a:pt x="625" y="1667"/>
                  </a:cubicBezTo>
                  <a:cubicBezTo>
                    <a:pt x="2431" y="1667"/>
                    <a:pt x="2431" y="1667"/>
                    <a:pt x="2431" y="1667"/>
                  </a:cubicBezTo>
                  <a:cubicBezTo>
                    <a:pt x="2733" y="1667"/>
                    <a:pt x="2976" y="1424"/>
                    <a:pt x="2976" y="1123"/>
                  </a:cubicBezTo>
                  <a:cubicBezTo>
                    <a:pt x="2976" y="834"/>
                    <a:pt x="2733" y="602"/>
                    <a:pt x="2443" y="602"/>
                  </a:cubicBezTo>
                  <a:cubicBezTo>
                    <a:pt x="2431" y="602"/>
                    <a:pt x="2409" y="602"/>
                    <a:pt x="2397" y="602"/>
                  </a:cubicBezTo>
                  <a:cubicBezTo>
                    <a:pt x="2327" y="394"/>
                    <a:pt x="2131" y="232"/>
                    <a:pt x="1888" y="232"/>
                  </a:cubicBezTo>
                  <a:cubicBezTo>
                    <a:pt x="1829" y="232"/>
                    <a:pt x="1772" y="243"/>
                    <a:pt x="1714" y="267"/>
                  </a:cubicBezTo>
                  <a:cubicBezTo>
                    <a:pt x="1598" y="104"/>
                    <a:pt x="1425" y="0"/>
                    <a:pt x="1216" y="0"/>
                  </a:cubicBezTo>
                  <a:lnTo>
                    <a:pt x="1216" y="139"/>
                  </a:lnTo>
                </a:path>
              </a:pathLst>
            </a:custGeom>
            <a:solidFill>
              <a:schemeClr val="accent3">
                <a:lumMod val="60000"/>
                <a:lumOff val="40000"/>
              </a:schemeClr>
            </a:solidFill>
            <a:ln>
              <a:solidFill>
                <a:schemeClr val="accent3">
                  <a:lumMod val="60000"/>
                  <a:lumOff val="40000"/>
                </a:schemeClr>
              </a:solidFill>
              <a:headEnd/>
              <a:tailEnd/>
            </a:ln>
          </p:spPr>
          <p:style>
            <a:lnRef idx="1">
              <a:schemeClr val="accent3"/>
            </a:lnRef>
            <a:fillRef idx="0">
              <a:schemeClr val="accent3"/>
            </a:fillRef>
            <a:effectRef idx="0">
              <a:schemeClr val="accent3"/>
            </a:effectRef>
            <a:fontRef idx="minor">
              <a:schemeClr val="tx1"/>
            </a:fontRef>
          </p:style>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312D2A"/>
                </a:solidFill>
                <a:effectLst/>
                <a:uLnTx/>
                <a:uFillTx/>
                <a:latin typeface="Oracle Sans"/>
                <a:cs typeface="Arial"/>
              </a:endParaRPr>
            </a:p>
          </p:txBody>
        </p:sp>
        <p:sp>
          <p:nvSpPr>
            <p:cNvPr id="26" name="TextBox 25">
              <a:extLst>
                <a:ext uri="{FF2B5EF4-FFF2-40B4-BE49-F238E27FC236}">
                  <a16:creationId xmlns:a16="http://schemas.microsoft.com/office/drawing/2014/main" id="{7EEA99B7-525E-884F-988D-8FBA7F7E005E}"/>
                </a:ext>
              </a:extLst>
            </p:cNvPr>
            <p:cNvSpPr txBox="1"/>
            <p:nvPr/>
          </p:nvSpPr>
          <p:spPr>
            <a:xfrm>
              <a:off x="8618341" y="5087922"/>
              <a:ext cx="3217227" cy="670579"/>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t>Oracle </a:t>
              </a:r>
              <a:br>
                <a:rPr kumimoji="0" lang="en-US" sz="20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br>
              <a:r>
                <a:rPr kumimoji="0" lang="en-US" sz="20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t>Cloud</a:t>
              </a:r>
            </a:p>
          </p:txBody>
        </p:sp>
      </p:grpSp>
      <p:sp>
        <p:nvSpPr>
          <p:cNvPr id="56" name="Equal 55"/>
          <p:cNvSpPr/>
          <p:nvPr/>
        </p:nvSpPr>
        <p:spPr>
          <a:xfrm>
            <a:off x="3106512" y="2846571"/>
            <a:ext cx="864870" cy="852244"/>
          </a:xfrm>
          <a:prstGeom prst="mathEqual">
            <a:avLst>
              <a:gd name="adj1" fmla="val 23520"/>
              <a:gd name="adj2" fmla="val 9044"/>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312D2A"/>
              </a:solidFill>
              <a:effectLst/>
              <a:uLnTx/>
              <a:uFillTx/>
              <a:latin typeface="Calibri"/>
              <a:cs typeface="Arial"/>
            </a:endParaRPr>
          </a:p>
        </p:txBody>
      </p:sp>
      <p:sp>
        <p:nvSpPr>
          <p:cNvPr id="57" name="Plus 56"/>
          <p:cNvSpPr/>
          <p:nvPr/>
        </p:nvSpPr>
        <p:spPr>
          <a:xfrm>
            <a:off x="5252214" y="2619368"/>
            <a:ext cx="1094355" cy="1306655"/>
          </a:xfrm>
          <a:prstGeom prst="mathPlus">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12D2A"/>
              </a:solidFill>
              <a:effectLst/>
              <a:uLnTx/>
              <a:uFillTx/>
              <a:latin typeface="Calibri"/>
              <a:cs typeface="Arial"/>
            </a:endParaRPr>
          </a:p>
        </p:txBody>
      </p:sp>
      <p:sp>
        <p:nvSpPr>
          <p:cNvPr id="59" name="Plus 58"/>
          <p:cNvSpPr/>
          <p:nvPr/>
        </p:nvSpPr>
        <p:spPr>
          <a:xfrm>
            <a:off x="8117367" y="2619368"/>
            <a:ext cx="1094355" cy="1306655"/>
          </a:xfrm>
          <a:prstGeom prst="mathPlus">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312D2A"/>
              </a:solidFill>
              <a:effectLst/>
              <a:uLnTx/>
              <a:uFillTx/>
              <a:latin typeface="Calibri"/>
              <a:cs typeface="Arial"/>
            </a:endParaRPr>
          </a:p>
        </p:txBody>
      </p:sp>
      <p:sp>
        <p:nvSpPr>
          <p:cNvPr id="60" name="TextBox 59"/>
          <p:cNvSpPr txBox="1"/>
          <p:nvPr/>
        </p:nvSpPr>
        <p:spPr>
          <a:xfrm>
            <a:off x="8941647" y="4181330"/>
            <a:ext cx="3018186" cy="742384"/>
          </a:xfrm>
          <a:prstGeom prst="rect">
            <a:avLst/>
          </a:prstGeom>
          <a:noFill/>
        </p:spPr>
        <p:txBody>
          <a:bodyPr wrap="square" lIns="0" tIns="0" rIns="0" bIns="0" rtlCol="0">
            <a:noAutofit/>
          </a:bodyPr>
          <a:lstStyle>
            <a:defPPr>
              <a:defRPr lang="en-US"/>
            </a:defPPr>
            <a:lvl1pPr algn="ctr">
              <a:lnSpc>
                <a:spcPct val="90000"/>
              </a:lnSpc>
              <a:defRPr sz="2399" b="1" u="sng">
                <a:solidFill>
                  <a:srgbClr val="5F5F5F"/>
                </a:solidFill>
                <a:latin typeface="Oracle Sans" panose="020B0503020204020204" pitchFamily="34" charset="0"/>
                <a:cs typeface="Oracle Sans" panose="020B0503020204020204"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CA" sz="2399" b="1" i="0" u="sng" strike="noStrike" kern="1200" cap="none" spc="0" normalizeH="0" baseline="0" noProof="0" dirty="0">
                <a:ln>
                  <a:noFill/>
                </a:ln>
                <a:solidFill>
                  <a:srgbClr val="5F5F5F"/>
                </a:solidFill>
                <a:effectLst/>
                <a:uLnTx/>
                <a:uFillTx/>
                <a:latin typeface="Oracle Sans" panose="020B0503020204020204" pitchFamily="34" charset="0"/>
              </a:rPr>
              <a:t>Une gestion automatisé</a:t>
            </a:r>
            <a:endParaRPr kumimoji="0" lang="en-US" sz="2399" b="1" i="0" u="sng" strike="noStrike" kern="1200" cap="none" spc="0" normalizeH="0" baseline="0" noProof="0" dirty="0">
              <a:ln>
                <a:noFill/>
              </a:ln>
              <a:solidFill>
                <a:srgbClr val="5F5F5F"/>
              </a:solidFill>
              <a:effectLst/>
              <a:uLnTx/>
              <a:uFillTx/>
              <a:latin typeface="Oracle Sans" panose="020B0503020204020204" pitchFamily="34" charset="0"/>
            </a:endParaRPr>
          </a:p>
        </p:txBody>
      </p:sp>
      <p:sp>
        <p:nvSpPr>
          <p:cNvPr id="61" name="TextBox 60"/>
          <p:cNvSpPr txBox="1"/>
          <p:nvPr/>
        </p:nvSpPr>
        <p:spPr>
          <a:xfrm>
            <a:off x="3422385" y="4197372"/>
            <a:ext cx="2698817" cy="100801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CA" sz="2399" b="1" i="0" u="sng" strike="noStrike" kern="1200" cap="none" spc="0" normalizeH="0" baseline="0" noProof="0" dirty="0">
                <a:ln>
                  <a:noFill/>
                </a:ln>
                <a:solidFill>
                  <a:srgbClr val="5F5F5F"/>
                </a:solidFill>
                <a:effectLst/>
                <a:uLnTx/>
                <a:uFillTx/>
                <a:latin typeface="Oracle Sans" panose="020B0503020204020204" pitchFamily="34" charset="0"/>
                <a:cs typeface="Oracle Sans" panose="020B0503020204020204" pitchFamily="34" charset="0"/>
              </a:rPr>
              <a:t>Une infrastructure performante</a:t>
            </a:r>
            <a:endParaRPr kumimoji="0" lang="en-US" sz="2399" b="1" i="0" u="sng" strike="noStrike" kern="1200" cap="none" spc="0" normalizeH="0" baseline="0" noProof="0" dirty="0">
              <a:ln>
                <a:noFill/>
              </a:ln>
              <a:solidFill>
                <a:srgbClr val="5F5F5F"/>
              </a:solidFill>
              <a:effectLst/>
              <a:uLnTx/>
              <a:uFillTx/>
              <a:latin typeface="Oracle Sans" panose="020B0503020204020204" pitchFamily="34" charset="0"/>
              <a:cs typeface="Oracle Sans" panose="020B0503020204020204" pitchFamily="34" charset="0"/>
            </a:endParaRPr>
          </a:p>
        </p:txBody>
      </p:sp>
      <p:pic>
        <p:nvPicPr>
          <p:cNvPr id="62" name="Picture 6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91892" y="2528924"/>
            <a:ext cx="598938" cy="1461012"/>
          </a:xfrm>
          <a:prstGeom prst="rect">
            <a:avLst/>
          </a:prstGeom>
        </p:spPr>
      </p:pic>
      <p:sp>
        <p:nvSpPr>
          <p:cNvPr id="63" name="TextBox 62"/>
          <p:cNvSpPr txBox="1"/>
          <p:nvPr/>
        </p:nvSpPr>
        <p:spPr>
          <a:xfrm>
            <a:off x="6259754" y="4181330"/>
            <a:ext cx="2404790" cy="94162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CA" sz="2399" b="1" i="0" u="sng" strike="noStrike" kern="1200" cap="none" spc="0" normalizeH="0" baseline="0" noProof="0" dirty="0">
                <a:ln>
                  <a:noFill/>
                </a:ln>
                <a:solidFill>
                  <a:srgbClr val="5F5F5F"/>
                </a:solidFill>
                <a:effectLst/>
                <a:uLnTx/>
                <a:uFillTx/>
                <a:latin typeface="Oracle Sans" panose="020B0503020204020204" pitchFamily="34" charset="0"/>
                <a:cs typeface="Oracle Sans" panose="020B0503020204020204" pitchFamily="34" charset="0"/>
              </a:rPr>
              <a:t>Une O</a:t>
            </a:r>
            <a:r>
              <a:rPr kumimoji="0" lang="en-US" sz="2399" b="1" i="0" u="sng" strike="noStrike" kern="1200" cap="none" spc="0" normalizeH="0" baseline="0" noProof="0" dirty="0" err="1">
                <a:ln>
                  <a:noFill/>
                </a:ln>
                <a:solidFill>
                  <a:srgbClr val="5F5F5F"/>
                </a:solidFill>
                <a:effectLst/>
                <a:uLnTx/>
                <a:uFillTx/>
                <a:latin typeface="Oracle Sans" panose="020B0503020204020204" pitchFamily="34" charset="0"/>
                <a:cs typeface="Oracle Sans" panose="020B0503020204020204" pitchFamily="34" charset="0"/>
              </a:rPr>
              <a:t>ffre</a:t>
            </a:r>
            <a:r>
              <a:rPr kumimoji="0" lang="en-US" sz="2399" b="1" i="0" u="sng" strike="noStrike" kern="1200" cap="none" spc="0" normalizeH="0" baseline="0" noProof="0" dirty="0">
                <a:ln>
                  <a:noFill/>
                </a:ln>
                <a:solidFill>
                  <a:srgbClr val="5F5F5F"/>
                </a:solidFill>
                <a:effectLst/>
                <a:uLnTx/>
                <a:uFillTx/>
                <a:latin typeface="Oracle Sans" panose="020B0503020204020204" pitchFamily="34" charset="0"/>
                <a:cs typeface="Oracle Sans" panose="020B0503020204020204" pitchFamily="34" charset="0"/>
              </a:rPr>
              <a:t> </a:t>
            </a:r>
            <a:r>
              <a:rPr kumimoji="0" lang="en-US" sz="2399" b="1" i="0" u="sng" strike="noStrike" kern="1200" cap="none" spc="0" normalizeH="0" baseline="0" noProof="0" dirty="0" err="1">
                <a:ln>
                  <a:noFill/>
                </a:ln>
                <a:solidFill>
                  <a:srgbClr val="5F5F5F"/>
                </a:solidFill>
                <a:effectLst/>
                <a:uLnTx/>
                <a:uFillTx/>
                <a:latin typeface="Oracle Sans" panose="020B0503020204020204" pitchFamily="34" charset="0"/>
                <a:cs typeface="Oracle Sans" panose="020B0503020204020204" pitchFamily="34" charset="0"/>
              </a:rPr>
              <a:t>complète</a:t>
            </a:r>
            <a:endParaRPr kumimoji="0" lang="en-US" sz="2399" b="1" i="0" u="sng" strike="noStrike" kern="1200" cap="none" spc="0" normalizeH="0" baseline="0" noProof="0" dirty="0">
              <a:ln>
                <a:noFill/>
              </a:ln>
              <a:solidFill>
                <a:srgbClr val="5F5F5F"/>
              </a:solidFill>
              <a:effectLst/>
              <a:uLnTx/>
              <a:uFillTx/>
              <a:latin typeface="Oracle Sans" panose="020B0503020204020204" pitchFamily="34" charset="0"/>
              <a:cs typeface="Oracle Sans" panose="020B0503020204020204" pitchFamily="34" charset="0"/>
            </a:endParaRPr>
          </a:p>
        </p:txBody>
      </p:sp>
      <p:grpSp>
        <p:nvGrpSpPr>
          <p:cNvPr id="27" name="Group 26">
            <a:extLst>
              <a:ext uri="{FF2B5EF4-FFF2-40B4-BE49-F238E27FC236}">
                <a16:creationId xmlns:a16="http://schemas.microsoft.com/office/drawing/2014/main" id="{37FF8D51-AF32-FC40-B69B-7DC53D65C96F}"/>
              </a:ext>
            </a:extLst>
          </p:cNvPr>
          <p:cNvGrpSpPr/>
          <p:nvPr/>
        </p:nvGrpSpPr>
        <p:grpSpPr>
          <a:xfrm>
            <a:off x="518996" y="2542547"/>
            <a:ext cx="2367724" cy="1455353"/>
            <a:chOff x="4364084" y="1366117"/>
            <a:chExt cx="3224691" cy="1801647"/>
          </a:xfrm>
        </p:grpSpPr>
        <p:sp>
          <p:nvSpPr>
            <p:cNvPr id="28" name="Freeform 4">
              <a:extLst>
                <a:ext uri="{FF2B5EF4-FFF2-40B4-BE49-F238E27FC236}">
                  <a16:creationId xmlns:a16="http://schemas.microsoft.com/office/drawing/2014/main" id="{0BC4078B-414C-B94B-A467-3B89A0AC8A48}"/>
                </a:ext>
              </a:extLst>
            </p:cNvPr>
            <p:cNvSpPr>
              <a:spLocks noChangeAspect="1" noChangeArrowheads="1"/>
            </p:cNvSpPr>
            <p:nvPr/>
          </p:nvSpPr>
          <p:spPr bwMode="auto">
            <a:xfrm>
              <a:off x="4364084" y="1366117"/>
              <a:ext cx="3217228" cy="1801647"/>
            </a:xfrm>
            <a:custGeom>
              <a:avLst/>
              <a:gdLst>
                <a:gd name="T0" fmla="*/ 1216 w 2977"/>
                <a:gd name="T1" fmla="*/ 139 h 1668"/>
                <a:gd name="T2" fmla="*/ 1598 w 2977"/>
                <a:gd name="T3" fmla="*/ 336 h 1668"/>
                <a:gd name="T4" fmla="*/ 1633 w 2977"/>
                <a:gd name="T5" fmla="*/ 394 h 1668"/>
                <a:gd name="T6" fmla="*/ 1702 w 2977"/>
                <a:gd name="T7" fmla="*/ 417 h 1668"/>
                <a:gd name="T8" fmla="*/ 1749 w 2977"/>
                <a:gd name="T9" fmla="*/ 394 h 1668"/>
                <a:gd name="T10" fmla="*/ 1841 w 2977"/>
                <a:gd name="T11" fmla="*/ 371 h 1668"/>
                <a:gd name="T12" fmla="*/ 2258 w 2977"/>
                <a:gd name="T13" fmla="*/ 649 h 1668"/>
                <a:gd name="T14" fmla="*/ 2281 w 2977"/>
                <a:gd name="T15" fmla="*/ 706 h 1668"/>
                <a:gd name="T16" fmla="*/ 2351 w 2977"/>
                <a:gd name="T17" fmla="*/ 753 h 1668"/>
                <a:gd name="T18" fmla="*/ 2409 w 2977"/>
                <a:gd name="T19" fmla="*/ 741 h 1668"/>
                <a:gd name="T20" fmla="*/ 2466 w 2977"/>
                <a:gd name="T21" fmla="*/ 741 h 1668"/>
                <a:gd name="T22" fmla="*/ 2837 w 2977"/>
                <a:gd name="T23" fmla="*/ 1100 h 1668"/>
                <a:gd name="T24" fmla="*/ 2443 w 2977"/>
                <a:gd name="T25" fmla="*/ 1528 h 1668"/>
                <a:gd name="T26" fmla="*/ 625 w 2977"/>
                <a:gd name="T27" fmla="*/ 1528 h 1668"/>
                <a:gd name="T28" fmla="*/ 151 w 2977"/>
                <a:gd name="T29" fmla="*/ 1077 h 1668"/>
                <a:gd name="T30" fmla="*/ 614 w 2977"/>
                <a:gd name="T31" fmla="*/ 602 h 1668"/>
                <a:gd name="T32" fmla="*/ 625 w 2977"/>
                <a:gd name="T33" fmla="*/ 602 h 1668"/>
                <a:gd name="T34" fmla="*/ 695 w 2977"/>
                <a:gd name="T35" fmla="*/ 602 h 1668"/>
                <a:gd name="T36" fmla="*/ 753 w 2977"/>
                <a:gd name="T37" fmla="*/ 556 h 1668"/>
                <a:gd name="T38" fmla="*/ 764 w 2977"/>
                <a:gd name="T39" fmla="*/ 498 h 1668"/>
                <a:gd name="T40" fmla="*/ 1216 w 2977"/>
                <a:gd name="T41" fmla="*/ 139 h 1668"/>
                <a:gd name="T42" fmla="*/ 1216 w 2977"/>
                <a:gd name="T43" fmla="*/ 0 h 1668"/>
                <a:gd name="T44" fmla="*/ 625 w 2977"/>
                <a:gd name="T45" fmla="*/ 463 h 1668"/>
                <a:gd name="T46" fmla="*/ 614 w 2977"/>
                <a:gd name="T47" fmla="*/ 463 h 1668"/>
                <a:gd name="T48" fmla="*/ 12 w 2977"/>
                <a:gd name="T49" fmla="*/ 1054 h 1668"/>
                <a:gd name="T50" fmla="*/ 625 w 2977"/>
                <a:gd name="T51" fmla="*/ 1667 h 1668"/>
                <a:gd name="T52" fmla="*/ 2431 w 2977"/>
                <a:gd name="T53" fmla="*/ 1667 h 1668"/>
                <a:gd name="T54" fmla="*/ 2976 w 2977"/>
                <a:gd name="T55" fmla="*/ 1123 h 1668"/>
                <a:gd name="T56" fmla="*/ 2443 w 2977"/>
                <a:gd name="T57" fmla="*/ 602 h 1668"/>
                <a:gd name="T58" fmla="*/ 2397 w 2977"/>
                <a:gd name="T59" fmla="*/ 602 h 1668"/>
                <a:gd name="T60" fmla="*/ 1888 w 2977"/>
                <a:gd name="T61" fmla="*/ 232 h 1668"/>
                <a:gd name="T62" fmla="*/ 1714 w 2977"/>
                <a:gd name="T63" fmla="*/ 267 h 1668"/>
                <a:gd name="T64" fmla="*/ 1216 w 2977"/>
                <a:gd name="T65" fmla="*/ 0 h 1668"/>
                <a:gd name="T66" fmla="*/ 1216 w 2977"/>
                <a:gd name="T67" fmla="*/ 139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7" h="1668">
                  <a:moveTo>
                    <a:pt x="1216" y="139"/>
                  </a:moveTo>
                  <a:cubicBezTo>
                    <a:pt x="1366" y="139"/>
                    <a:pt x="1505" y="209"/>
                    <a:pt x="1598" y="336"/>
                  </a:cubicBezTo>
                  <a:cubicBezTo>
                    <a:pt x="1633" y="394"/>
                    <a:pt x="1633" y="394"/>
                    <a:pt x="1633" y="394"/>
                  </a:cubicBezTo>
                  <a:cubicBezTo>
                    <a:pt x="1644" y="417"/>
                    <a:pt x="1679" y="417"/>
                    <a:pt x="1702" y="417"/>
                  </a:cubicBezTo>
                  <a:cubicBezTo>
                    <a:pt x="1749" y="394"/>
                    <a:pt x="1749" y="394"/>
                    <a:pt x="1749" y="394"/>
                  </a:cubicBezTo>
                  <a:cubicBezTo>
                    <a:pt x="1783" y="382"/>
                    <a:pt x="1806" y="382"/>
                    <a:pt x="1841" y="371"/>
                  </a:cubicBezTo>
                  <a:cubicBezTo>
                    <a:pt x="2027" y="348"/>
                    <a:pt x="2212" y="463"/>
                    <a:pt x="2258" y="649"/>
                  </a:cubicBezTo>
                  <a:cubicBezTo>
                    <a:pt x="2281" y="706"/>
                    <a:pt x="2281" y="706"/>
                    <a:pt x="2281" y="706"/>
                  </a:cubicBezTo>
                  <a:cubicBezTo>
                    <a:pt x="2293" y="730"/>
                    <a:pt x="2316" y="753"/>
                    <a:pt x="2351" y="753"/>
                  </a:cubicBezTo>
                  <a:cubicBezTo>
                    <a:pt x="2409" y="741"/>
                    <a:pt x="2409" y="741"/>
                    <a:pt x="2409" y="741"/>
                  </a:cubicBezTo>
                  <a:cubicBezTo>
                    <a:pt x="2431" y="741"/>
                    <a:pt x="2455" y="741"/>
                    <a:pt x="2466" y="741"/>
                  </a:cubicBezTo>
                  <a:cubicBezTo>
                    <a:pt x="2663" y="765"/>
                    <a:pt x="2825" y="915"/>
                    <a:pt x="2837" y="1100"/>
                  </a:cubicBezTo>
                  <a:cubicBezTo>
                    <a:pt x="2848" y="1332"/>
                    <a:pt x="2675" y="1528"/>
                    <a:pt x="2443" y="1528"/>
                  </a:cubicBezTo>
                  <a:cubicBezTo>
                    <a:pt x="625" y="1528"/>
                    <a:pt x="625" y="1528"/>
                    <a:pt x="625" y="1528"/>
                  </a:cubicBezTo>
                  <a:cubicBezTo>
                    <a:pt x="371" y="1528"/>
                    <a:pt x="162" y="1332"/>
                    <a:pt x="151" y="1077"/>
                  </a:cubicBezTo>
                  <a:cubicBezTo>
                    <a:pt x="139" y="822"/>
                    <a:pt x="359" y="602"/>
                    <a:pt x="614" y="602"/>
                  </a:cubicBezTo>
                  <a:lnTo>
                    <a:pt x="625" y="602"/>
                  </a:lnTo>
                  <a:cubicBezTo>
                    <a:pt x="695" y="602"/>
                    <a:pt x="695" y="602"/>
                    <a:pt x="695" y="602"/>
                  </a:cubicBezTo>
                  <a:cubicBezTo>
                    <a:pt x="718" y="602"/>
                    <a:pt x="741" y="591"/>
                    <a:pt x="753" y="556"/>
                  </a:cubicBezTo>
                  <a:cubicBezTo>
                    <a:pt x="764" y="498"/>
                    <a:pt x="764" y="498"/>
                    <a:pt x="764" y="498"/>
                  </a:cubicBezTo>
                  <a:cubicBezTo>
                    <a:pt x="811" y="290"/>
                    <a:pt x="996" y="139"/>
                    <a:pt x="1216" y="139"/>
                  </a:cubicBezTo>
                  <a:lnTo>
                    <a:pt x="1216" y="0"/>
                  </a:lnTo>
                  <a:cubicBezTo>
                    <a:pt x="927" y="0"/>
                    <a:pt x="695" y="197"/>
                    <a:pt x="625" y="463"/>
                  </a:cubicBezTo>
                  <a:lnTo>
                    <a:pt x="614" y="463"/>
                  </a:lnTo>
                  <a:cubicBezTo>
                    <a:pt x="290" y="463"/>
                    <a:pt x="23" y="730"/>
                    <a:pt x="12" y="1054"/>
                  </a:cubicBezTo>
                  <a:cubicBezTo>
                    <a:pt x="0" y="1390"/>
                    <a:pt x="290" y="1667"/>
                    <a:pt x="625" y="1667"/>
                  </a:cubicBezTo>
                  <a:cubicBezTo>
                    <a:pt x="2431" y="1667"/>
                    <a:pt x="2431" y="1667"/>
                    <a:pt x="2431" y="1667"/>
                  </a:cubicBezTo>
                  <a:cubicBezTo>
                    <a:pt x="2733" y="1667"/>
                    <a:pt x="2976" y="1424"/>
                    <a:pt x="2976" y="1123"/>
                  </a:cubicBezTo>
                  <a:cubicBezTo>
                    <a:pt x="2976" y="834"/>
                    <a:pt x="2733" y="602"/>
                    <a:pt x="2443" y="602"/>
                  </a:cubicBezTo>
                  <a:cubicBezTo>
                    <a:pt x="2431" y="602"/>
                    <a:pt x="2409" y="602"/>
                    <a:pt x="2397" y="602"/>
                  </a:cubicBezTo>
                  <a:cubicBezTo>
                    <a:pt x="2327" y="394"/>
                    <a:pt x="2131" y="232"/>
                    <a:pt x="1888" y="232"/>
                  </a:cubicBezTo>
                  <a:cubicBezTo>
                    <a:pt x="1829" y="232"/>
                    <a:pt x="1772" y="243"/>
                    <a:pt x="1714" y="267"/>
                  </a:cubicBezTo>
                  <a:cubicBezTo>
                    <a:pt x="1598" y="104"/>
                    <a:pt x="1425" y="0"/>
                    <a:pt x="1216" y="0"/>
                  </a:cubicBezTo>
                  <a:lnTo>
                    <a:pt x="1216" y="139"/>
                  </a:lnTo>
                </a:path>
              </a:pathLst>
            </a:custGeom>
            <a:solidFill>
              <a:schemeClr val="accent1"/>
            </a:solidFill>
            <a:ln/>
          </p:spPr>
          <p:style>
            <a:lnRef idx="1">
              <a:schemeClr val="accent1"/>
            </a:lnRef>
            <a:fillRef idx="0">
              <a:schemeClr val="accent1"/>
            </a:fillRef>
            <a:effectRef idx="0">
              <a:schemeClr val="accent1"/>
            </a:effectRef>
            <a:fontRef idx="minor">
              <a:schemeClr val="tx1"/>
            </a:fontRef>
          </p:style>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12D2A"/>
                </a:solidFill>
                <a:effectLst/>
                <a:uLnTx/>
                <a:uFillTx/>
                <a:latin typeface="Oracle Sans"/>
                <a:cs typeface="Arial"/>
              </a:endParaRPr>
            </a:p>
          </p:txBody>
        </p:sp>
        <p:sp>
          <p:nvSpPr>
            <p:cNvPr id="29" name="TextBox 28">
              <a:extLst>
                <a:ext uri="{FF2B5EF4-FFF2-40B4-BE49-F238E27FC236}">
                  <a16:creationId xmlns:a16="http://schemas.microsoft.com/office/drawing/2014/main" id="{7CF88FC4-F576-D348-8197-21F1452EBDBE}"/>
                </a:ext>
              </a:extLst>
            </p:cNvPr>
            <p:cNvSpPr txBox="1"/>
            <p:nvPr/>
          </p:nvSpPr>
          <p:spPr>
            <a:xfrm>
              <a:off x="4371548" y="1996149"/>
              <a:ext cx="3217227" cy="83973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t>ORACLE</a:t>
              </a:r>
              <a:br>
                <a:rPr kumimoji="0" lang="en-US" sz="18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br>
              <a:r>
                <a:rPr kumimoji="0" lang="en-US" sz="18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t>AUTONOMOUS</a:t>
              </a:r>
              <a:br>
                <a:rPr kumimoji="0" lang="en-US" sz="18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br>
              <a:r>
                <a:rPr kumimoji="0" lang="en-US" sz="1800" b="1" i="0" u="none" strike="noStrike" kern="1200" cap="none" spc="0" normalizeH="0" baseline="0" noProof="0" dirty="0">
                  <a:ln>
                    <a:noFill/>
                  </a:ln>
                  <a:solidFill>
                    <a:srgbClr val="312D2A"/>
                  </a:solidFill>
                  <a:effectLst/>
                  <a:uLnTx/>
                  <a:uFillTx/>
                  <a:latin typeface="Oracle Sans" panose="020B0503020204020204" pitchFamily="34" charset="0"/>
                  <a:cs typeface="Oracle Sans" panose="020B0503020204020204" pitchFamily="34" charset="0"/>
                </a:rPr>
                <a:t>DATA WAREHOUSE</a:t>
              </a:r>
            </a:p>
          </p:txBody>
        </p:sp>
      </p:grpSp>
      <p:pic>
        <p:nvPicPr>
          <p:cNvPr id="34" name="Picture 33">
            <a:extLst>
              <a:ext uri="{FF2B5EF4-FFF2-40B4-BE49-F238E27FC236}">
                <a16:creationId xmlns:a16="http://schemas.microsoft.com/office/drawing/2014/main" id="{010042E5-D36B-7845-974C-BD73DB7AFE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10128" y="2620902"/>
            <a:ext cx="1094355" cy="1255430"/>
          </a:xfrm>
          <a:prstGeom prst="rect">
            <a:avLst/>
          </a:prstGeom>
        </p:spPr>
      </p:pic>
      <p:sp>
        <p:nvSpPr>
          <p:cNvPr id="20" name="Text Placeholder 1">
            <a:extLst>
              <a:ext uri="{FF2B5EF4-FFF2-40B4-BE49-F238E27FC236}">
                <a16:creationId xmlns:a16="http://schemas.microsoft.com/office/drawing/2014/main" id="{A0E41F6D-9F2C-3145-8BDC-27AD01CDA636}"/>
              </a:ext>
            </a:extLst>
          </p:cNvPr>
          <p:cNvSpPr txBox="1">
            <a:spLocks/>
          </p:cNvSpPr>
          <p:nvPr/>
        </p:nvSpPr>
        <p:spPr>
          <a:xfrm>
            <a:off x="765599" y="1034665"/>
            <a:ext cx="11128375" cy="344487"/>
          </a:xfrm>
          <a:prstGeom prst="rect">
            <a:avLst/>
          </a:prstGeom>
        </p:spPr>
        <p:txBody>
          <a:bodyPr vert="horz" lIns="0" tIns="0" rIns="0" bIns="0" rtlCol="0">
            <a:noAutofit/>
          </a:bodyPr>
          <a:lstStyle>
            <a:lvl1pPr marL="0" marR="0" indent="0" algn="l" defTabSz="914400" rtl="0" eaLnBrk="1" fontAlgn="auto" latinLnBrk="0" hangingPunct="1">
              <a:lnSpc>
                <a:spcPct val="95000"/>
              </a:lnSpc>
              <a:spcBef>
                <a:spcPts val="600"/>
              </a:spcBef>
              <a:spcAft>
                <a:spcPts val="0"/>
              </a:spcAft>
              <a:buClrTx/>
              <a:buSzTx/>
              <a:buFont typeface="System Font Regular"/>
              <a:buNone/>
              <a:tabLst/>
              <a:defRPr sz="1800" b="0" i="0" kern="1200">
                <a:solidFill>
                  <a:schemeClr val="tx1"/>
                </a:solidFill>
                <a:latin typeface="Oracle Sans" panose="020B0503020204020204" pitchFamily="34" charset="0"/>
                <a:ea typeface="+mn-ea"/>
                <a:cs typeface="Oracle Sans" panose="020B0503020204020204" pitchFamily="34" charset="0"/>
              </a:defRPr>
            </a:lvl1pPr>
            <a:lvl2pPr marL="365760" marR="0" indent="-182880" algn="l" defTabSz="914400" rtl="0" eaLnBrk="1" fontAlgn="auto" latinLnBrk="0" hangingPunct="1">
              <a:lnSpc>
                <a:spcPct val="95000"/>
              </a:lnSpc>
              <a:spcBef>
                <a:spcPts val="600"/>
              </a:spcBef>
              <a:spcAft>
                <a:spcPts val="0"/>
              </a:spcAft>
              <a:buClrTx/>
              <a:buSzPct val="100000"/>
              <a:buFont typeface="Arial" panose="020B0604020202020204" pitchFamily="34" charset="0"/>
              <a:buChar char="•"/>
              <a:tabLst/>
              <a:defRPr sz="1800" b="0" i="0" kern="1200">
                <a:solidFill>
                  <a:schemeClr val="tx1"/>
                </a:solidFill>
                <a:latin typeface="Oracle Sans" panose="020B0503020204020204" pitchFamily="34" charset="0"/>
                <a:ea typeface="+mn-ea"/>
                <a:cs typeface="Oracle Sans" panose="020B0503020204020204" pitchFamily="34" charset="0"/>
              </a:defRPr>
            </a:lvl2pPr>
            <a:lvl3pPr marL="731520" marR="0" indent="-182880" algn="l" defTabSz="914400" rtl="0" eaLnBrk="1" fontAlgn="auto" latinLnBrk="0" hangingPunct="1">
              <a:lnSpc>
                <a:spcPct val="95000"/>
              </a:lnSpc>
              <a:spcBef>
                <a:spcPts val="400"/>
              </a:spcBef>
              <a:spcAft>
                <a:spcPts val="0"/>
              </a:spcAft>
              <a:buClrTx/>
              <a:buSzPct val="120000"/>
              <a:buFont typeface="System Font Regular"/>
              <a:buChar char="-"/>
              <a:tabLst/>
              <a:defRPr sz="1600" kern="1200">
                <a:solidFill>
                  <a:schemeClr val="tx1"/>
                </a:solidFill>
                <a:latin typeface="Oracle Sans Light" panose="020B0403020204020204" pitchFamily="34" charset="0"/>
                <a:ea typeface="+mn-ea"/>
                <a:cs typeface="Oracle Sans Light" panose="020B0403020204020204" pitchFamily="34" charset="0"/>
              </a:defRPr>
            </a:lvl3pPr>
            <a:lvl4pPr marL="1097280" marR="0" indent="-182880" algn="l" defTabSz="914400" rtl="0" eaLnBrk="1" fontAlgn="auto" latinLnBrk="0" hangingPunct="1">
              <a:lnSpc>
                <a:spcPct val="95000"/>
              </a:lnSpc>
              <a:spcBef>
                <a:spcPts val="400"/>
              </a:spcBef>
              <a:spcAft>
                <a:spcPts val="0"/>
              </a:spcAft>
              <a:buClrTx/>
              <a:buSzPct val="100000"/>
              <a:buFont typeface="System Font Regular"/>
              <a:buChar char="◦"/>
              <a:tabLst/>
              <a:defRPr sz="1400" kern="1200">
                <a:solidFill>
                  <a:schemeClr val="tx1"/>
                </a:solidFill>
                <a:latin typeface="Oracle Sans Light" panose="020B0403020204020204" pitchFamily="34" charset="0"/>
                <a:ea typeface="+mn-ea"/>
                <a:cs typeface="Oracle Sans Light" panose="020B0403020204020204" pitchFamily="34" charset="0"/>
              </a:defRPr>
            </a:lvl4pPr>
            <a:lvl5pPr marL="1463040" marR="0" indent="-182880" algn="l" defTabSz="914400" rtl="0" eaLnBrk="1" fontAlgn="auto" latinLnBrk="0" hangingPunct="1">
              <a:lnSpc>
                <a:spcPct val="95000"/>
              </a:lnSpc>
              <a:spcBef>
                <a:spcPts val="400"/>
              </a:spcBef>
              <a:spcAft>
                <a:spcPts val="0"/>
              </a:spcAft>
              <a:buClrTx/>
              <a:buSzTx/>
              <a:buFont typeface="System Font Regular"/>
              <a:buChar char="•"/>
              <a:tabLst/>
              <a:defRPr sz="1200" kern="1200">
                <a:solidFill>
                  <a:schemeClr val="tx1"/>
                </a:solidFill>
                <a:latin typeface="Oracle Sans Light" panose="020B0403020204020204" pitchFamily="34" charset="0"/>
                <a:ea typeface="+mn-ea"/>
                <a:cs typeface="Oracle Sans Light" panose="020B0403020204020204" pitchFamily="34" charset="0"/>
              </a:defRPr>
            </a:lvl5pPr>
            <a:lvl6pPr marL="1828800" indent="-182880" algn="l" defTabSz="914400" rtl="0" eaLnBrk="1" latinLnBrk="0" hangingPunct="1">
              <a:lnSpc>
                <a:spcPct val="95000"/>
              </a:lnSpc>
              <a:spcBef>
                <a:spcPts val="400"/>
              </a:spcBef>
              <a:spcAft>
                <a:spcPts val="0"/>
              </a:spcAft>
              <a:buSzPct val="120000"/>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6pPr>
            <a:lvl7pPr marL="2194560" indent="-182880" algn="l" defTabSz="914400" rtl="0" eaLnBrk="1" latinLnBrk="0" hangingPunct="1">
              <a:lnSpc>
                <a:spcPct val="95000"/>
              </a:lnSpc>
              <a:spcBef>
                <a:spcPts val="400"/>
              </a:spcBef>
              <a:spcAft>
                <a:spcPts val="0"/>
              </a:spcAft>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600"/>
              </a:spcBef>
              <a:spcAft>
                <a:spcPts val="0"/>
              </a:spcAft>
              <a:buClrTx/>
              <a:buSzTx/>
              <a:buFont typeface="System Font Regular"/>
              <a:buNone/>
              <a:tabLst/>
              <a:defRPr/>
            </a:pPr>
            <a:endParaRPr kumimoji="0" lang="en-US" sz="2000" b="0" i="0" u="none" strike="noStrike" kern="1200" cap="none" spc="0" normalizeH="0" baseline="0" noProof="0" dirty="0">
              <a:ln>
                <a:noFill/>
              </a:ln>
              <a:solidFill>
                <a:srgbClr val="C74634"/>
              </a:solidFill>
              <a:effectLst/>
              <a:uLnTx/>
              <a:uFillTx/>
              <a:latin typeface="Oracle Sans"/>
              <a:ea typeface="+mn-ea"/>
              <a:cs typeface="Oracle Sans" panose="020B0503020204020204" pitchFamily="34" charset="0"/>
            </a:endParaRPr>
          </a:p>
        </p:txBody>
      </p:sp>
      <p:sp>
        <p:nvSpPr>
          <p:cNvPr id="22" name="Title 2">
            <a:extLst>
              <a:ext uri="{FF2B5EF4-FFF2-40B4-BE49-F238E27FC236}">
                <a16:creationId xmlns:a16="http://schemas.microsoft.com/office/drawing/2014/main" id="{A0D876EB-8721-4341-A0D4-BB88754E3F6D}"/>
              </a:ext>
            </a:extLst>
          </p:cNvPr>
          <p:cNvSpPr txBox="1">
            <a:spLocks/>
          </p:cNvSpPr>
          <p:nvPr/>
        </p:nvSpPr>
        <p:spPr>
          <a:xfrm>
            <a:off x="760840" y="132096"/>
            <a:ext cx="10515600" cy="1325563"/>
          </a:xfrm>
          <a:prstGeom prst="rect">
            <a:avLst/>
          </a:prstGeom>
        </p:spPr>
        <p:txBody>
          <a:bodyPr vert="horz" lIns="0" tIns="0" rIns="0" bIns="0" rtlCol="0" anchor="ctr">
            <a:noAutofit/>
          </a:bodyPr>
          <a:lstStyle>
            <a:lvl1pPr algn="l" defTabSz="914400" rtl="0" eaLnBrk="1" latinLnBrk="0" hangingPunct="1">
              <a:lnSpc>
                <a:spcPct val="95000"/>
              </a:lnSpc>
              <a:spcBef>
                <a:spcPct val="0"/>
              </a:spcBef>
              <a:buNone/>
              <a:defRPr sz="4000" kern="1200">
                <a:solidFill>
                  <a:schemeClr val="tx1"/>
                </a:solidFill>
                <a:latin typeface="+mj-lt"/>
                <a:ea typeface="+mj-ea"/>
                <a:cs typeface="+mj-cs"/>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312D2A"/>
                </a:solidFill>
                <a:effectLst/>
                <a:uLnTx/>
                <a:uFillTx/>
                <a:latin typeface="Oracle Sans"/>
                <a:ea typeface="+mj-ea"/>
                <a:cs typeface="Arial"/>
              </a:rPr>
              <a:t>Focus sur Oracle Autonomous Data Warehouse</a:t>
            </a:r>
          </a:p>
        </p:txBody>
      </p:sp>
      <p:sp>
        <p:nvSpPr>
          <p:cNvPr id="18" name="Footer Placeholder 3">
            <a:extLst>
              <a:ext uri="{FF2B5EF4-FFF2-40B4-BE49-F238E27FC236}">
                <a16:creationId xmlns:a16="http://schemas.microsoft.com/office/drawing/2014/main" id="{532D5761-A9A3-A74F-9A02-756F66A5E63D}"/>
              </a:ext>
            </a:extLst>
          </p:cNvPr>
          <p:cNvSpPr txBox="1">
            <a:spLocks/>
          </p:cNvSpPr>
          <p:nvPr/>
        </p:nvSpPr>
        <p:spPr>
          <a:xfrm>
            <a:off x="1044629" y="6493253"/>
            <a:ext cx="574537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B8580"/>
                </a:solidFill>
                <a:effectLst/>
                <a:uLnTx/>
                <a:uFillTx/>
                <a:latin typeface="Oracle Sans"/>
                <a:cs typeface="Arial"/>
              </a:rPr>
              <a:t>Copyright © 2022, Oracle and/or its affiliates</a:t>
            </a:r>
          </a:p>
        </p:txBody>
      </p:sp>
      <p:sp>
        <p:nvSpPr>
          <p:cNvPr id="19" name="Slide Number Placeholder 1">
            <a:extLst>
              <a:ext uri="{FF2B5EF4-FFF2-40B4-BE49-F238E27FC236}">
                <a16:creationId xmlns:a16="http://schemas.microsoft.com/office/drawing/2014/main" id="{6235E5A3-710D-8C48-AFE1-971A4FD5716B}"/>
              </a:ext>
            </a:extLst>
          </p:cNvPr>
          <p:cNvSpPr txBox="1">
            <a:spLocks/>
          </p:cNvSpPr>
          <p:nvPr/>
        </p:nvSpPr>
        <p:spPr>
          <a:xfrm>
            <a:off x="665015" y="6423661"/>
            <a:ext cx="365760" cy="3657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8B8580"/>
              </a:solidFill>
              <a:effectLst/>
              <a:uLnTx/>
              <a:uFillTx/>
              <a:latin typeface="Oracle Sans"/>
              <a:cs typeface="Arial"/>
            </a:endParaRPr>
          </a:p>
        </p:txBody>
      </p:sp>
    </p:spTree>
    <p:extLst>
      <p:ext uri="{BB962C8B-B14F-4D97-AF65-F5344CB8AC3E}">
        <p14:creationId xmlns:p14="http://schemas.microsoft.com/office/powerpoint/2010/main" val="238172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7A5B426-DF2D-634D-A889-276B339ED240}"/>
              </a:ext>
            </a:extLst>
          </p:cNvPr>
          <p:cNvSpPr>
            <a:spLocks noGrp="1"/>
          </p:cNvSpPr>
          <p:nvPr>
            <p:ph type="title"/>
            <p:custDataLst>
              <p:tags r:id="rId1"/>
            </p:custDataLst>
          </p:nvPr>
        </p:nvSpPr>
        <p:spPr>
          <a:xfrm>
            <a:off x="768875" y="182403"/>
            <a:ext cx="10671048" cy="822960"/>
          </a:xfrm>
        </p:spPr>
        <p:txBody>
          <a:bodyPr/>
          <a:lstStyle/>
          <a:p>
            <a:r>
              <a:rPr lang="en-US" dirty="0">
                <a:solidFill>
                  <a:schemeClr val="tx1"/>
                </a:solidFill>
              </a:rPr>
              <a:t>Oracle Autonomous Data Warehouse</a:t>
            </a:r>
          </a:p>
        </p:txBody>
      </p:sp>
      <p:cxnSp>
        <p:nvCxnSpPr>
          <p:cNvPr id="30" name="Straight Connector 29">
            <a:extLst>
              <a:ext uri="{FF2B5EF4-FFF2-40B4-BE49-F238E27FC236}">
                <a16:creationId xmlns:a16="http://schemas.microsoft.com/office/drawing/2014/main" id="{F4D8BCE6-89D8-D546-A7DE-0C22CAF22AEC}"/>
              </a:ext>
            </a:extLst>
          </p:cNvPr>
          <p:cNvCxnSpPr/>
          <p:nvPr>
            <p:custDataLst>
              <p:tags r:id="rId2"/>
            </p:custDataLst>
          </p:nvPr>
        </p:nvCxnSpPr>
        <p:spPr>
          <a:xfrm>
            <a:off x="1062299" y="2417216"/>
            <a:ext cx="3052800" cy="0"/>
          </a:xfrm>
          <a:prstGeom prst="line">
            <a:avLst/>
          </a:prstGeom>
          <a:ln w="3175">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EFE9D77-E0E2-9D4D-B391-D111FB572811}"/>
              </a:ext>
            </a:extLst>
          </p:cNvPr>
          <p:cNvSpPr txBox="1"/>
          <p:nvPr>
            <p:custDataLst>
              <p:tags r:id="rId3"/>
            </p:custDataLst>
          </p:nvPr>
        </p:nvSpPr>
        <p:spPr>
          <a:xfrm>
            <a:off x="1488478" y="2113067"/>
            <a:ext cx="1053365"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rPr>
              <a:t>S</a:t>
            </a:r>
            <a:r>
              <a:rPr kumimoji="0" lang="en-US" sz="1800" b="1" i="0" u="none" strike="noStrike" kern="1200" cap="none" spc="0" normalizeH="0" baseline="0" noProof="0" dirty="0" err="1">
                <a:ln>
                  <a:noFill/>
                </a:ln>
                <a:solidFill>
                  <a:srgbClr val="312D2A"/>
                </a:solidFill>
                <a:effectLst/>
                <a:uLnTx/>
                <a:uFillTx/>
                <a:latin typeface="Oracle Sans Tab Semi Bold" panose="020B0503020204020204" pitchFamily="34" charset="0"/>
                <a:cs typeface="Oracle Sans Tab Semi Bold" panose="020B0503020204020204" pitchFamily="34" charset="0"/>
              </a:rPr>
              <a:t>implicité</a:t>
            </a:r>
            <a:endParaRPr kumimoji="0" lang="en-US"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endParaRPr>
          </a:p>
        </p:txBody>
      </p:sp>
      <p:sp>
        <p:nvSpPr>
          <p:cNvPr id="22" name="Rounded Rectangle 21">
            <a:extLst>
              <a:ext uri="{FF2B5EF4-FFF2-40B4-BE49-F238E27FC236}">
                <a16:creationId xmlns:a16="http://schemas.microsoft.com/office/drawing/2014/main" id="{A738212A-3CDB-FE49-B28C-8104947FFD8B}"/>
              </a:ext>
            </a:extLst>
          </p:cNvPr>
          <p:cNvSpPr>
            <a:spLocks noChangeAspect="1"/>
          </p:cNvSpPr>
          <p:nvPr>
            <p:custDataLst>
              <p:tags r:id="rId4"/>
            </p:custDataLst>
          </p:nvPr>
        </p:nvSpPr>
        <p:spPr bwMode="gray">
          <a:xfrm>
            <a:off x="655479" y="1947122"/>
            <a:ext cx="648902" cy="648902"/>
          </a:xfrm>
          <a:prstGeom prst="roundRect">
            <a:avLst/>
          </a:prstGeom>
          <a:solidFill>
            <a:srgbClr val="494D53"/>
          </a:solidFill>
          <a:ln w="19050">
            <a:solidFill>
              <a:srgbClr val="A2AAB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240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Tab"/>
              <a:cs typeface="Arial"/>
            </a:endParaRPr>
          </a:p>
        </p:txBody>
      </p:sp>
      <p:sp>
        <p:nvSpPr>
          <p:cNvPr id="43" name="TextBox 42">
            <a:extLst>
              <a:ext uri="{FF2B5EF4-FFF2-40B4-BE49-F238E27FC236}">
                <a16:creationId xmlns:a16="http://schemas.microsoft.com/office/drawing/2014/main" id="{9C071BCE-07C5-5044-8F25-04794DF6A807}"/>
              </a:ext>
            </a:extLst>
          </p:cNvPr>
          <p:cNvSpPr txBox="1"/>
          <p:nvPr>
            <p:custDataLst>
              <p:tags r:id="rId5"/>
            </p:custDataLst>
          </p:nvPr>
        </p:nvSpPr>
        <p:spPr>
          <a:xfrm>
            <a:off x="1488478" y="4784553"/>
            <a:ext cx="1387496"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rPr>
              <a:t>P</a:t>
            </a:r>
            <a:r>
              <a:rPr kumimoji="0" lang="en-US" sz="1800" b="1" i="0" u="none" strike="noStrike" kern="1200" cap="none" spc="0" normalizeH="0" baseline="0" noProof="0" dirty="0" err="1">
                <a:ln>
                  <a:noFill/>
                </a:ln>
                <a:solidFill>
                  <a:srgbClr val="312D2A"/>
                </a:solidFill>
                <a:effectLst/>
                <a:uLnTx/>
                <a:uFillTx/>
                <a:latin typeface="Oracle Sans Tab Semi Bold" panose="020B0503020204020204" pitchFamily="34" charset="0"/>
                <a:cs typeface="Oracle Sans Tab Semi Bold" panose="020B0503020204020204" pitchFamily="34" charset="0"/>
              </a:rPr>
              <a:t>erformance</a:t>
            </a:r>
            <a:endParaRPr kumimoji="0" lang="en-US"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endParaRPr>
          </a:p>
        </p:txBody>
      </p:sp>
      <p:cxnSp>
        <p:nvCxnSpPr>
          <p:cNvPr id="50" name="Straight Connector 49">
            <a:extLst>
              <a:ext uri="{FF2B5EF4-FFF2-40B4-BE49-F238E27FC236}">
                <a16:creationId xmlns:a16="http://schemas.microsoft.com/office/drawing/2014/main" id="{3EDA166F-3B56-E944-9A07-475ECA007ABD}"/>
              </a:ext>
            </a:extLst>
          </p:cNvPr>
          <p:cNvCxnSpPr/>
          <p:nvPr>
            <p:custDataLst>
              <p:tags r:id="rId6"/>
            </p:custDataLst>
          </p:nvPr>
        </p:nvCxnSpPr>
        <p:spPr>
          <a:xfrm>
            <a:off x="1062300" y="5088702"/>
            <a:ext cx="3049421" cy="0"/>
          </a:xfrm>
          <a:prstGeom prst="line">
            <a:avLst/>
          </a:prstGeom>
          <a:ln w="3175">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45" name="Rounded Rectangle 44">
            <a:extLst>
              <a:ext uri="{FF2B5EF4-FFF2-40B4-BE49-F238E27FC236}">
                <a16:creationId xmlns:a16="http://schemas.microsoft.com/office/drawing/2014/main" id="{B0AA81D7-1A5B-4E4C-A263-6A9AAC80CCCD}"/>
              </a:ext>
            </a:extLst>
          </p:cNvPr>
          <p:cNvSpPr>
            <a:spLocks noChangeAspect="1"/>
          </p:cNvSpPr>
          <p:nvPr>
            <p:custDataLst>
              <p:tags r:id="rId7"/>
            </p:custDataLst>
          </p:nvPr>
        </p:nvSpPr>
        <p:spPr bwMode="gray">
          <a:xfrm>
            <a:off x="655479" y="4616943"/>
            <a:ext cx="648902" cy="648902"/>
          </a:xfrm>
          <a:prstGeom prst="roundRect">
            <a:avLst/>
          </a:prstGeom>
          <a:solidFill>
            <a:srgbClr val="494D53"/>
          </a:solidFill>
          <a:ln w="19050">
            <a:solidFill>
              <a:srgbClr val="A2AAB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240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Tab"/>
              <a:cs typeface="Arial"/>
            </a:endParaRPr>
          </a:p>
        </p:txBody>
      </p:sp>
      <p:cxnSp>
        <p:nvCxnSpPr>
          <p:cNvPr id="41" name="Straight Connector 40">
            <a:extLst>
              <a:ext uri="{FF2B5EF4-FFF2-40B4-BE49-F238E27FC236}">
                <a16:creationId xmlns:a16="http://schemas.microsoft.com/office/drawing/2014/main" id="{F533C58A-471B-ED4D-A71D-FF0FDC97AF1B}"/>
              </a:ext>
            </a:extLst>
          </p:cNvPr>
          <p:cNvCxnSpPr/>
          <p:nvPr>
            <p:custDataLst>
              <p:tags r:id="rId8"/>
            </p:custDataLst>
          </p:nvPr>
        </p:nvCxnSpPr>
        <p:spPr>
          <a:xfrm>
            <a:off x="1062300" y="3735028"/>
            <a:ext cx="3666462" cy="1059"/>
          </a:xfrm>
          <a:prstGeom prst="line">
            <a:avLst/>
          </a:prstGeom>
          <a:ln w="3175">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E0B5BFF-F791-C84F-8D8B-314C90F39DB7}"/>
              </a:ext>
            </a:extLst>
          </p:cNvPr>
          <p:cNvSpPr txBox="1"/>
          <p:nvPr>
            <p:custDataLst>
              <p:tags r:id="rId9"/>
            </p:custDataLst>
          </p:nvPr>
        </p:nvSpPr>
        <p:spPr>
          <a:xfrm>
            <a:off x="1488478" y="3430879"/>
            <a:ext cx="115114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err="1">
                <a:ln>
                  <a:noFill/>
                </a:ln>
                <a:solidFill>
                  <a:srgbClr val="312D2A"/>
                </a:solidFill>
                <a:effectLst/>
                <a:uLnTx/>
                <a:uFillTx/>
                <a:latin typeface="Oracle Sans Tab Semi Bold" panose="020B0503020204020204" pitchFamily="34" charset="0"/>
                <a:cs typeface="Oracle Sans Tab Semi Bold" panose="020B0503020204020204" pitchFamily="34" charset="0"/>
              </a:rPr>
              <a:t>Scalablilité</a:t>
            </a:r>
            <a:endParaRPr kumimoji="0" lang="en-US"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endParaRPr>
          </a:p>
        </p:txBody>
      </p:sp>
      <p:sp>
        <p:nvSpPr>
          <p:cNvPr id="90" name="Rounded Rectangle 89">
            <a:extLst>
              <a:ext uri="{FF2B5EF4-FFF2-40B4-BE49-F238E27FC236}">
                <a16:creationId xmlns:a16="http://schemas.microsoft.com/office/drawing/2014/main" id="{10E31FE8-9066-3845-ABB6-434C6AC49234}"/>
              </a:ext>
            </a:extLst>
          </p:cNvPr>
          <p:cNvSpPr>
            <a:spLocks noChangeAspect="1"/>
          </p:cNvSpPr>
          <p:nvPr>
            <p:custDataLst>
              <p:tags r:id="rId10"/>
            </p:custDataLst>
          </p:nvPr>
        </p:nvSpPr>
        <p:spPr bwMode="gray">
          <a:xfrm flipH="1">
            <a:off x="653535" y="3240926"/>
            <a:ext cx="652791" cy="652791"/>
          </a:xfrm>
          <a:prstGeom prst="roundRect">
            <a:avLst/>
          </a:prstGeom>
          <a:solidFill>
            <a:srgbClr val="494D53"/>
          </a:solidFill>
          <a:ln w="19050">
            <a:solidFill>
              <a:srgbClr val="A2AAB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240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Tab"/>
              <a:cs typeface="Arial"/>
            </a:endParaRPr>
          </a:p>
        </p:txBody>
      </p:sp>
      <p:sp>
        <p:nvSpPr>
          <p:cNvPr id="99" name="TextBox 98">
            <a:extLst>
              <a:ext uri="{FF2B5EF4-FFF2-40B4-BE49-F238E27FC236}">
                <a16:creationId xmlns:a16="http://schemas.microsoft.com/office/drawing/2014/main" id="{D876D798-8C58-0845-93A4-E43431F48D6F}"/>
              </a:ext>
            </a:extLst>
          </p:cNvPr>
          <p:cNvSpPr txBox="1"/>
          <p:nvPr>
            <p:custDataLst>
              <p:tags r:id="rId11"/>
            </p:custDataLst>
          </p:nvPr>
        </p:nvSpPr>
        <p:spPr>
          <a:xfrm>
            <a:off x="8223417" y="2113067"/>
            <a:ext cx="905504"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rPr>
              <a:t>Sécurisé</a:t>
            </a:r>
            <a:endParaRPr kumimoji="0" lang="en-US"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endParaRPr>
          </a:p>
        </p:txBody>
      </p:sp>
      <p:cxnSp>
        <p:nvCxnSpPr>
          <p:cNvPr id="101" name="Straight Connector 100">
            <a:extLst>
              <a:ext uri="{FF2B5EF4-FFF2-40B4-BE49-F238E27FC236}">
                <a16:creationId xmlns:a16="http://schemas.microsoft.com/office/drawing/2014/main" id="{9C783F7A-8F3C-A749-8F22-0485EB403519}"/>
              </a:ext>
            </a:extLst>
          </p:cNvPr>
          <p:cNvCxnSpPr/>
          <p:nvPr>
            <p:custDataLst>
              <p:tags r:id="rId12"/>
            </p:custDataLst>
          </p:nvPr>
        </p:nvCxnSpPr>
        <p:spPr>
          <a:xfrm>
            <a:off x="8076207" y="2417216"/>
            <a:ext cx="30528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Rounded Rectangle 141">
            <a:extLst>
              <a:ext uri="{FF2B5EF4-FFF2-40B4-BE49-F238E27FC236}">
                <a16:creationId xmlns:a16="http://schemas.microsoft.com/office/drawing/2014/main" id="{827076BF-06DF-3240-99E4-037AE0032186}"/>
              </a:ext>
            </a:extLst>
          </p:cNvPr>
          <p:cNvSpPr>
            <a:spLocks noChangeAspect="1"/>
          </p:cNvSpPr>
          <p:nvPr>
            <p:custDataLst>
              <p:tags r:id="rId13"/>
            </p:custDataLst>
          </p:nvPr>
        </p:nvSpPr>
        <p:spPr bwMode="gray">
          <a:xfrm>
            <a:off x="10694839" y="1911297"/>
            <a:ext cx="652791" cy="652791"/>
          </a:xfrm>
          <a:prstGeom prst="roundRect">
            <a:avLst/>
          </a:prstGeom>
          <a:solidFill>
            <a:srgbClr val="494D53"/>
          </a:solidFill>
          <a:ln w="19050">
            <a:solidFill>
              <a:srgbClr val="A2AAB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240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Tab"/>
              <a:cs typeface="Arial"/>
            </a:endParaRPr>
          </a:p>
        </p:txBody>
      </p:sp>
      <p:sp>
        <p:nvSpPr>
          <p:cNvPr id="112" name="TextBox 111">
            <a:extLst>
              <a:ext uri="{FF2B5EF4-FFF2-40B4-BE49-F238E27FC236}">
                <a16:creationId xmlns:a16="http://schemas.microsoft.com/office/drawing/2014/main" id="{F704A67F-C142-8C4C-AADD-7BB95FBCB388}"/>
              </a:ext>
            </a:extLst>
          </p:cNvPr>
          <p:cNvSpPr txBox="1"/>
          <p:nvPr>
            <p:custDataLst>
              <p:tags r:id="rId14"/>
            </p:custDataLst>
          </p:nvPr>
        </p:nvSpPr>
        <p:spPr>
          <a:xfrm>
            <a:off x="8223417" y="3430880"/>
            <a:ext cx="1311256"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rPr>
              <a:t>C</a:t>
            </a:r>
            <a:r>
              <a:rPr kumimoji="0" lang="en-US" sz="1800" b="1" i="0" u="none" strike="noStrike" kern="1200" cap="none" spc="0" normalizeH="0" baseline="0" noProof="0" dirty="0" err="1">
                <a:ln>
                  <a:noFill/>
                </a:ln>
                <a:solidFill>
                  <a:srgbClr val="312D2A"/>
                </a:solidFill>
                <a:effectLst/>
                <a:uLnTx/>
                <a:uFillTx/>
                <a:latin typeface="Oracle Sans Tab Semi Bold" panose="020B0503020204020204" pitchFamily="34" charset="0"/>
                <a:cs typeface="Oracle Sans Tab Semi Bold" panose="020B0503020204020204" pitchFamily="34" charset="0"/>
              </a:rPr>
              <a:t>omplètude</a:t>
            </a:r>
            <a:endParaRPr kumimoji="0" lang="en-US"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endParaRPr>
          </a:p>
        </p:txBody>
      </p:sp>
      <p:cxnSp>
        <p:nvCxnSpPr>
          <p:cNvPr id="114" name="Straight Connector 113">
            <a:extLst>
              <a:ext uri="{FF2B5EF4-FFF2-40B4-BE49-F238E27FC236}">
                <a16:creationId xmlns:a16="http://schemas.microsoft.com/office/drawing/2014/main" id="{D36F1820-45A2-5346-A7D4-ADB20BE5209F}"/>
              </a:ext>
            </a:extLst>
          </p:cNvPr>
          <p:cNvCxnSpPr/>
          <p:nvPr>
            <p:custDataLst>
              <p:tags r:id="rId15"/>
            </p:custDataLst>
          </p:nvPr>
        </p:nvCxnSpPr>
        <p:spPr>
          <a:xfrm flipV="1">
            <a:off x="7462543" y="3735029"/>
            <a:ext cx="3666464" cy="105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5" name="Rounded Rectangle 114">
            <a:extLst>
              <a:ext uri="{FF2B5EF4-FFF2-40B4-BE49-F238E27FC236}">
                <a16:creationId xmlns:a16="http://schemas.microsoft.com/office/drawing/2014/main" id="{2BA87737-B697-784B-87E8-268D947F3D1B}"/>
              </a:ext>
            </a:extLst>
          </p:cNvPr>
          <p:cNvSpPr>
            <a:spLocks noChangeAspect="1"/>
          </p:cNvSpPr>
          <p:nvPr>
            <p:custDataLst>
              <p:tags r:id="rId16"/>
            </p:custDataLst>
          </p:nvPr>
        </p:nvSpPr>
        <p:spPr bwMode="gray">
          <a:xfrm>
            <a:off x="10696784" y="3242871"/>
            <a:ext cx="648902" cy="648902"/>
          </a:xfrm>
          <a:prstGeom prst="roundRect">
            <a:avLst/>
          </a:prstGeom>
          <a:solidFill>
            <a:srgbClr val="494D53"/>
          </a:solidFill>
          <a:ln w="19050">
            <a:solidFill>
              <a:srgbClr val="A2AAB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240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Tab"/>
              <a:cs typeface="Arial"/>
            </a:endParaRPr>
          </a:p>
        </p:txBody>
      </p:sp>
      <p:sp>
        <p:nvSpPr>
          <p:cNvPr id="123" name="TextBox 122">
            <a:extLst>
              <a:ext uri="{FF2B5EF4-FFF2-40B4-BE49-F238E27FC236}">
                <a16:creationId xmlns:a16="http://schemas.microsoft.com/office/drawing/2014/main" id="{5E15C3DF-96B7-664F-99F5-16146C8EADA1}"/>
              </a:ext>
            </a:extLst>
          </p:cNvPr>
          <p:cNvSpPr txBox="1"/>
          <p:nvPr>
            <p:custDataLst>
              <p:tags r:id="rId17"/>
            </p:custDataLst>
          </p:nvPr>
        </p:nvSpPr>
        <p:spPr>
          <a:xfrm>
            <a:off x="8223417" y="4784552"/>
            <a:ext cx="149560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rPr>
              <a:t>Cout optimisé</a:t>
            </a:r>
            <a:endParaRPr kumimoji="0" lang="en-US" sz="1800" b="1" i="0" u="none" strike="noStrike" kern="1200" cap="none" spc="0" normalizeH="0" baseline="0" noProof="0" dirty="0">
              <a:ln>
                <a:noFill/>
              </a:ln>
              <a:solidFill>
                <a:srgbClr val="312D2A"/>
              </a:solidFill>
              <a:effectLst/>
              <a:uLnTx/>
              <a:uFillTx/>
              <a:latin typeface="Oracle Sans Tab Semi Bold" panose="020B0503020204020204" pitchFamily="34" charset="0"/>
              <a:cs typeface="Oracle Sans Tab Semi Bold" panose="020B0503020204020204" pitchFamily="34" charset="0"/>
            </a:endParaRPr>
          </a:p>
        </p:txBody>
      </p:sp>
      <p:cxnSp>
        <p:nvCxnSpPr>
          <p:cNvPr id="125" name="Straight Connector 124">
            <a:extLst>
              <a:ext uri="{FF2B5EF4-FFF2-40B4-BE49-F238E27FC236}">
                <a16:creationId xmlns:a16="http://schemas.microsoft.com/office/drawing/2014/main" id="{1988CD1F-DDC3-AB4A-9343-B4042DB22D8D}"/>
              </a:ext>
            </a:extLst>
          </p:cNvPr>
          <p:cNvCxnSpPr/>
          <p:nvPr>
            <p:custDataLst>
              <p:tags r:id="rId18"/>
            </p:custDataLst>
          </p:nvPr>
        </p:nvCxnSpPr>
        <p:spPr>
          <a:xfrm>
            <a:off x="8076207" y="5088701"/>
            <a:ext cx="30528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Rounded Rectangle 126">
            <a:extLst>
              <a:ext uri="{FF2B5EF4-FFF2-40B4-BE49-F238E27FC236}">
                <a16:creationId xmlns:a16="http://schemas.microsoft.com/office/drawing/2014/main" id="{4BA79BE5-347C-AA43-BC9F-5BD0E85A19AF}"/>
              </a:ext>
            </a:extLst>
          </p:cNvPr>
          <p:cNvSpPr>
            <a:spLocks noChangeAspect="1"/>
          </p:cNvSpPr>
          <p:nvPr>
            <p:custDataLst>
              <p:tags r:id="rId19"/>
            </p:custDataLst>
          </p:nvPr>
        </p:nvSpPr>
        <p:spPr bwMode="gray">
          <a:xfrm>
            <a:off x="10696784" y="4616942"/>
            <a:ext cx="648902" cy="648902"/>
          </a:xfrm>
          <a:prstGeom prst="roundRect">
            <a:avLst/>
          </a:prstGeom>
          <a:solidFill>
            <a:srgbClr val="494D53"/>
          </a:solidFill>
          <a:ln w="19050">
            <a:solidFill>
              <a:srgbClr val="A2AAB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240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Tab"/>
              <a:cs typeface="Arial"/>
            </a:endParaRPr>
          </a:p>
        </p:txBody>
      </p:sp>
      <p:cxnSp>
        <p:nvCxnSpPr>
          <p:cNvPr id="20" name="Straight Connector 19">
            <a:extLst>
              <a:ext uri="{FF2B5EF4-FFF2-40B4-BE49-F238E27FC236}">
                <a16:creationId xmlns:a16="http://schemas.microsoft.com/office/drawing/2014/main" id="{7B8635BD-A5A9-034E-A7E3-3A316145D610}"/>
              </a:ext>
            </a:extLst>
          </p:cNvPr>
          <p:cNvCxnSpPr/>
          <p:nvPr>
            <p:custDataLst>
              <p:tags r:id="rId20"/>
            </p:custDataLst>
          </p:nvPr>
        </p:nvCxnSpPr>
        <p:spPr>
          <a:xfrm flipH="1">
            <a:off x="7474900" y="2417216"/>
            <a:ext cx="613663" cy="49897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6C62999-9C95-A646-9667-F396AAEF351D}"/>
              </a:ext>
            </a:extLst>
          </p:cNvPr>
          <p:cNvCxnSpPr/>
          <p:nvPr>
            <p:custDataLst>
              <p:tags r:id="rId21"/>
            </p:custDataLst>
          </p:nvPr>
        </p:nvCxnSpPr>
        <p:spPr>
          <a:xfrm flipH="1" flipV="1">
            <a:off x="7474900" y="4595168"/>
            <a:ext cx="613663" cy="49897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45A1CAF-3B76-AB49-B5EE-023F7F3AEDDF}"/>
              </a:ext>
            </a:extLst>
          </p:cNvPr>
          <p:cNvCxnSpPr/>
          <p:nvPr>
            <p:custDataLst>
              <p:tags r:id="rId22"/>
            </p:custDataLst>
          </p:nvPr>
        </p:nvCxnSpPr>
        <p:spPr>
          <a:xfrm>
            <a:off x="4115212" y="2417216"/>
            <a:ext cx="613663" cy="49897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DAF2751-26BA-7042-A8B3-41995CA3230B}"/>
              </a:ext>
            </a:extLst>
          </p:cNvPr>
          <p:cNvCxnSpPr/>
          <p:nvPr>
            <p:custDataLst>
              <p:tags r:id="rId23"/>
            </p:custDataLst>
          </p:nvPr>
        </p:nvCxnSpPr>
        <p:spPr>
          <a:xfrm flipV="1">
            <a:off x="4115212" y="4595168"/>
            <a:ext cx="613663" cy="4989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6292FD4-9304-408F-8ABB-B643DCDF35C4}"/>
              </a:ext>
            </a:extLst>
          </p:cNvPr>
          <p:cNvCxnSpPr/>
          <p:nvPr>
            <p:custDataLst>
              <p:tags r:id="rId24"/>
            </p:custDataLst>
          </p:nvPr>
        </p:nvCxnSpPr>
        <p:spPr>
          <a:xfrm flipV="1">
            <a:off x="4115212" y="4595168"/>
            <a:ext cx="613663" cy="49897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EA15227-94FC-49B8-8949-C24A88C23C15}"/>
              </a:ext>
            </a:extLst>
          </p:cNvPr>
          <p:cNvGrpSpPr>
            <a:grpSpLocks noChangeAspect="1"/>
          </p:cNvGrpSpPr>
          <p:nvPr>
            <p:custDataLst>
              <p:tags r:id="rId25"/>
            </p:custDataLst>
          </p:nvPr>
        </p:nvGrpSpPr>
        <p:grpSpPr>
          <a:xfrm>
            <a:off x="5416374" y="2917020"/>
            <a:ext cx="1412685" cy="1412685"/>
            <a:chOff x="-2319941" y="2220402"/>
            <a:chExt cx="2160000" cy="2160000"/>
          </a:xfrm>
        </p:grpSpPr>
        <p:sp>
          <p:nvSpPr>
            <p:cNvPr id="18" name="Rounded Rectangle 17">
              <a:extLst>
                <a:ext uri="{FF2B5EF4-FFF2-40B4-BE49-F238E27FC236}">
                  <a16:creationId xmlns:a16="http://schemas.microsoft.com/office/drawing/2014/main" id="{05A07AC7-E8B7-4AA3-B9C7-8018A578486F}"/>
                </a:ext>
              </a:extLst>
            </p:cNvPr>
            <p:cNvSpPr/>
            <p:nvPr>
              <p:custDataLst>
                <p:tags r:id="rId32"/>
              </p:custDataLst>
            </p:nvPr>
          </p:nvSpPr>
          <p:spPr>
            <a:xfrm>
              <a:off x="-2319941" y="2220402"/>
              <a:ext cx="2160000" cy="2160000"/>
            </a:xfrm>
            <a:prstGeom prst="roundRect">
              <a:avLst>
                <a:gd name="adj" fmla="val 8716"/>
              </a:avLst>
            </a:prstGeom>
            <a:solidFill>
              <a:srgbClr val="AE5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CFBFA"/>
                </a:solidFill>
                <a:effectLst/>
                <a:uLnTx/>
                <a:uFillTx/>
                <a:latin typeface="Oracle Sans"/>
                <a:cs typeface="Arial"/>
              </a:endParaRPr>
            </a:p>
          </p:txBody>
        </p:sp>
        <p:pic>
          <p:nvPicPr>
            <p:cNvPr id="17" name="Graphic 16">
              <a:extLst>
                <a:ext uri="{FF2B5EF4-FFF2-40B4-BE49-F238E27FC236}">
                  <a16:creationId xmlns:a16="http://schemas.microsoft.com/office/drawing/2014/main" id="{039ABD85-E756-4D1B-BE04-7AF79285B63B}"/>
                </a:ext>
              </a:extLst>
            </p:cNvPr>
            <p:cNvPicPr>
              <a:picLocks noChangeAspect="1"/>
            </p:cNvPicPr>
            <p:nvPr>
              <p:custDataLst>
                <p:tags r:id="rId33"/>
              </p:custDataLst>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rcRect l="12764" t="10596" r="10212" b="14186"/>
            <a:stretch>
              <a:fillRect/>
            </a:stretch>
          </p:blipFill>
          <p:spPr>
            <a:xfrm>
              <a:off x="-2033684" y="2456657"/>
              <a:ext cx="1587487" cy="1550245"/>
            </a:xfrm>
            <a:prstGeom prst="rect">
              <a:avLst/>
            </a:prstGeom>
          </p:spPr>
        </p:pic>
      </p:grpSp>
      <p:pic>
        <p:nvPicPr>
          <p:cNvPr id="89" name="Picture Placeholder 62">
            <a:extLst>
              <a:ext uri="{FF2B5EF4-FFF2-40B4-BE49-F238E27FC236}">
                <a16:creationId xmlns:a16="http://schemas.microsoft.com/office/drawing/2014/main" id="{265533A2-7AF9-C542-9417-58E42287A46E}"/>
              </a:ext>
            </a:extLst>
          </p:cNvPr>
          <p:cNvPicPr>
            <a:picLocks noChangeAspect="1"/>
          </p:cNvPicPr>
          <p:nvPr>
            <p:custDataLst>
              <p:tags r:id="rId26"/>
            </p:custDataLst>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l="85" r="85"/>
          <a:stretch>
            <a:fillRect/>
          </a:stretch>
        </p:blipFill>
        <p:spPr>
          <a:xfrm>
            <a:off x="691267" y="1982911"/>
            <a:ext cx="577326" cy="577325"/>
          </a:xfrm>
          <a:prstGeom prst="rect">
            <a:avLst/>
          </a:prstGeom>
        </p:spPr>
      </p:pic>
      <p:pic>
        <p:nvPicPr>
          <p:cNvPr id="97" name="Picture 96" descr="A picture containing text, sign, dark&#10;&#10;Description automatically generated">
            <a:extLst>
              <a:ext uri="{FF2B5EF4-FFF2-40B4-BE49-F238E27FC236}">
                <a16:creationId xmlns:a16="http://schemas.microsoft.com/office/drawing/2014/main" id="{33313122-F014-3240-A0E4-112A7AE54AAA}"/>
              </a:ext>
            </a:extLst>
          </p:cNvPr>
          <p:cNvPicPr>
            <a:picLocks noChangeAspect="1"/>
          </p:cNvPicPr>
          <p:nvPr>
            <p:custDataLst>
              <p:tags r:id="rId27"/>
            </p:custDataLst>
          </p:nvPr>
        </p:nvPicPr>
        <p:blipFill>
          <a:blip r:embed="rId40" cstate="print">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0648" y="3218039"/>
            <a:ext cx="698564" cy="698564"/>
          </a:xfrm>
          <a:prstGeom prst="rect">
            <a:avLst/>
          </a:prstGeom>
        </p:spPr>
      </p:pic>
      <p:pic>
        <p:nvPicPr>
          <p:cNvPr id="100" name="Picture Placeholder 112">
            <a:extLst>
              <a:ext uri="{FF2B5EF4-FFF2-40B4-BE49-F238E27FC236}">
                <a16:creationId xmlns:a16="http://schemas.microsoft.com/office/drawing/2014/main" id="{CD340941-4653-3043-B7D7-E6FCCA1B11B7}"/>
              </a:ext>
            </a:extLst>
          </p:cNvPr>
          <p:cNvPicPr>
            <a:picLocks noChangeAspect="1"/>
          </p:cNvPicPr>
          <p:nvPr>
            <p:custDataLst>
              <p:tags r:id="rId28"/>
            </p:custDataLst>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595720" y="4557183"/>
            <a:ext cx="768420" cy="768420"/>
          </a:xfrm>
          <a:prstGeom prst="rect">
            <a:avLst/>
          </a:prstGeom>
        </p:spPr>
      </p:pic>
      <p:pic>
        <p:nvPicPr>
          <p:cNvPr id="102" name="Picture Placeholder 95">
            <a:extLst>
              <a:ext uri="{FF2B5EF4-FFF2-40B4-BE49-F238E27FC236}">
                <a16:creationId xmlns:a16="http://schemas.microsoft.com/office/drawing/2014/main" id="{386E34F6-76F6-F947-9D92-5DD1E963D16B}"/>
              </a:ext>
            </a:extLst>
          </p:cNvPr>
          <p:cNvPicPr>
            <a:picLocks noChangeAspect="1"/>
          </p:cNvPicPr>
          <p:nvPr>
            <p:custDataLst>
              <p:tags r:id="rId29"/>
            </p:custDataLst>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rcRect t="85" b="85"/>
          <a:stretch>
            <a:fillRect/>
          </a:stretch>
        </p:blipFill>
        <p:spPr>
          <a:xfrm>
            <a:off x="10732572" y="1949030"/>
            <a:ext cx="577325" cy="577325"/>
          </a:xfrm>
          <a:prstGeom prst="rect">
            <a:avLst/>
          </a:prstGeom>
        </p:spPr>
      </p:pic>
      <p:pic>
        <p:nvPicPr>
          <p:cNvPr id="103" name="Picture 102" descr="Icon&#10;&#10;Description automatically generated">
            <a:extLst>
              <a:ext uri="{FF2B5EF4-FFF2-40B4-BE49-F238E27FC236}">
                <a16:creationId xmlns:a16="http://schemas.microsoft.com/office/drawing/2014/main" id="{03186963-9A19-3340-A349-B05B6BC4950D}"/>
              </a:ext>
            </a:extLst>
          </p:cNvPr>
          <p:cNvPicPr>
            <a:picLocks noChangeAspect="1"/>
          </p:cNvPicPr>
          <p:nvPr>
            <p:custDataLst>
              <p:tags r:id="rId30"/>
            </p:custDataLst>
          </p:nvPr>
        </p:nvPicPr>
        <p:blipFill>
          <a:blip r:embed="rId46" cstate="print">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732573" y="3278660"/>
            <a:ext cx="577325" cy="577325"/>
          </a:xfrm>
          <a:prstGeom prst="rect">
            <a:avLst/>
          </a:prstGeom>
        </p:spPr>
      </p:pic>
      <p:pic>
        <p:nvPicPr>
          <p:cNvPr id="104" name="Picture Placeholder 52">
            <a:extLst>
              <a:ext uri="{FF2B5EF4-FFF2-40B4-BE49-F238E27FC236}">
                <a16:creationId xmlns:a16="http://schemas.microsoft.com/office/drawing/2014/main" id="{86C87618-9CDF-CE47-A197-A9F4B65F10F1}"/>
              </a:ext>
            </a:extLst>
          </p:cNvPr>
          <p:cNvPicPr>
            <a:picLocks noChangeAspect="1"/>
          </p:cNvPicPr>
          <p:nvPr>
            <p:custDataLst>
              <p:tags r:id="rId31"/>
            </p:custDataLst>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rcRect l="85" r="85"/>
          <a:stretch>
            <a:fillRect/>
          </a:stretch>
        </p:blipFill>
        <p:spPr>
          <a:xfrm>
            <a:off x="10758815" y="4678973"/>
            <a:ext cx="524841" cy="524841"/>
          </a:xfrm>
          <a:prstGeom prst="rect">
            <a:avLst/>
          </a:prstGeom>
        </p:spPr>
      </p:pic>
      <p:sp>
        <p:nvSpPr>
          <p:cNvPr id="49" name="Footer Placeholder 3">
            <a:extLst>
              <a:ext uri="{FF2B5EF4-FFF2-40B4-BE49-F238E27FC236}">
                <a16:creationId xmlns:a16="http://schemas.microsoft.com/office/drawing/2014/main" id="{4C3240FB-D085-6E48-976A-5975CA3E9944}"/>
              </a:ext>
            </a:extLst>
          </p:cNvPr>
          <p:cNvSpPr txBox="1">
            <a:spLocks/>
          </p:cNvSpPr>
          <p:nvPr/>
        </p:nvSpPr>
        <p:spPr>
          <a:xfrm>
            <a:off x="1044629" y="6493253"/>
            <a:ext cx="574537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B8580"/>
                </a:solidFill>
                <a:effectLst/>
                <a:uLnTx/>
                <a:uFillTx/>
                <a:latin typeface="Oracle Sans"/>
                <a:cs typeface="Arial"/>
              </a:rPr>
              <a:t>Copyright © 2022, Oracle and/or its affiliates</a:t>
            </a:r>
          </a:p>
        </p:txBody>
      </p:sp>
      <p:sp>
        <p:nvSpPr>
          <p:cNvPr id="52" name="Slide Number Placeholder 1">
            <a:extLst>
              <a:ext uri="{FF2B5EF4-FFF2-40B4-BE49-F238E27FC236}">
                <a16:creationId xmlns:a16="http://schemas.microsoft.com/office/drawing/2014/main" id="{6F366316-8E1A-6D4E-A15B-837A471B2004}"/>
              </a:ext>
            </a:extLst>
          </p:cNvPr>
          <p:cNvSpPr txBox="1">
            <a:spLocks/>
          </p:cNvSpPr>
          <p:nvPr/>
        </p:nvSpPr>
        <p:spPr>
          <a:xfrm>
            <a:off x="665015" y="6423661"/>
            <a:ext cx="365760" cy="3657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dirty="0">
              <a:ln>
                <a:noFill/>
              </a:ln>
              <a:solidFill>
                <a:srgbClr val="8B8580"/>
              </a:solidFill>
              <a:effectLst/>
              <a:uLnTx/>
              <a:uFillTx/>
              <a:latin typeface="Oracle Sans"/>
              <a:cs typeface="Arial"/>
            </a:endParaRPr>
          </a:p>
        </p:txBody>
      </p:sp>
      <p:sp>
        <p:nvSpPr>
          <p:cNvPr id="3" name="Text Placeholder 2">
            <a:extLst>
              <a:ext uri="{FF2B5EF4-FFF2-40B4-BE49-F238E27FC236}">
                <a16:creationId xmlns:a16="http://schemas.microsoft.com/office/drawing/2014/main" id="{032A5392-8A53-4BCC-9786-E30102DDF125}"/>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7107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56FE1A1-C298-C744-B3E5-F0C0FDA3199D}"/>
              </a:ext>
            </a:extLst>
          </p:cNvPr>
          <p:cNvSpPr>
            <a:spLocks noGrp="1"/>
          </p:cNvSpPr>
          <p:nvPr>
            <p:ph type="title"/>
          </p:nvPr>
        </p:nvSpPr>
        <p:spPr>
          <a:xfrm>
            <a:off x="579271" y="445370"/>
            <a:ext cx="10671048" cy="822960"/>
          </a:xfrm>
        </p:spPr>
        <p:txBody>
          <a:bodyPr>
            <a:noAutofit/>
          </a:bodyPr>
          <a:lstStyle/>
          <a:p>
            <a:r>
              <a:rPr lang="en-US" dirty="0"/>
              <a:t>Choix de </a:t>
            </a:r>
            <a:r>
              <a:rPr lang="en-US" dirty="0" err="1"/>
              <a:t>déploiement</a:t>
            </a:r>
            <a:r>
              <a:rPr lang="en-US" dirty="0"/>
              <a:t>:</a:t>
            </a:r>
          </a:p>
        </p:txBody>
      </p:sp>
      <p:sp>
        <p:nvSpPr>
          <p:cNvPr id="22" name="Title 3">
            <a:extLst>
              <a:ext uri="{FF2B5EF4-FFF2-40B4-BE49-F238E27FC236}">
                <a16:creationId xmlns:a16="http://schemas.microsoft.com/office/drawing/2014/main" id="{76D491FF-2718-4744-9F38-53A141747DE5}"/>
              </a:ext>
            </a:extLst>
          </p:cNvPr>
          <p:cNvSpPr txBox="1"/>
          <p:nvPr/>
        </p:nvSpPr>
        <p:spPr>
          <a:xfrm>
            <a:off x="1588" y="201680"/>
            <a:ext cx="12188825" cy="889000"/>
          </a:xfrm>
          <a:prstGeom prst="rect">
            <a:avLst/>
          </a:prstGeom>
        </p:spPr>
        <p:txBody>
          <a:bodyPr vert="horz" lIns="0" tIns="0" rIns="0" bIns="0" rtlCol="0" anchor="b">
            <a:noAutofit/>
          </a:bodyPr>
          <a:lstStyle>
            <a:lvl1pPr algn="l" defTabSz="914400" rtl="0" eaLnBrk="1" latinLnBrk="0" hangingPunct="1">
              <a:lnSpc>
                <a:spcPct val="8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500" b="0" i="0" u="none" strike="noStrike" kern="1200" cap="none" spc="0" normalizeH="0" baseline="0" noProof="0">
                <a:ln>
                  <a:noFill/>
                </a:ln>
                <a:solidFill>
                  <a:srgbClr val="312D2A"/>
                </a:solidFill>
                <a:effectLst/>
                <a:uLnTx/>
                <a:uFillTx/>
                <a:latin typeface="Georgia"/>
                <a:cs typeface="Arial"/>
              </a:rPr>
              <a:t> </a:t>
            </a:r>
          </a:p>
        </p:txBody>
      </p:sp>
      <p:grpSp>
        <p:nvGrpSpPr>
          <p:cNvPr id="6" name="Group 5">
            <a:extLst>
              <a:ext uri="{FF2B5EF4-FFF2-40B4-BE49-F238E27FC236}">
                <a16:creationId xmlns:a16="http://schemas.microsoft.com/office/drawing/2014/main" id="{8E1B91B5-59F3-304B-816E-3A6F3FC4E0ED}"/>
              </a:ext>
            </a:extLst>
          </p:cNvPr>
          <p:cNvGrpSpPr>
            <a:grpSpLocks noChangeAspect="1"/>
          </p:cNvGrpSpPr>
          <p:nvPr/>
        </p:nvGrpSpPr>
        <p:grpSpPr>
          <a:xfrm>
            <a:off x="342848" y="1250954"/>
            <a:ext cx="7315200" cy="4356091"/>
            <a:chOff x="702748" y="772304"/>
            <a:chExt cx="9747219" cy="5804319"/>
          </a:xfrm>
        </p:grpSpPr>
        <p:sp>
          <p:nvSpPr>
            <p:cNvPr id="32" name="Rectangle 31">
              <a:extLst>
                <a:ext uri="{FF2B5EF4-FFF2-40B4-BE49-F238E27FC236}">
                  <a16:creationId xmlns:a16="http://schemas.microsoft.com/office/drawing/2014/main" id="{F0474380-D580-834E-86D9-5A403FD296AE}"/>
                </a:ext>
              </a:extLst>
            </p:cNvPr>
            <p:cNvSpPr/>
            <p:nvPr/>
          </p:nvSpPr>
          <p:spPr>
            <a:xfrm>
              <a:off x="8320917" y="2757413"/>
              <a:ext cx="2129050" cy="865491"/>
            </a:xfrm>
            <a:prstGeom prst="rect">
              <a:avLst/>
            </a:prstGeom>
            <a:noFill/>
            <a:ln w="38100">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CFBFA"/>
                </a:solidFill>
                <a:effectLst/>
                <a:uLnTx/>
                <a:uFillTx/>
                <a:latin typeface="Oracle Sans"/>
                <a:cs typeface="Arial"/>
              </a:endParaRPr>
            </a:p>
          </p:txBody>
        </p:sp>
        <p:sp>
          <p:nvSpPr>
            <p:cNvPr id="28" name="Rectangle 27">
              <a:extLst>
                <a:ext uri="{FF2B5EF4-FFF2-40B4-BE49-F238E27FC236}">
                  <a16:creationId xmlns:a16="http://schemas.microsoft.com/office/drawing/2014/main" id="{E56B06BF-F5E7-9142-B4CE-A0D1888D4D6D}"/>
                </a:ext>
              </a:extLst>
            </p:cNvPr>
            <p:cNvSpPr/>
            <p:nvPr/>
          </p:nvSpPr>
          <p:spPr>
            <a:xfrm>
              <a:off x="8320917" y="1396021"/>
              <a:ext cx="2129050" cy="865491"/>
            </a:xfrm>
            <a:prstGeom prst="rect">
              <a:avLst/>
            </a:prstGeom>
            <a:noFill/>
            <a:ln w="38100">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CFBFA"/>
                </a:solidFill>
                <a:effectLst/>
                <a:uLnTx/>
                <a:uFillTx/>
                <a:latin typeface="Oracle Sans"/>
                <a:cs typeface="Arial"/>
              </a:endParaRPr>
            </a:p>
          </p:txBody>
        </p:sp>
        <p:grpSp>
          <p:nvGrpSpPr>
            <p:cNvPr id="10" name="Group 9">
              <a:extLst>
                <a:ext uri="{FF2B5EF4-FFF2-40B4-BE49-F238E27FC236}">
                  <a16:creationId xmlns:a16="http://schemas.microsoft.com/office/drawing/2014/main" id="{820D0450-0298-884F-B2DE-ED859167EF99}"/>
                </a:ext>
              </a:extLst>
            </p:cNvPr>
            <p:cNvGrpSpPr/>
            <p:nvPr/>
          </p:nvGrpSpPr>
          <p:grpSpPr>
            <a:xfrm>
              <a:off x="702748" y="1885592"/>
              <a:ext cx="3350729" cy="3681355"/>
              <a:chOff x="223689" y="1489688"/>
              <a:chExt cx="3350729" cy="3681355"/>
            </a:xfrm>
          </p:grpSpPr>
          <p:pic>
            <p:nvPicPr>
              <p:cNvPr id="16" name="Picture Placeholder 17">
                <a:extLst>
                  <a:ext uri="{FF2B5EF4-FFF2-40B4-BE49-F238E27FC236}">
                    <a16:creationId xmlns:a16="http://schemas.microsoft.com/office/drawing/2014/main" id="{D05A82EC-0052-984F-803E-E8D8819215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689" y="1489688"/>
                <a:ext cx="3350729" cy="3350729"/>
              </a:xfrm>
              <a:prstGeom prst="rect">
                <a:avLst/>
              </a:prstGeom>
            </p:spPr>
          </p:pic>
          <p:sp>
            <p:nvSpPr>
              <p:cNvPr id="2" name="TextBox 1">
                <a:extLst>
                  <a:ext uri="{FF2B5EF4-FFF2-40B4-BE49-F238E27FC236}">
                    <a16:creationId xmlns:a16="http://schemas.microsoft.com/office/drawing/2014/main" id="{093B4A5E-9021-C449-96F7-BEBF8E1AFFCD}"/>
                  </a:ext>
                </a:extLst>
              </p:cNvPr>
              <p:cNvSpPr txBox="1"/>
              <p:nvPr/>
            </p:nvSpPr>
            <p:spPr>
              <a:xfrm>
                <a:off x="868648" y="4309832"/>
                <a:ext cx="2060813" cy="8612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12D2A"/>
                    </a:solidFill>
                    <a:effectLst/>
                    <a:uLnTx/>
                    <a:uFillTx/>
                    <a:latin typeface="Oracle Sans"/>
                    <a:cs typeface="Arial"/>
                  </a:rPr>
                  <a:t>Oracle</a:t>
                </a:r>
                <a:br>
                  <a:rPr kumimoji="0" lang="en-US" sz="1200" b="1" i="0" u="none" strike="noStrike" kern="1200" cap="none" spc="0" normalizeH="0" baseline="0" noProof="0" dirty="0">
                    <a:ln>
                      <a:noFill/>
                    </a:ln>
                    <a:solidFill>
                      <a:srgbClr val="312D2A"/>
                    </a:solidFill>
                    <a:effectLst/>
                    <a:uLnTx/>
                    <a:uFillTx/>
                    <a:latin typeface="Oracle Sans"/>
                    <a:cs typeface="Arial"/>
                  </a:rPr>
                </a:br>
                <a:r>
                  <a:rPr kumimoji="0" lang="en-US" sz="1200" b="1" i="0" u="none" strike="noStrike" kern="1200" cap="none" spc="0" normalizeH="0" baseline="0" noProof="0" dirty="0">
                    <a:ln>
                      <a:noFill/>
                    </a:ln>
                    <a:solidFill>
                      <a:srgbClr val="312D2A"/>
                    </a:solidFill>
                    <a:effectLst/>
                    <a:uLnTx/>
                    <a:uFillTx/>
                    <a:latin typeface="Oracle Sans"/>
                    <a:cs typeface="Arial"/>
                  </a:rPr>
                  <a:t>Autonomous</a:t>
                </a:r>
                <a:br>
                  <a:rPr kumimoji="0" lang="en-US" sz="1200" b="1" i="0" u="none" strike="noStrike" kern="1200" cap="none" spc="0" normalizeH="0" baseline="0" noProof="0" dirty="0">
                    <a:ln>
                      <a:noFill/>
                    </a:ln>
                    <a:solidFill>
                      <a:srgbClr val="312D2A"/>
                    </a:solidFill>
                    <a:effectLst/>
                    <a:uLnTx/>
                    <a:uFillTx/>
                    <a:latin typeface="Oracle Sans"/>
                    <a:cs typeface="Arial"/>
                  </a:rPr>
                </a:br>
                <a:r>
                  <a:rPr kumimoji="0" lang="en-US" sz="1200" b="1" i="0" u="none" strike="noStrike" kern="1200" cap="none" spc="0" normalizeH="0" baseline="0" noProof="0" dirty="0">
                    <a:ln>
                      <a:noFill/>
                    </a:ln>
                    <a:solidFill>
                      <a:srgbClr val="312D2A"/>
                    </a:solidFill>
                    <a:effectLst/>
                    <a:uLnTx/>
                    <a:uFillTx/>
                    <a:latin typeface="Oracle Sans"/>
                    <a:cs typeface="Arial"/>
                  </a:rPr>
                  <a:t>Data Warehouse</a:t>
                </a:r>
              </a:p>
            </p:txBody>
          </p:sp>
        </p:grpSp>
        <p:grpSp>
          <p:nvGrpSpPr>
            <p:cNvPr id="3" name="Group 2">
              <a:extLst>
                <a:ext uri="{FF2B5EF4-FFF2-40B4-BE49-F238E27FC236}">
                  <a16:creationId xmlns:a16="http://schemas.microsoft.com/office/drawing/2014/main" id="{8D8C3686-8DC5-DA43-B880-058309BC12E8}"/>
                </a:ext>
              </a:extLst>
            </p:cNvPr>
            <p:cNvGrpSpPr/>
            <p:nvPr/>
          </p:nvGrpSpPr>
          <p:grpSpPr>
            <a:xfrm>
              <a:off x="5042651" y="772304"/>
              <a:ext cx="1901879" cy="1901878"/>
              <a:chOff x="4249099" y="669242"/>
              <a:chExt cx="2251107" cy="2251107"/>
            </a:xfrm>
          </p:grpSpPr>
          <p:pic>
            <p:nvPicPr>
              <p:cNvPr id="17" name="Picture Placeholder 39">
                <a:extLst>
                  <a:ext uri="{FF2B5EF4-FFF2-40B4-BE49-F238E27FC236}">
                    <a16:creationId xmlns:a16="http://schemas.microsoft.com/office/drawing/2014/main" id="{0F472E85-ECB9-9047-9492-1C212B69B8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9099" y="669242"/>
                <a:ext cx="2251107" cy="2251107"/>
              </a:xfrm>
              <a:prstGeom prst="rect">
                <a:avLst/>
              </a:prstGeom>
            </p:spPr>
          </p:pic>
          <p:sp>
            <p:nvSpPr>
              <p:cNvPr id="20" name="TextBox 19">
                <a:extLst>
                  <a:ext uri="{FF2B5EF4-FFF2-40B4-BE49-F238E27FC236}">
                    <a16:creationId xmlns:a16="http://schemas.microsoft.com/office/drawing/2014/main" id="{8DD8E85C-B0A0-F942-8404-9C5CEFB34A50}"/>
                  </a:ext>
                </a:extLst>
              </p:cNvPr>
              <p:cNvSpPr txBox="1"/>
              <p:nvPr/>
            </p:nvSpPr>
            <p:spPr>
              <a:xfrm>
                <a:off x="4354895" y="2210691"/>
                <a:ext cx="2060812" cy="6852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12D2A"/>
                    </a:solidFill>
                    <a:effectLst/>
                    <a:uLnTx/>
                    <a:uFillTx/>
                    <a:latin typeface="Oracle Sans"/>
                    <a:cs typeface="Arial"/>
                  </a:rPr>
                  <a:t>Public</a:t>
                </a:r>
                <a:br>
                  <a:rPr kumimoji="0" lang="en-US" sz="1200" b="1" i="0" u="none" strike="noStrike" kern="1200" cap="none" spc="0" normalizeH="0" baseline="0" noProof="0">
                    <a:ln>
                      <a:noFill/>
                    </a:ln>
                    <a:solidFill>
                      <a:srgbClr val="312D2A"/>
                    </a:solidFill>
                    <a:effectLst/>
                    <a:uLnTx/>
                    <a:uFillTx/>
                    <a:latin typeface="Oracle Sans"/>
                    <a:cs typeface="Arial"/>
                  </a:rPr>
                </a:br>
                <a:r>
                  <a:rPr kumimoji="0" lang="en-US" sz="1200" b="1" i="0" u="none" strike="noStrike" kern="1200" cap="none" spc="0" normalizeH="0" baseline="0" noProof="0">
                    <a:ln>
                      <a:noFill/>
                    </a:ln>
                    <a:solidFill>
                      <a:srgbClr val="312D2A"/>
                    </a:solidFill>
                    <a:effectLst/>
                    <a:uLnTx/>
                    <a:uFillTx/>
                    <a:latin typeface="Oracle Sans"/>
                    <a:cs typeface="Arial"/>
                  </a:rPr>
                  <a:t>Cloud</a:t>
                </a:r>
              </a:p>
            </p:txBody>
          </p:sp>
        </p:grpSp>
        <p:grpSp>
          <p:nvGrpSpPr>
            <p:cNvPr id="4" name="Group 3">
              <a:extLst>
                <a:ext uri="{FF2B5EF4-FFF2-40B4-BE49-F238E27FC236}">
                  <a16:creationId xmlns:a16="http://schemas.microsoft.com/office/drawing/2014/main" id="{462B2A80-F8FD-8947-911C-CB29B7D222C6}"/>
                </a:ext>
              </a:extLst>
            </p:cNvPr>
            <p:cNvGrpSpPr/>
            <p:nvPr/>
          </p:nvGrpSpPr>
          <p:grpSpPr>
            <a:xfrm>
              <a:off x="4553267" y="3058750"/>
              <a:ext cx="2984840" cy="1623816"/>
              <a:chOff x="3821000" y="3064421"/>
              <a:chExt cx="3532926" cy="1921986"/>
            </a:xfrm>
          </p:grpSpPr>
          <p:sp>
            <p:nvSpPr>
              <p:cNvPr id="21" name="TextBox 20">
                <a:extLst>
                  <a:ext uri="{FF2B5EF4-FFF2-40B4-BE49-F238E27FC236}">
                    <a16:creationId xmlns:a16="http://schemas.microsoft.com/office/drawing/2014/main" id="{62DC90BD-B9D8-DF47-BA0A-F27191190212}"/>
                  </a:ext>
                </a:extLst>
              </p:cNvPr>
              <p:cNvSpPr txBox="1"/>
              <p:nvPr/>
            </p:nvSpPr>
            <p:spPr>
              <a:xfrm>
                <a:off x="3821000" y="4301130"/>
                <a:ext cx="3532926" cy="6852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12D2A"/>
                    </a:solidFill>
                    <a:effectLst/>
                    <a:uLnTx/>
                    <a:uFillTx/>
                    <a:latin typeface="Oracle Sans"/>
                    <a:cs typeface="Arial"/>
                  </a:rPr>
                  <a:t>Exadata</a:t>
                </a:r>
                <a:br>
                  <a:rPr kumimoji="0" lang="en-US" sz="1200" b="1" i="0" u="none" strike="noStrike" kern="1200" cap="none" spc="0" normalizeH="0" baseline="0" noProof="0">
                    <a:ln>
                      <a:noFill/>
                    </a:ln>
                    <a:solidFill>
                      <a:srgbClr val="312D2A"/>
                    </a:solidFill>
                    <a:effectLst/>
                    <a:uLnTx/>
                    <a:uFillTx/>
                    <a:latin typeface="Oracle Sans"/>
                    <a:cs typeface="Arial"/>
                  </a:rPr>
                </a:br>
                <a:r>
                  <a:rPr kumimoji="0" lang="en-US" sz="1200" b="1" i="0" u="none" strike="noStrike" kern="1200" cap="none" spc="0" normalizeH="0" baseline="0" noProof="0">
                    <a:ln>
                      <a:noFill/>
                    </a:ln>
                    <a:solidFill>
                      <a:srgbClr val="312D2A"/>
                    </a:solidFill>
                    <a:effectLst/>
                    <a:uLnTx/>
                    <a:uFillTx/>
                    <a:latin typeface="Oracle Sans"/>
                    <a:cs typeface="Arial"/>
                  </a:rPr>
                  <a:t>Cloud@Customer</a:t>
                </a:r>
              </a:p>
            </p:txBody>
          </p:sp>
          <p:sp>
            <p:nvSpPr>
              <p:cNvPr id="38" name="Graphic 14">
                <a:extLst>
                  <a:ext uri="{FF2B5EF4-FFF2-40B4-BE49-F238E27FC236}">
                    <a16:creationId xmlns:a16="http://schemas.microsoft.com/office/drawing/2014/main" id="{DA85CBDD-94E2-5D45-855E-0E15067F841A}"/>
                  </a:ext>
                </a:extLst>
              </p:cNvPr>
              <p:cNvSpPr/>
              <p:nvPr/>
            </p:nvSpPr>
            <p:spPr>
              <a:xfrm>
                <a:off x="5009582" y="3064421"/>
                <a:ext cx="1111172" cy="1164032"/>
              </a:xfrm>
              <a:custGeom>
                <a:avLst/>
                <a:gdLst>
                  <a:gd name="connsiteX0" fmla="*/ 323357 w 1111172"/>
                  <a:gd name="connsiteY0" fmla="*/ 1164033 h 1164032"/>
                  <a:gd name="connsiteX1" fmla="*/ 781936 w 1111172"/>
                  <a:gd name="connsiteY1" fmla="*/ 1164033 h 1164032"/>
                  <a:gd name="connsiteX2" fmla="*/ 781936 w 1111172"/>
                  <a:gd name="connsiteY2" fmla="*/ 235116 h 1164032"/>
                  <a:gd name="connsiteX3" fmla="*/ 323357 w 1111172"/>
                  <a:gd name="connsiteY3" fmla="*/ 235116 h 1164032"/>
                  <a:gd name="connsiteX4" fmla="*/ 370391 w 1111172"/>
                  <a:gd name="connsiteY4" fmla="*/ 282150 h 1164032"/>
                  <a:gd name="connsiteX5" fmla="*/ 734902 w 1111172"/>
                  <a:gd name="connsiteY5" fmla="*/ 282150 h 1164032"/>
                  <a:gd name="connsiteX6" fmla="*/ 734902 w 1111172"/>
                  <a:gd name="connsiteY6" fmla="*/ 1116999 h 1164032"/>
                  <a:gd name="connsiteX7" fmla="*/ 370391 w 1111172"/>
                  <a:gd name="connsiteY7" fmla="*/ 1116999 h 1164032"/>
                  <a:gd name="connsiteX8" fmla="*/ 405666 w 1111172"/>
                  <a:gd name="connsiteY8" fmla="*/ 317425 h 1164032"/>
                  <a:gd name="connsiteX9" fmla="*/ 699627 w 1111172"/>
                  <a:gd name="connsiteY9" fmla="*/ 317425 h 1164032"/>
                  <a:gd name="connsiteX10" fmla="*/ 699627 w 1111172"/>
                  <a:gd name="connsiteY10" fmla="*/ 364459 h 1164032"/>
                  <a:gd name="connsiteX11" fmla="*/ 405666 w 1111172"/>
                  <a:gd name="connsiteY11" fmla="*/ 364459 h 1164032"/>
                  <a:gd name="connsiteX12" fmla="*/ 664352 w 1111172"/>
                  <a:gd name="connsiteY12" fmla="*/ 399735 h 1164032"/>
                  <a:gd name="connsiteX13" fmla="*/ 440941 w 1111172"/>
                  <a:gd name="connsiteY13" fmla="*/ 399735 h 1164032"/>
                  <a:gd name="connsiteX14" fmla="*/ 440941 w 1111172"/>
                  <a:gd name="connsiteY14" fmla="*/ 440889 h 1164032"/>
                  <a:gd name="connsiteX15" fmla="*/ 405666 w 1111172"/>
                  <a:gd name="connsiteY15" fmla="*/ 440889 h 1164032"/>
                  <a:gd name="connsiteX16" fmla="*/ 405666 w 1111172"/>
                  <a:gd name="connsiteY16" fmla="*/ 487923 h 1164032"/>
                  <a:gd name="connsiteX17" fmla="*/ 440941 w 1111172"/>
                  <a:gd name="connsiteY17" fmla="*/ 487923 h 1164032"/>
                  <a:gd name="connsiteX18" fmla="*/ 440941 w 1111172"/>
                  <a:gd name="connsiteY18" fmla="*/ 529077 h 1164032"/>
                  <a:gd name="connsiteX19" fmla="*/ 664352 w 1111172"/>
                  <a:gd name="connsiteY19" fmla="*/ 529077 h 1164032"/>
                  <a:gd name="connsiteX20" fmla="*/ 664352 w 1111172"/>
                  <a:gd name="connsiteY20" fmla="*/ 487923 h 1164032"/>
                  <a:gd name="connsiteX21" fmla="*/ 699627 w 1111172"/>
                  <a:gd name="connsiteY21" fmla="*/ 487923 h 1164032"/>
                  <a:gd name="connsiteX22" fmla="*/ 699627 w 1111172"/>
                  <a:gd name="connsiteY22" fmla="*/ 440889 h 1164032"/>
                  <a:gd name="connsiteX23" fmla="*/ 664352 w 1111172"/>
                  <a:gd name="connsiteY23" fmla="*/ 440889 h 1164032"/>
                  <a:gd name="connsiteX24" fmla="*/ 617318 w 1111172"/>
                  <a:gd name="connsiteY24" fmla="*/ 482044 h 1164032"/>
                  <a:gd name="connsiteX25" fmla="*/ 487975 w 1111172"/>
                  <a:gd name="connsiteY25" fmla="*/ 482044 h 1164032"/>
                  <a:gd name="connsiteX26" fmla="*/ 487975 w 1111172"/>
                  <a:gd name="connsiteY26" fmla="*/ 446768 h 1164032"/>
                  <a:gd name="connsiteX27" fmla="*/ 617318 w 1111172"/>
                  <a:gd name="connsiteY27" fmla="*/ 446768 h 1164032"/>
                  <a:gd name="connsiteX28" fmla="*/ 405666 w 1111172"/>
                  <a:gd name="connsiteY28" fmla="*/ 564353 h 1164032"/>
                  <a:gd name="connsiteX29" fmla="*/ 699627 w 1111172"/>
                  <a:gd name="connsiteY29" fmla="*/ 564353 h 1164032"/>
                  <a:gd name="connsiteX30" fmla="*/ 699627 w 1111172"/>
                  <a:gd name="connsiteY30" fmla="*/ 611386 h 1164032"/>
                  <a:gd name="connsiteX31" fmla="*/ 405666 w 1111172"/>
                  <a:gd name="connsiteY31" fmla="*/ 611386 h 1164032"/>
                  <a:gd name="connsiteX32" fmla="*/ 405666 w 1111172"/>
                  <a:gd name="connsiteY32" fmla="*/ 646662 h 1164032"/>
                  <a:gd name="connsiteX33" fmla="*/ 699627 w 1111172"/>
                  <a:gd name="connsiteY33" fmla="*/ 646662 h 1164032"/>
                  <a:gd name="connsiteX34" fmla="*/ 699627 w 1111172"/>
                  <a:gd name="connsiteY34" fmla="*/ 693696 h 1164032"/>
                  <a:gd name="connsiteX35" fmla="*/ 405666 w 1111172"/>
                  <a:gd name="connsiteY35" fmla="*/ 693696 h 1164032"/>
                  <a:gd name="connsiteX36" fmla="*/ 288082 w 1111172"/>
                  <a:gd name="connsiteY36" fmla="*/ 752488 h 1164032"/>
                  <a:gd name="connsiteX37" fmla="*/ 82309 w 1111172"/>
                  <a:gd name="connsiteY37" fmla="*/ 752488 h 1164032"/>
                  <a:gd name="connsiteX38" fmla="*/ 82309 w 1111172"/>
                  <a:gd name="connsiteY38" fmla="*/ 705454 h 1164032"/>
                  <a:gd name="connsiteX39" fmla="*/ 288082 w 1111172"/>
                  <a:gd name="connsiteY39" fmla="*/ 705454 h 1164032"/>
                  <a:gd name="connsiteX40" fmla="*/ 288082 w 1111172"/>
                  <a:gd name="connsiteY40" fmla="*/ 834797 h 1164032"/>
                  <a:gd name="connsiteX41" fmla="*/ 82309 w 1111172"/>
                  <a:gd name="connsiteY41" fmla="*/ 834797 h 1164032"/>
                  <a:gd name="connsiteX42" fmla="*/ 82309 w 1111172"/>
                  <a:gd name="connsiteY42" fmla="*/ 787763 h 1164032"/>
                  <a:gd name="connsiteX43" fmla="*/ 288082 w 1111172"/>
                  <a:gd name="connsiteY43" fmla="*/ 787763 h 1164032"/>
                  <a:gd name="connsiteX44" fmla="*/ 288082 w 1111172"/>
                  <a:gd name="connsiteY44" fmla="*/ 917106 h 1164032"/>
                  <a:gd name="connsiteX45" fmla="*/ 82309 w 1111172"/>
                  <a:gd name="connsiteY45" fmla="*/ 917106 h 1164032"/>
                  <a:gd name="connsiteX46" fmla="*/ 82309 w 1111172"/>
                  <a:gd name="connsiteY46" fmla="*/ 870072 h 1164032"/>
                  <a:gd name="connsiteX47" fmla="*/ 288082 w 1111172"/>
                  <a:gd name="connsiteY47" fmla="*/ 870072 h 1164032"/>
                  <a:gd name="connsiteX48" fmla="*/ 82309 w 1111172"/>
                  <a:gd name="connsiteY48" fmla="*/ 952381 h 1164032"/>
                  <a:gd name="connsiteX49" fmla="*/ 288082 w 1111172"/>
                  <a:gd name="connsiteY49" fmla="*/ 952381 h 1164032"/>
                  <a:gd name="connsiteX50" fmla="*/ 288082 w 1111172"/>
                  <a:gd name="connsiteY50" fmla="*/ 999415 h 1164032"/>
                  <a:gd name="connsiteX51" fmla="*/ 82309 w 1111172"/>
                  <a:gd name="connsiteY51" fmla="*/ 999415 h 1164032"/>
                  <a:gd name="connsiteX52" fmla="*/ 864245 w 1111172"/>
                  <a:gd name="connsiteY52" fmla="*/ 670179 h 1164032"/>
                  <a:gd name="connsiteX53" fmla="*/ 817211 w 1111172"/>
                  <a:gd name="connsiteY53" fmla="*/ 670179 h 1164032"/>
                  <a:gd name="connsiteX54" fmla="*/ 817211 w 1111172"/>
                  <a:gd name="connsiteY54" fmla="*/ 623145 h 1164032"/>
                  <a:gd name="connsiteX55" fmla="*/ 864245 w 1111172"/>
                  <a:gd name="connsiteY55" fmla="*/ 623145 h 1164032"/>
                  <a:gd name="connsiteX56" fmla="*/ 864245 w 1111172"/>
                  <a:gd name="connsiteY56" fmla="*/ 752488 h 1164032"/>
                  <a:gd name="connsiteX57" fmla="*/ 817211 w 1111172"/>
                  <a:gd name="connsiteY57" fmla="*/ 752488 h 1164032"/>
                  <a:gd name="connsiteX58" fmla="*/ 817211 w 1111172"/>
                  <a:gd name="connsiteY58" fmla="*/ 705454 h 1164032"/>
                  <a:gd name="connsiteX59" fmla="*/ 864245 w 1111172"/>
                  <a:gd name="connsiteY59" fmla="*/ 705454 h 1164032"/>
                  <a:gd name="connsiteX60" fmla="*/ 946554 w 1111172"/>
                  <a:gd name="connsiteY60" fmla="*/ 670179 h 1164032"/>
                  <a:gd name="connsiteX61" fmla="*/ 899521 w 1111172"/>
                  <a:gd name="connsiteY61" fmla="*/ 670179 h 1164032"/>
                  <a:gd name="connsiteX62" fmla="*/ 899521 w 1111172"/>
                  <a:gd name="connsiteY62" fmla="*/ 623145 h 1164032"/>
                  <a:gd name="connsiteX63" fmla="*/ 946554 w 1111172"/>
                  <a:gd name="connsiteY63" fmla="*/ 623145 h 1164032"/>
                  <a:gd name="connsiteX64" fmla="*/ 899521 w 1111172"/>
                  <a:gd name="connsiteY64" fmla="*/ 705454 h 1164032"/>
                  <a:gd name="connsiteX65" fmla="*/ 946554 w 1111172"/>
                  <a:gd name="connsiteY65" fmla="*/ 705454 h 1164032"/>
                  <a:gd name="connsiteX66" fmla="*/ 946554 w 1111172"/>
                  <a:gd name="connsiteY66" fmla="*/ 752488 h 1164032"/>
                  <a:gd name="connsiteX67" fmla="*/ 899521 w 1111172"/>
                  <a:gd name="connsiteY67" fmla="*/ 752488 h 1164032"/>
                  <a:gd name="connsiteX68" fmla="*/ 899521 w 1111172"/>
                  <a:gd name="connsiteY68" fmla="*/ 787763 h 1164032"/>
                  <a:gd name="connsiteX69" fmla="*/ 946554 w 1111172"/>
                  <a:gd name="connsiteY69" fmla="*/ 787763 h 1164032"/>
                  <a:gd name="connsiteX70" fmla="*/ 946554 w 1111172"/>
                  <a:gd name="connsiteY70" fmla="*/ 834797 h 1164032"/>
                  <a:gd name="connsiteX71" fmla="*/ 899521 w 1111172"/>
                  <a:gd name="connsiteY71" fmla="*/ 834797 h 1164032"/>
                  <a:gd name="connsiteX72" fmla="*/ 899521 w 1111172"/>
                  <a:gd name="connsiteY72" fmla="*/ 870072 h 1164032"/>
                  <a:gd name="connsiteX73" fmla="*/ 946554 w 1111172"/>
                  <a:gd name="connsiteY73" fmla="*/ 870072 h 1164032"/>
                  <a:gd name="connsiteX74" fmla="*/ 946554 w 1111172"/>
                  <a:gd name="connsiteY74" fmla="*/ 917106 h 1164032"/>
                  <a:gd name="connsiteX75" fmla="*/ 899521 w 1111172"/>
                  <a:gd name="connsiteY75" fmla="*/ 917106 h 1164032"/>
                  <a:gd name="connsiteX76" fmla="*/ 1028863 w 1111172"/>
                  <a:gd name="connsiteY76" fmla="*/ 670179 h 1164032"/>
                  <a:gd name="connsiteX77" fmla="*/ 981830 w 1111172"/>
                  <a:gd name="connsiteY77" fmla="*/ 670179 h 1164032"/>
                  <a:gd name="connsiteX78" fmla="*/ 981830 w 1111172"/>
                  <a:gd name="connsiteY78" fmla="*/ 623145 h 1164032"/>
                  <a:gd name="connsiteX79" fmla="*/ 1028863 w 1111172"/>
                  <a:gd name="connsiteY79" fmla="*/ 623145 h 1164032"/>
                  <a:gd name="connsiteX80" fmla="*/ 981830 w 1111172"/>
                  <a:gd name="connsiteY80" fmla="*/ 705454 h 1164032"/>
                  <a:gd name="connsiteX81" fmla="*/ 1028863 w 1111172"/>
                  <a:gd name="connsiteY81" fmla="*/ 705454 h 1164032"/>
                  <a:gd name="connsiteX82" fmla="*/ 1028863 w 1111172"/>
                  <a:gd name="connsiteY82" fmla="*/ 752488 h 1164032"/>
                  <a:gd name="connsiteX83" fmla="*/ 981830 w 1111172"/>
                  <a:gd name="connsiteY83" fmla="*/ 752488 h 1164032"/>
                  <a:gd name="connsiteX84" fmla="*/ 981830 w 1111172"/>
                  <a:gd name="connsiteY84" fmla="*/ 787763 h 1164032"/>
                  <a:gd name="connsiteX85" fmla="*/ 1028863 w 1111172"/>
                  <a:gd name="connsiteY85" fmla="*/ 787763 h 1164032"/>
                  <a:gd name="connsiteX86" fmla="*/ 1028863 w 1111172"/>
                  <a:gd name="connsiteY86" fmla="*/ 834797 h 1164032"/>
                  <a:gd name="connsiteX87" fmla="*/ 981830 w 1111172"/>
                  <a:gd name="connsiteY87" fmla="*/ 834797 h 1164032"/>
                  <a:gd name="connsiteX88" fmla="*/ 981830 w 1111172"/>
                  <a:gd name="connsiteY88" fmla="*/ 870072 h 1164032"/>
                  <a:gd name="connsiteX89" fmla="*/ 1028863 w 1111172"/>
                  <a:gd name="connsiteY89" fmla="*/ 870072 h 1164032"/>
                  <a:gd name="connsiteX90" fmla="*/ 1028863 w 1111172"/>
                  <a:gd name="connsiteY90" fmla="*/ 917106 h 1164032"/>
                  <a:gd name="connsiteX91" fmla="*/ 981830 w 1111172"/>
                  <a:gd name="connsiteY91" fmla="*/ 917106 h 1164032"/>
                  <a:gd name="connsiteX92" fmla="*/ 899521 w 1111172"/>
                  <a:gd name="connsiteY92" fmla="*/ 952381 h 1164032"/>
                  <a:gd name="connsiteX93" fmla="*/ 946554 w 1111172"/>
                  <a:gd name="connsiteY93" fmla="*/ 952381 h 1164032"/>
                  <a:gd name="connsiteX94" fmla="*/ 946554 w 1111172"/>
                  <a:gd name="connsiteY94" fmla="*/ 999415 h 1164032"/>
                  <a:gd name="connsiteX95" fmla="*/ 899521 w 1111172"/>
                  <a:gd name="connsiteY95" fmla="*/ 999415 h 1164032"/>
                  <a:gd name="connsiteX96" fmla="*/ 864245 w 1111172"/>
                  <a:gd name="connsiteY96" fmla="*/ 834797 h 1164032"/>
                  <a:gd name="connsiteX97" fmla="*/ 817211 w 1111172"/>
                  <a:gd name="connsiteY97" fmla="*/ 834797 h 1164032"/>
                  <a:gd name="connsiteX98" fmla="*/ 817211 w 1111172"/>
                  <a:gd name="connsiteY98" fmla="*/ 787763 h 1164032"/>
                  <a:gd name="connsiteX99" fmla="*/ 864245 w 1111172"/>
                  <a:gd name="connsiteY99" fmla="*/ 787763 h 1164032"/>
                  <a:gd name="connsiteX100" fmla="*/ 864245 w 1111172"/>
                  <a:gd name="connsiteY100" fmla="*/ 917106 h 1164032"/>
                  <a:gd name="connsiteX101" fmla="*/ 817211 w 1111172"/>
                  <a:gd name="connsiteY101" fmla="*/ 917106 h 1164032"/>
                  <a:gd name="connsiteX102" fmla="*/ 817211 w 1111172"/>
                  <a:gd name="connsiteY102" fmla="*/ 870072 h 1164032"/>
                  <a:gd name="connsiteX103" fmla="*/ 864245 w 1111172"/>
                  <a:gd name="connsiteY103" fmla="*/ 870072 h 1164032"/>
                  <a:gd name="connsiteX104" fmla="*/ 817211 w 1111172"/>
                  <a:gd name="connsiteY104" fmla="*/ 952381 h 1164032"/>
                  <a:gd name="connsiteX105" fmla="*/ 864245 w 1111172"/>
                  <a:gd name="connsiteY105" fmla="*/ 952381 h 1164032"/>
                  <a:gd name="connsiteX106" fmla="*/ 864245 w 1111172"/>
                  <a:gd name="connsiteY106" fmla="*/ 999415 h 1164032"/>
                  <a:gd name="connsiteX107" fmla="*/ 817211 w 1111172"/>
                  <a:gd name="connsiteY107" fmla="*/ 999415 h 1164032"/>
                  <a:gd name="connsiteX108" fmla="*/ 981830 w 1111172"/>
                  <a:gd name="connsiteY108" fmla="*/ 952381 h 1164032"/>
                  <a:gd name="connsiteX109" fmla="*/ 1028863 w 1111172"/>
                  <a:gd name="connsiteY109" fmla="*/ 952381 h 1164032"/>
                  <a:gd name="connsiteX110" fmla="*/ 1028863 w 1111172"/>
                  <a:gd name="connsiteY110" fmla="*/ 999415 h 1164032"/>
                  <a:gd name="connsiteX111" fmla="*/ 981830 w 1111172"/>
                  <a:gd name="connsiteY111" fmla="*/ 999415 h 1164032"/>
                  <a:gd name="connsiteX112" fmla="*/ 1111172 w 1111172"/>
                  <a:gd name="connsiteY112" fmla="*/ 458527 h 1164032"/>
                  <a:gd name="connsiteX113" fmla="*/ 1111172 w 1111172"/>
                  <a:gd name="connsiteY113" fmla="*/ 1164033 h 1164032"/>
                  <a:gd name="connsiteX114" fmla="*/ 817211 w 1111172"/>
                  <a:gd name="connsiteY114" fmla="*/ 1164033 h 1164032"/>
                  <a:gd name="connsiteX115" fmla="*/ 817211 w 1111172"/>
                  <a:gd name="connsiteY115" fmla="*/ 1116999 h 1164032"/>
                  <a:gd name="connsiteX116" fmla="*/ 899521 w 1111172"/>
                  <a:gd name="connsiteY116" fmla="*/ 1116999 h 1164032"/>
                  <a:gd name="connsiteX117" fmla="*/ 899521 w 1111172"/>
                  <a:gd name="connsiteY117" fmla="*/ 1052328 h 1164032"/>
                  <a:gd name="connsiteX118" fmla="*/ 946554 w 1111172"/>
                  <a:gd name="connsiteY118" fmla="*/ 1052328 h 1164032"/>
                  <a:gd name="connsiteX119" fmla="*/ 946554 w 1111172"/>
                  <a:gd name="connsiteY119" fmla="*/ 1116999 h 1164032"/>
                  <a:gd name="connsiteX120" fmla="*/ 1064139 w 1111172"/>
                  <a:gd name="connsiteY120" fmla="*/ 1116999 h 1164032"/>
                  <a:gd name="connsiteX121" fmla="*/ 1064139 w 1111172"/>
                  <a:gd name="connsiteY121" fmla="*/ 517319 h 1164032"/>
                  <a:gd name="connsiteX122" fmla="*/ 817211 w 1111172"/>
                  <a:gd name="connsiteY122" fmla="*/ 574583 h 1164032"/>
                  <a:gd name="connsiteX123" fmla="*/ 817211 w 1111172"/>
                  <a:gd name="connsiteY123" fmla="*/ 526314 h 1164032"/>
                  <a:gd name="connsiteX124" fmla="*/ 205773 w 1111172"/>
                  <a:gd name="connsiteY124" fmla="*/ 1116999 h 1164032"/>
                  <a:gd name="connsiteX125" fmla="*/ 293961 w 1111172"/>
                  <a:gd name="connsiteY125" fmla="*/ 1116999 h 1164032"/>
                  <a:gd name="connsiteX126" fmla="*/ 293961 w 1111172"/>
                  <a:gd name="connsiteY126" fmla="*/ 1164033 h 1164032"/>
                  <a:gd name="connsiteX127" fmla="*/ 0 w 1111172"/>
                  <a:gd name="connsiteY127" fmla="*/ 1164033 h 1164032"/>
                  <a:gd name="connsiteX128" fmla="*/ 0 w 1111172"/>
                  <a:gd name="connsiteY128" fmla="*/ 623145 h 1164032"/>
                  <a:gd name="connsiteX129" fmla="*/ 288082 w 1111172"/>
                  <a:gd name="connsiteY129" fmla="*/ 623145 h 1164032"/>
                  <a:gd name="connsiteX130" fmla="*/ 288082 w 1111172"/>
                  <a:gd name="connsiteY130" fmla="*/ 670179 h 1164032"/>
                  <a:gd name="connsiteX131" fmla="*/ 47034 w 1111172"/>
                  <a:gd name="connsiteY131" fmla="*/ 670179 h 1164032"/>
                  <a:gd name="connsiteX132" fmla="*/ 47034 w 1111172"/>
                  <a:gd name="connsiteY132" fmla="*/ 1116999 h 1164032"/>
                  <a:gd name="connsiteX133" fmla="*/ 158739 w 1111172"/>
                  <a:gd name="connsiteY133" fmla="*/ 1116999 h 1164032"/>
                  <a:gd name="connsiteX134" fmla="*/ 158739 w 1111172"/>
                  <a:gd name="connsiteY134" fmla="*/ 1052328 h 1164032"/>
                  <a:gd name="connsiteX135" fmla="*/ 205773 w 1111172"/>
                  <a:gd name="connsiteY135" fmla="*/ 1052328 h 1164032"/>
                  <a:gd name="connsiteX136" fmla="*/ 847019 w 1111172"/>
                  <a:gd name="connsiteY136" fmla="*/ 202428 h 1164032"/>
                  <a:gd name="connsiteX137" fmla="*/ 799574 w 1111172"/>
                  <a:gd name="connsiteY137" fmla="*/ 182909 h 1164032"/>
                  <a:gd name="connsiteX138" fmla="*/ 728318 w 1111172"/>
                  <a:gd name="connsiteY138" fmla="*/ 127468 h 1164032"/>
                  <a:gd name="connsiteX139" fmla="*/ 533410 w 1111172"/>
                  <a:gd name="connsiteY139" fmla="*/ 62235 h 1164032"/>
                  <a:gd name="connsiteX140" fmla="*/ 491679 w 1111172"/>
                  <a:gd name="connsiteY140" fmla="*/ 93486 h 1164032"/>
                  <a:gd name="connsiteX141" fmla="*/ 407489 w 1111172"/>
                  <a:gd name="connsiteY141" fmla="*/ 125057 h 1164032"/>
                  <a:gd name="connsiteX142" fmla="*/ 290492 w 1111172"/>
                  <a:gd name="connsiteY142" fmla="*/ 212540 h 1164032"/>
                  <a:gd name="connsiteX143" fmla="*/ 236697 w 1111172"/>
                  <a:gd name="connsiteY143" fmla="*/ 284267 h 1164032"/>
                  <a:gd name="connsiteX144" fmla="*/ 155858 w 1111172"/>
                  <a:gd name="connsiteY144" fmla="*/ 387976 h 1164032"/>
                  <a:gd name="connsiteX145" fmla="*/ 288082 w 1111172"/>
                  <a:gd name="connsiteY145" fmla="*/ 387976 h 1164032"/>
                  <a:gd name="connsiteX146" fmla="*/ 288082 w 1111172"/>
                  <a:gd name="connsiteY146" fmla="*/ 435010 h 1164032"/>
                  <a:gd name="connsiteX147" fmla="*/ 103180 w 1111172"/>
                  <a:gd name="connsiteY147" fmla="*/ 435010 h 1164032"/>
                  <a:gd name="connsiteX148" fmla="*/ 105062 w 1111172"/>
                  <a:gd name="connsiteY148" fmla="*/ 409729 h 1164032"/>
                  <a:gd name="connsiteX149" fmla="*/ 214827 w 1111172"/>
                  <a:gd name="connsiteY149" fmla="*/ 242642 h 1164032"/>
                  <a:gd name="connsiteX150" fmla="*/ 244223 w 1111172"/>
                  <a:gd name="connsiteY150" fmla="*/ 203486 h 1164032"/>
                  <a:gd name="connsiteX151" fmla="*/ 411781 w 1111172"/>
                  <a:gd name="connsiteY151" fmla="*/ 78259 h 1164032"/>
                  <a:gd name="connsiteX152" fmla="*/ 456992 w 1111172"/>
                  <a:gd name="connsiteY152" fmla="*/ 61503 h 1164032"/>
                  <a:gd name="connsiteX153" fmla="*/ 728935 w 1111172"/>
                  <a:gd name="connsiteY153" fmla="*/ 51407 h 1164032"/>
                  <a:gd name="connsiteX154" fmla="*/ 770178 w 1111172"/>
                  <a:gd name="connsiteY154" fmla="*/ 106479 h 1164032"/>
                  <a:gd name="connsiteX155" fmla="*/ 809510 w 1111172"/>
                  <a:gd name="connsiteY155" fmla="*/ 136933 h 1164032"/>
                  <a:gd name="connsiteX156" fmla="*/ 959530 w 1111172"/>
                  <a:gd name="connsiteY156" fmla="*/ 371814 h 1164032"/>
                  <a:gd name="connsiteX157" fmla="*/ 940675 w 1111172"/>
                  <a:gd name="connsiteY157" fmla="*/ 422664 h 1164032"/>
                  <a:gd name="connsiteX158" fmla="*/ 934031 w 1111172"/>
                  <a:gd name="connsiteY158" fmla="*/ 435010 h 1164032"/>
                  <a:gd name="connsiteX159" fmla="*/ 817211 w 1111172"/>
                  <a:gd name="connsiteY159" fmla="*/ 435010 h 1164032"/>
                  <a:gd name="connsiteX160" fmla="*/ 817211 w 1111172"/>
                  <a:gd name="connsiteY160" fmla="*/ 387976 h 1164032"/>
                  <a:gd name="connsiteX161" fmla="*/ 905047 w 1111172"/>
                  <a:gd name="connsiteY161" fmla="*/ 387976 h 1164032"/>
                  <a:gd name="connsiteX162" fmla="*/ 847019 w 1111172"/>
                  <a:gd name="connsiteY162" fmla="*/ 202428 h 1164032"/>
                  <a:gd name="connsiteX163" fmla="*/ 580632 w 1111172"/>
                  <a:gd name="connsiteY163" fmla="*/ 905935 h 1164032"/>
                  <a:gd name="connsiteX164" fmla="*/ 641776 w 1111172"/>
                  <a:gd name="connsiteY164" fmla="*/ 1040569 h 1164032"/>
                  <a:gd name="connsiteX165" fmla="*/ 588392 w 1111172"/>
                  <a:gd name="connsiteY165" fmla="*/ 1040569 h 1164032"/>
                  <a:gd name="connsiteX166" fmla="*/ 548884 w 1111172"/>
                  <a:gd name="connsiteY166" fmla="*/ 946502 h 1164032"/>
                  <a:gd name="connsiteX167" fmla="*/ 512080 w 1111172"/>
                  <a:gd name="connsiteY167" fmla="*/ 1040569 h 1164032"/>
                  <a:gd name="connsiteX168" fmla="*/ 459167 w 1111172"/>
                  <a:gd name="connsiteY168" fmla="*/ 1040569 h 1164032"/>
                  <a:gd name="connsiteX169" fmla="*/ 519723 w 1111172"/>
                  <a:gd name="connsiteY169" fmla="*/ 904054 h 1164032"/>
                  <a:gd name="connsiteX170" fmla="*/ 461107 w 1111172"/>
                  <a:gd name="connsiteY170" fmla="*/ 776005 h 1164032"/>
                  <a:gd name="connsiteX171" fmla="*/ 514490 w 1111172"/>
                  <a:gd name="connsiteY171" fmla="*/ 776005 h 1164032"/>
                  <a:gd name="connsiteX172" fmla="*/ 550942 w 1111172"/>
                  <a:gd name="connsiteY172" fmla="*/ 863722 h 1164032"/>
                  <a:gd name="connsiteX173" fmla="*/ 585453 w 1111172"/>
                  <a:gd name="connsiteY173" fmla="*/ 775534 h 1164032"/>
                  <a:gd name="connsiteX174" fmla="*/ 638366 w 1111172"/>
                  <a:gd name="connsiteY174" fmla="*/ 775534 h 116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11172" h="1164032">
                    <a:moveTo>
                      <a:pt x="323357" y="1164033"/>
                    </a:moveTo>
                    <a:lnTo>
                      <a:pt x="781936" y="1164033"/>
                    </a:lnTo>
                    <a:lnTo>
                      <a:pt x="781936" y="235116"/>
                    </a:lnTo>
                    <a:lnTo>
                      <a:pt x="323357" y="235116"/>
                    </a:lnTo>
                    <a:close/>
                    <a:moveTo>
                      <a:pt x="370391" y="282150"/>
                    </a:moveTo>
                    <a:lnTo>
                      <a:pt x="734902" y="282150"/>
                    </a:lnTo>
                    <a:lnTo>
                      <a:pt x="734902" y="1116999"/>
                    </a:lnTo>
                    <a:lnTo>
                      <a:pt x="370391" y="1116999"/>
                    </a:lnTo>
                    <a:close/>
                    <a:moveTo>
                      <a:pt x="405666" y="317425"/>
                    </a:moveTo>
                    <a:lnTo>
                      <a:pt x="699627" y="317425"/>
                    </a:lnTo>
                    <a:lnTo>
                      <a:pt x="699627" y="364459"/>
                    </a:lnTo>
                    <a:lnTo>
                      <a:pt x="405666" y="364459"/>
                    </a:lnTo>
                    <a:close/>
                    <a:moveTo>
                      <a:pt x="664352" y="399735"/>
                    </a:moveTo>
                    <a:lnTo>
                      <a:pt x="440941" y="399735"/>
                    </a:lnTo>
                    <a:lnTo>
                      <a:pt x="440941" y="440889"/>
                    </a:lnTo>
                    <a:lnTo>
                      <a:pt x="405666" y="440889"/>
                    </a:lnTo>
                    <a:lnTo>
                      <a:pt x="405666" y="487923"/>
                    </a:lnTo>
                    <a:lnTo>
                      <a:pt x="440941" y="487923"/>
                    </a:lnTo>
                    <a:lnTo>
                      <a:pt x="440941" y="529077"/>
                    </a:lnTo>
                    <a:lnTo>
                      <a:pt x="664352" y="529077"/>
                    </a:lnTo>
                    <a:lnTo>
                      <a:pt x="664352" y="487923"/>
                    </a:lnTo>
                    <a:lnTo>
                      <a:pt x="699627" y="487923"/>
                    </a:lnTo>
                    <a:lnTo>
                      <a:pt x="699627" y="440889"/>
                    </a:lnTo>
                    <a:lnTo>
                      <a:pt x="664352" y="440889"/>
                    </a:lnTo>
                    <a:close/>
                    <a:moveTo>
                      <a:pt x="617318" y="482044"/>
                    </a:moveTo>
                    <a:lnTo>
                      <a:pt x="487975" y="482044"/>
                    </a:lnTo>
                    <a:lnTo>
                      <a:pt x="487975" y="446768"/>
                    </a:lnTo>
                    <a:lnTo>
                      <a:pt x="617318" y="446768"/>
                    </a:lnTo>
                    <a:close/>
                    <a:moveTo>
                      <a:pt x="405666" y="564353"/>
                    </a:moveTo>
                    <a:lnTo>
                      <a:pt x="699627" y="564353"/>
                    </a:lnTo>
                    <a:lnTo>
                      <a:pt x="699627" y="611386"/>
                    </a:lnTo>
                    <a:lnTo>
                      <a:pt x="405666" y="611386"/>
                    </a:lnTo>
                    <a:close/>
                    <a:moveTo>
                      <a:pt x="405666" y="646662"/>
                    </a:moveTo>
                    <a:lnTo>
                      <a:pt x="699627" y="646662"/>
                    </a:lnTo>
                    <a:lnTo>
                      <a:pt x="699627" y="693696"/>
                    </a:lnTo>
                    <a:lnTo>
                      <a:pt x="405666" y="693696"/>
                    </a:lnTo>
                    <a:close/>
                    <a:moveTo>
                      <a:pt x="288082" y="752488"/>
                    </a:moveTo>
                    <a:lnTo>
                      <a:pt x="82309" y="752488"/>
                    </a:lnTo>
                    <a:lnTo>
                      <a:pt x="82309" y="705454"/>
                    </a:lnTo>
                    <a:lnTo>
                      <a:pt x="288082" y="705454"/>
                    </a:lnTo>
                    <a:close/>
                    <a:moveTo>
                      <a:pt x="288082" y="834797"/>
                    </a:moveTo>
                    <a:lnTo>
                      <a:pt x="82309" y="834797"/>
                    </a:lnTo>
                    <a:lnTo>
                      <a:pt x="82309" y="787763"/>
                    </a:lnTo>
                    <a:lnTo>
                      <a:pt x="288082" y="787763"/>
                    </a:lnTo>
                    <a:close/>
                    <a:moveTo>
                      <a:pt x="288082" y="917106"/>
                    </a:moveTo>
                    <a:lnTo>
                      <a:pt x="82309" y="917106"/>
                    </a:lnTo>
                    <a:lnTo>
                      <a:pt x="82309" y="870072"/>
                    </a:lnTo>
                    <a:lnTo>
                      <a:pt x="288082" y="870072"/>
                    </a:lnTo>
                    <a:close/>
                    <a:moveTo>
                      <a:pt x="82309" y="952381"/>
                    </a:moveTo>
                    <a:lnTo>
                      <a:pt x="288082" y="952381"/>
                    </a:lnTo>
                    <a:lnTo>
                      <a:pt x="288082" y="999415"/>
                    </a:lnTo>
                    <a:lnTo>
                      <a:pt x="82309" y="999415"/>
                    </a:lnTo>
                    <a:close/>
                    <a:moveTo>
                      <a:pt x="864245" y="670179"/>
                    </a:moveTo>
                    <a:lnTo>
                      <a:pt x="817211" y="670179"/>
                    </a:lnTo>
                    <a:lnTo>
                      <a:pt x="817211" y="623145"/>
                    </a:lnTo>
                    <a:lnTo>
                      <a:pt x="864245" y="623145"/>
                    </a:lnTo>
                    <a:close/>
                    <a:moveTo>
                      <a:pt x="864245" y="752488"/>
                    </a:moveTo>
                    <a:lnTo>
                      <a:pt x="817211" y="752488"/>
                    </a:lnTo>
                    <a:lnTo>
                      <a:pt x="817211" y="705454"/>
                    </a:lnTo>
                    <a:lnTo>
                      <a:pt x="864245" y="705454"/>
                    </a:lnTo>
                    <a:close/>
                    <a:moveTo>
                      <a:pt x="946554" y="670179"/>
                    </a:moveTo>
                    <a:lnTo>
                      <a:pt x="899521" y="670179"/>
                    </a:lnTo>
                    <a:lnTo>
                      <a:pt x="899521" y="623145"/>
                    </a:lnTo>
                    <a:lnTo>
                      <a:pt x="946554" y="623145"/>
                    </a:lnTo>
                    <a:close/>
                    <a:moveTo>
                      <a:pt x="899521" y="705454"/>
                    </a:moveTo>
                    <a:lnTo>
                      <a:pt x="946554" y="705454"/>
                    </a:lnTo>
                    <a:lnTo>
                      <a:pt x="946554" y="752488"/>
                    </a:lnTo>
                    <a:lnTo>
                      <a:pt x="899521" y="752488"/>
                    </a:lnTo>
                    <a:close/>
                    <a:moveTo>
                      <a:pt x="899521" y="787763"/>
                    </a:moveTo>
                    <a:lnTo>
                      <a:pt x="946554" y="787763"/>
                    </a:lnTo>
                    <a:lnTo>
                      <a:pt x="946554" y="834797"/>
                    </a:lnTo>
                    <a:lnTo>
                      <a:pt x="899521" y="834797"/>
                    </a:lnTo>
                    <a:close/>
                    <a:moveTo>
                      <a:pt x="899521" y="870072"/>
                    </a:moveTo>
                    <a:lnTo>
                      <a:pt x="946554" y="870072"/>
                    </a:lnTo>
                    <a:lnTo>
                      <a:pt x="946554" y="917106"/>
                    </a:lnTo>
                    <a:lnTo>
                      <a:pt x="899521" y="917106"/>
                    </a:lnTo>
                    <a:close/>
                    <a:moveTo>
                      <a:pt x="1028863" y="670179"/>
                    </a:moveTo>
                    <a:lnTo>
                      <a:pt x="981830" y="670179"/>
                    </a:lnTo>
                    <a:lnTo>
                      <a:pt x="981830" y="623145"/>
                    </a:lnTo>
                    <a:lnTo>
                      <a:pt x="1028863" y="623145"/>
                    </a:lnTo>
                    <a:close/>
                    <a:moveTo>
                      <a:pt x="981830" y="705454"/>
                    </a:moveTo>
                    <a:lnTo>
                      <a:pt x="1028863" y="705454"/>
                    </a:lnTo>
                    <a:lnTo>
                      <a:pt x="1028863" y="752488"/>
                    </a:lnTo>
                    <a:lnTo>
                      <a:pt x="981830" y="752488"/>
                    </a:lnTo>
                    <a:close/>
                    <a:moveTo>
                      <a:pt x="981830" y="787763"/>
                    </a:moveTo>
                    <a:lnTo>
                      <a:pt x="1028863" y="787763"/>
                    </a:lnTo>
                    <a:lnTo>
                      <a:pt x="1028863" y="834797"/>
                    </a:lnTo>
                    <a:lnTo>
                      <a:pt x="981830" y="834797"/>
                    </a:lnTo>
                    <a:close/>
                    <a:moveTo>
                      <a:pt x="981830" y="870072"/>
                    </a:moveTo>
                    <a:lnTo>
                      <a:pt x="1028863" y="870072"/>
                    </a:lnTo>
                    <a:lnTo>
                      <a:pt x="1028863" y="917106"/>
                    </a:lnTo>
                    <a:lnTo>
                      <a:pt x="981830" y="917106"/>
                    </a:lnTo>
                    <a:close/>
                    <a:moveTo>
                      <a:pt x="899521" y="952381"/>
                    </a:moveTo>
                    <a:lnTo>
                      <a:pt x="946554" y="952381"/>
                    </a:lnTo>
                    <a:lnTo>
                      <a:pt x="946554" y="999415"/>
                    </a:lnTo>
                    <a:lnTo>
                      <a:pt x="899521" y="999415"/>
                    </a:lnTo>
                    <a:close/>
                    <a:moveTo>
                      <a:pt x="864245" y="834797"/>
                    </a:moveTo>
                    <a:lnTo>
                      <a:pt x="817211" y="834797"/>
                    </a:lnTo>
                    <a:lnTo>
                      <a:pt x="817211" y="787763"/>
                    </a:lnTo>
                    <a:lnTo>
                      <a:pt x="864245" y="787763"/>
                    </a:lnTo>
                    <a:close/>
                    <a:moveTo>
                      <a:pt x="864245" y="917106"/>
                    </a:moveTo>
                    <a:lnTo>
                      <a:pt x="817211" y="917106"/>
                    </a:lnTo>
                    <a:lnTo>
                      <a:pt x="817211" y="870072"/>
                    </a:lnTo>
                    <a:lnTo>
                      <a:pt x="864245" y="870072"/>
                    </a:lnTo>
                    <a:close/>
                    <a:moveTo>
                      <a:pt x="817211" y="952381"/>
                    </a:moveTo>
                    <a:lnTo>
                      <a:pt x="864245" y="952381"/>
                    </a:lnTo>
                    <a:lnTo>
                      <a:pt x="864245" y="999415"/>
                    </a:lnTo>
                    <a:lnTo>
                      <a:pt x="817211" y="999415"/>
                    </a:lnTo>
                    <a:close/>
                    <a:moveTo>
                      <a:pt x="981830" y="952381"/>
                    </a:moveTo>
                    <a:lnTo>
                      <a:pt x="1028863" y="952381"/>
                    </a:lnTo>
                    <a:lnTo>
                      <a:pt x="1028863" y="999415"/>
                    </a:lnTo>
                    <a:lnTo>
                      <a:pt x="981830" y="999415"/>
                    </a:lnTo>
                    <a:close/>
                    <a:moveTo>
                      <a:pt x="1111172" y="458527"/>
                    </a:moveTo>
                    <a:lnTo>
                      <a:pt x="1111172" y="1164033"/>
                    </a:lnTo>
                    <a:lnTo>
                      <a:pt x="817211" y="1164033"/>
                    </a:lnTo>
                    <a:lnTo>
                      <a:pt x="817211" y="1116999"/>
                    </a:lnTo>
                    <a:lnTo>
                      <a:pt x="899521" y="1116999"/>
                    </a:lnTo>
                    <a:lnTo>
                      <a:pt x="899521" y="1052328"/>
                    </a:lnTo>
                    <a:lnTo>
                      <a:pt x="946554" y="1052328"/>
                    </a:lnTo>
                    <a:lnTo>
                      <a:pt x="946554" y="1116999"/>
                    </a:lnTo>
                    <a:lnTo>
                      <a:pt x="1064139" y="1116999"/>
                    </a:lnTo>
                    <a:lnTo>
                      <a:pt x="1064139" y="517319"/>
                    </a:lnTo>
                    <a:lnTo>
                      <a:pt x="817211" y="574583"/>
                    </a:lnTo>
                    <a:lnTo>
                      <a:pt x="817211" y="526314"/>
                    </a:lnTo>
                    <a:close/>
                    <a:moveTo>
                      <a:pt x="205773" y="1116999"/>
                    </a:moveTo>
                    <a:lnTo>
                      <a:pt x="293961" y="1116999"/>
                    </a:lnTo>
                    <a:lnTo>
                      <a:pt x="293961" y="1164033"/>
                    </a:lnTo>
                    <a:lnTo>
                      <a:pt x="0" y="1164033"/>
                    </a:lnTo>
                    <a:lnTo>
                      <a:pt x="0" y="623145"/>
                    </a:lnTo>
                    <a:lnTo>
                      <a:pt x="288082" y="623145"/>
                    </a:lnTo>
                    <a:lnTo>
                      <a:pt x="288082" y="670179"/>
                    </a:lnTo>
                    <a:lnTo>
                      <a:pt x="47034" y="670179"/>
                    </a:lnTo>
                    <a:lnTo>
                      <a:pt x="47034" y="1116999"/>
                    </a:lnTo>
                    <a:lnTo>
                      <a:pt x="158739" y="1116999"/>
                    </a:lnTo>
                    <a:lnTo>
                      <a:pt x="158739" y="1052328"/>
                    </a:lnTo>
                    <a:lnTo>
                      <a:pt x="205773" y="1052328"/>
                    </a:lnTo>
                    <a:close/>
                    <a:moveTo>
                      <a:pt x="847019" y="202428"/>
                    </a:moveTo>
                    <a:cubicBezTo>
                      <a:pt x="832445" y="193240"/>
                      <a:pt x="816394" y="186638"/>
                      <a:pt x="799574" y="182909"/>
                    </a:cubicBezTo>
                    <a:cubicBezTo>
                      <a:pt x="768655" y="176167"/>
                      <a:pt x="742451" y="155782"/>
                      <a:pt x="728318" y="127468"/>
                    </a:cubicBezTo>
                    <a:cubicBezTo>
                      <a:pt x="692507" y="55632"/>
                      <a:pt x="605248" y="26426"/>
                      <a:pt x="533410" y="62235"/>
                    </a:cubicBezTo>
                    <a:cubicBezTo>
                      <a:pt x="517730" y="70051"/>
                      <a:pt x="503590" y="80639"/>
                      <a:pt x="491679" y="93486"/>
                    </a:cubicBezTo>
                    <a:cubicBezTo>
                      <a:pt x="470120" y="116633"/>
                      <a:pt x="438948" y="128322"/>
                      <a:pt x="407489" y="125057"/>
                    </a:cubicBezTo>
                    <a:cubicBezTo>
                      <a:pt x="351818" y="119876"/>
                      <a:pt x="301263" y="157678"/>
                      <a:pt x="290492" y="212540"/>
                    </a:cubicBezTo>
                    <a:cubicBezTo>
                      <a:pt x="284380" y="243376"/>
                      <a:pt x="264588" y="269764"/>
                      <a:pt x="236697" y="284267"/>
                    </a:cubicBezTo>
                    <a:cubicBezTo>
                      <a:pt x="195986" y="305477"/>
                      <a:pt x="166489" y="343318"/>
                      <a:pt x="155858" y="387976"/>
                    </a:cubicBezTo>
                    <a:lnTo>
                      <a:pt x="288082" y="387976"/>
                    </a:lnTo>
                    <a:lnTo>
                      <a:pt x="288082" y="435010"/>
                    </a:lnTo>
                    <a:lnTo>
                      <a:pt x="103180" y="435010"/>
                    </a:lnTo>
                    <a:lnTo>
                      <a:pt x="105062" y="409729"/>
                    </a:lnTo>
                    <a:cubicBezTo>
                      <a:pt x="110163" y="338755"/>
                      <a:pt x="151713" y="275506"/>
                      <a:pt x="214827" y="242642"/>
                    </a:cubicBezTo>
                    <a:cubicBezTo>
                      <a:pt x="230049" y="234714"/>
                      <a:pt x="240858" y="220315"/>
                      <a:pt x="244223" y="203486"/>
                    </a:cubicBezTo>
                    <a:cubicBezTo>
                      <a:pt x="259584" y="124880"/>
                      <a:pt x="332041" y="70727"/>
                      <a:pt x="411781" y="78259"/>
                    </a:cubicBezTo>
                    <a:cubicBezTo>
                      <a:pt x="428642" y="80062"/>
                      <a:pt x="445374" y="73860"/>
                      <a:pt x="456992" y="61503"/>
                    </a:cubicBezTo>
                    <a:cubicBezTo>
                      <a:pt x="529300" y="-16381"/>
                      <a:pt x="651053" y="-20901"/>
                      <a:pt x="728935" y="51407"/>
                    </a:cubicBezTo>
                    <a:cubicBezTo>
                      <a:pt x="745879" y="67138"/>
                      <a:pt x="759854" y="85793"/>
                      <a:pt x="770178" y="106479"/>
                    </a:cubicBezTo>
                    <a:cubicBezTo>
                      <a:pt x="777974" y="122087"/>
                      <a:pt x="792448" y="133296"/>
                      <a:pt x="809510" y="136933"/>
                    </a:cubicBezTo>
                    <a:cubicBezTo>
                      <a:pt x="915794" y="160367"/>
                      <a:pt x="982964" y="265527"/>
                      <a:pt x="959530" y="371814"/>
                    </a:cubicBezTo>
                    <a:cubicBezTo>
                      <a:pt x="955614" y="389552"/>
                      <a:pt x="949270" y="406666"/>
                      <a:pt x="940675" y="422664"/>
                    </a:cubicBezTo>
                    <a:lnTo>
                      <a:pt x="934031" y="435010"/>
                    </a:lnTo>
                    <a:lnTo>
                      <a:pt x="817211" y="435010"/>
                    </a:lnTo>
                    <a:lnTo>
                      <a:pt x="817211" y="387976"/>
                    </a:lnTo>
                    <a:lnTo>
                      <a:pt x="905047" y="387976"/>
                    </a:lnTo>
                    <a:cubicBezTo>
                      <a:pt x="933679" y="320258"/>
                      <a:pt x="909133" y="241766"/>
                      <a:pt x="847019" y="202428"/>
                    </a:cubicBezTo>
                    <a:close/>
                    <a:moveTo>
                      <a:pt x="580632" y="905935"/>
                    </a:moveTo>
                    <a:lnTo>
                      <a:pt x="641776" y="1040569"/>
                    </a:lnTo>
                    <a:lnTo>
                      <a:pt x="588392" y="1040569"/>
                    </a:lnTo>
                    <a:lnTo>
                      <a:pt x="548884" y="946502"/>
                    </a:lnTo>
                    <a:lnTo>
                      <a:pt x="512080" y="1040569"/>
                    </a:lnTo>
                    <a:lnTo>
                      <a:pt x="459167" y="1040569"/>
                    </a:lnTo>
                    <a:lnTo>
                      <a:pt x="519723" y="904054"/>
                    </a:lnTo>
                    <a:lnTo>
                      <a:pt x="461107" y="776005"/>
                    </a:lnTo>
                    <a:lnTo>
                      <a:pt x="514490" y="776005"/>
                    </a:lnTo>
                    <a:lnTo>
                      <a:pt x="550942" y="863722"/>
                    </a:lnTo>
                    <a:lnTo>
                      <a:pt x="585453" y="775534"/>
                    </a:lnTo>
                    <a:lnTo>
                      <a:pt x="638366" y="775534"/>
                    </a:lnTo>
                    <a:close/>
                  </a:path>
                </a:pathLst>
              </a:custGeom>
              <a:solidFill>
                <a:schemeClr val="bg1">
                  <a:lumMod val="10000"/>
                </a:schemeClr>
              </a:solidFill>
              <a:ln w="496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12D2A"/>
                  </a:solidFill>
                  <a:effectLst/>
                  <a:uLnTx/>
                  <a:uFillTx/>
                  <a:latin typeface="Oracle Sans"/>
                  <a:cs typeface="Arial"/>
                </a:endParaRPr>
              </a:p>
            </p:txBody>
          </p:sp>
        </p:grpSp>
        <p:grpSp>
          <p:nvGrpSpPr>
            <p:cNvPr id="5" name="Group 4">
              <a:extLst>
                <a:ext uri="{FF2B5EF4-FFF2-40B4-BE49-F238E27FC236}">
                  <a16:creationId xmlns:a16="http://schemas.microsoft.com/office/drawing/2014/main" id="{6F73D68E-AC68-FD4A-8751-0C3EAA8D4AEA}"/>
                </a:ext>
              </a:extLst>
            </p:cNvPr>
            <p:cNvGrpSpPr/>
            <p:nvPr/>
          </p:nvGrpSpPr>
          <p:grpSpPr>
            <a:xfrm>
              <a:off x="4182618" y="4944337"/>
              <a:ext cx="3639932" cy="1632286"/>
              <a:chOff x="3231147" y="5086419"/>
              <a:chExt cx="4308308" cy="1932012"/>
            </a:xfrm>
          </p:grpSpPr>
          <p:sp>
            <p:nvSpPr>
              <p:cNvPr id="27" name="TextBox 26">
                <a:extLst>
                  <a:ext uri="{FF2B5EF4-FFF2-40B4-BE49-F238E27FC236}">
                    <a16:creationId xmlns:a16="http://schemas.microsoft.com/office/drawing/2014/main" id="{E44B3D64-9DDB-554D-9156-09C5817D0CE5}"/>
                  </a:ext>
                </a:extLst>
              </p:cNvPr>
              <p:cNvSpPr txBox="1"/>
              <p:nvPr/>
            </p:nvSpPr>
            <p:spPr>
              <a:xfrm>
                <a:off x="3231147" y="6333154"/>
                <a:ext cx="4308308" cy="6852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12D2A"/>
                    </a:solidFill>
                    <a:effectLst/>
                    <a:uLnTx/>
                    <a:uFillTx/>
                    <a:latin typeface="Oracle Sans"/>
                    <a:cs typeface="Arial"/>
                  </a:rPr>
                  <a:t>Dedicated Region</a:t>
                </a:r>
                <a:br>
                  <a:rPr kumimoji="0" lang="en-US" sz="1200" b="1" i="0" u="none" strike="noStrike" kern="1200" cap="none" spc="0" normalizeH="0" baseline="0" noProof="0">
                    <a:ln>
                      <a:noFill/>
                    </a:ln>
                    <a:solidFill>
                      <a:srgbClr val="312D2A"/>
                    </a:solidFill>
                    <a:effectLst/>
                    <a:uLnTx/>
                    <a:uFillTx/>
                    <a:latin typeface="Oracle Sans"/>
                    <a:cs typeface="Arial"/>
                  </a:rPr>
                </a:br>
                <a:r>
                  <a:rPr kumimoji="0" lang="en-US" sz="1200" b="1" i="0" u="none" strike="noStrike" kern="1200" cap="none" spc="0" normalizeH="0" baseline="0" noProof="0">
                    <a:ln>
                      <a:noFill/>
                    </a:ln>
                    <a:solidFill>
                      <a:srgbClr val="312D2A"/>
                    </a:solidFill>
                    <a:effectLst/>
                    <a:uLnTx/>
                    <a:uFillTx/>
                    <a:latin typeface="Oracle Sans"/>
                    <a:cs typeface="Arial"/>
                  </a:rPr>
                  <a:t>Cloud@Customer</a:t>
                </a:r>
              </a:p>
            </p:txBody>
          </p:sp>
          <p:sp>
            <p:nvSpPr>
              <p:cNvPr id="39" name="Picture Placeholder 30">
                <a:extLst>
                  <a:ext uri="{FF2B5EF4-FFF2-40B4-BE49-F238E27FC236}">
                    <a16:creationId xmlns:a16="http://schemas.microsoft.com/office/drawing/2014/main" id="{F43A8966-B4AA-584F-887B-3852081CDB8D}"/>
                  </a:ext>
                </a:extLst>
              </p:cNvPr>
              <p:cNvSpPr/>
              <p:nvPr/>
            </p:nvSpPr>
            <p:spPr>
              <a:xfrm>
                <a:off x="4816410" y="5086419"/>
                <a:ext cx="1148643" cy="1203286"/>
              </a:xfrm>
              <a:custGeom>
                <a:avLst/>
                <a:gdLst>
                  <a:gd name="connsiteX0" fmla="*/ 334261 w 1148643"/>
                  <a:gd name="connsiteY0" fmla="*/ 1203287 h 1203286"/>
                  <a:gd name="connsiteX1" fmla="*/ 808305 w 1148643"/>
                  <a:gd name="connsiteY1" fmla="*/ 1203287 h 1203286"/>
                  <a:gd name="connsiteX2" fmla="*/ 808305 w 1148643"/>
                  <a:gd name="connsiteY2" fmla="*/ 243045 h 1203286"/>
                  <a:gd name="connsiteX3" fmla="*/ 334261 w 1148643"/>
                  <a:gd name="connsiteY3" fmla="*/ 243045 h 1203286"/>
                  <a:gd name="connsiteX4" fmla="*/ 382881 w 1148643"/>
                  <a:gd name="connsiteY4" fmla="*/ 291665 h 1203286"/>
                  <a:gd name="connsiteX5" fmla="*/ 759685 w 1148643"/>
                  <a:gd name="connsiteY5" fmla="*/ 291665 h 1203286"/>
                  <a:gd name="connsiteX6" fmla="*/ 759685 w 1148643"/>
                  <a:gd name="connsiteY6" fmla="*/ 1154667 h 1203286"/>
                  <a:gd name="connsiteX7" fmla="*/ 382881 w 1148643"/>
                  <a:gd name="connsiteY7" fmla="*/ 1154667 h 1203286"/>
                  <a:gd name="connsiteX8" fmla="*/ 419346 w 1148643"/>
                  <a:gd name="connsiteY8" fmla="*/ 328130 h 1203286"/>
                  <a:gd name="connsiteX9" fmla="*/ 723220 w 1148643"/>
                  <a:gd name="connsiteY9" fmla="*/ 328130 h 1203286"/>
                  <a:gd name="connsiteX10" fmla="*/ 723220 w 1148643"/>
                  <a:gd name="connsiteY10" fmla="*/ 376750 h 1203286"/>
                  <a:gd name="connsiteX11" fmla="*/ 419346 w 1148643"/>
                  <a:gd name="connsiteY11" fmla="*/ 376750 h 1203286"/>
                  <a:gd name="connsiteX12" fmla="*/ 686755 w 1148643"/>
                  <a:gd name="connsiteY12" fmla="*/ 413214 h 1203286"/>
                  <a:gd name="connsiteX13" fmla="*/ 455811 w 1148643"/>
                  <a:gd name="connsiteY13" fmla="*/ 413214 h 1203286"/>
                  <a:gd name="connsiteX14" fmla="*/ 455811 w 1148643"/>
                  <a:gd name="connsiteY14" fmla="*/ 455757 h 1203286"/>
                  <a:gd name="connsiteX15" fmla="*/ 419346 w 1148643"/>
                  <a:gd name="connsiteY15" fmla="*/ 455757 h 1203286"/>
                  <a:gd name="connsiteX16" fmla="*/ 419346 w 1148643"/>
                  <a:gd name="connsiteY16" fmla="*/ 504377 h 1203286"/>
                  <a:gd name="connsiteX17" fmla="*/ 455811 w 1148643"/>
                  <a:gd name="connsiteY17" fmla="*/ 504377 h 1203286"/>
                  <a:gd name="connsiteX18" fmla="*/ 455811 w 1148643"/>
                  <a:gd name="connsiteY18" fmla="*/ 546919 h 1203286"/>
                  <a:gd name="connsiteX19" fmla="*/ 686755 w 1148643"/>
                  <a:gd name="connsiteY19" fmla="*/ 546919 h 1203286"/>
                  <a:gd name="connsiteX20" fmla="*/ 686755 w 1148643"/>
                  <a:gd name="connsiteY20" fmla="*/ 504377 h 1203286"/>
                  <a:gd name="connsiteX21" fmla="*/ 723220 w 1148643"/>
                  <a:gd name="connsiteY21" fmla="*/ 504377 h 1203286"/>
                  <a:gd name="connsiteX22" fmla="*/ 723220 w 1148643"/>
                  <a:gd name="connsiteY22" fmla="*/ 455757 h 1203286"/>
                  <a:gd name="connsiteX23" fmla="*/ 686755 w 1148643"/>
                  <a:gd name="connsiteY23" fmla="*/ 455757 h 1203286"/>
                  <a:gd name="connsiteX24" fmla="*/ 638135 w 1148643"/>
                  <a:gd name="connsiteY24" fmla="*/ 498299 h 1203286"/>
                  <a:gd name="connsiteX25" fmla="*/ 504431 w 1148643"/>
                  <a:gd name="connsiteY25" fmla="*/ 498299 h 1203286"/>
                  <a:gd name="connsiteX26" fmla="*/ 504431 w 1148643"/>
                  <a:gd name="connsiteY26" fmla="*/ 461834 h 1203286"/>
                  <a:gd name="connsiteX27" fmla="*/ 638135 w 1148643"/>
                  <a:gd name="connsiteY27" fmla="*/ 461834 h 1203286"/>
                  <a:gd name="connsiteX28" fmla="*/ 419346 w 1148643"/>
                  <a:gd name="connsiteY28" fmla="*/ 583384 h 1203286"/>
                  <a:gd name="connsiteX29" fmla="*/ 723220 w 1148643"/>
                  <a:gd name="connsiteY29" fmla="*/ 583384 h 1203286"/>
                  <a:gd name="connsiteX30" fmla="*/ 723220 w 1148643"/>
                  <a:gd name="connsiteY30" fmla="*/ 632004 h 1203286"/>
                  <a:gd name="connsiteX31" fmla="*/ 419346 w 1148643"/>
                  <a:gd name="connsiteY31" fmla="*/ 632004 h 1203286"/>
                  <a:gd name="connsiteX32" fmla="*/ 419346 w 1148643"/>
                  <a:gd name="connsiteY32" fmla="*/ 668469 h 1203286"/>
                  <a:gd name="connsiteX33" fmla="*/ 723220 w 1148643"/>
                  <a:gd name="connsiteY33" fmla="*/ 668469 h 1203286"/>
                  <a:gd name="connsiteX34" fmla="*/ 723220 w 1148643"/>
                  <a:gd name="connsiteY34" fmla="*/ 717088 h 1203286"/>
                  <a:gd name="connsiteX35" fmla="*/ 419346 w 1148643"/>
                  <a:gd name="connsiteY35" fmla="*/ 717088 h 1203286"/>
                  <a:gd name="connsiteX36" fmla="*/ 593344 w 1148643"/>
                  <a:gd name="connsiteY36" fmla="*/ 1035001 h 1203286"/>
                  <a:gd name="connsiteX37" fmla="*/ 643484 w 1148643"/>
                  <a:gd name="connsiteY37" fmla="*/ 1023333 h 1203286"/>
                  <a:gd name="connsiteX38" fmla="*/ 643484 w 1148643"/>
                  <a:gd name="connsiteY38" fmla="*/ 1068549 h 1203286"/>
                  <a:gd name="connsiteX39" fmla="*/ 617472 w 1148643"/>
                  <a:gd name="connsiteY39" fmla="*/ 1078152 h 1203286"/>
                  <a:gd name="connsiteX40" fmla="*/ 585444 w 1148643"/>
                  <a:gd name="connsiteY40" fmla="*/ 1081737 h 1203286"/>
                  <a:gd name="connsiteX41" fmla="*/ 499690 w 1148643"/>
                  <a:gd name="connsiteY41" fmla="*/ 1045272 h 1203286"/>
                  <a:gd name="connsiteX42" fmla="*/ 470883 w 1148643"/>
                  <a:gd name="connsiteY42" fmla="*/ 940497 h 1203286"/>
                  <a:gd name="connsiteX43" fmla="*/ 485226 w 1148643"/>
                  <a:gd name="connsiteY43" fmla="*/ 858937 h 1203286"/>
                  <a:gd name="connsiteX44" fmla="*/ 524973 w 1148643"/>
                  <a:gd name="connsiteY44" fmla="*/ 812383 h 1203286"/>
                  <a:gd name="connsiteX45" fmla="*/ 583924 w 1148643"/>
                  <a:gd name="connsiteY45" fmla="*/ 797311 h 1203286"/>
                  <a:gd name="connsiteX46" fmla="*/ 615953 w 1148643"/>
                  <a:gd name="connsiteY46" fmla="*/ 800715 h 1203286"/>
                  <a:gd name="connsiteX47" fmla="*/ 635947 w 1148643"/>
                  <a:gd name="connsiteY47" fmla="*/ 807886 h 1203286"/>
                  <a:gd name="connsiteX48" fmla="*/ 635947 w 1148643"/>
                  <a:gd name="connsiteY48" fmla="*/ 853102 h 1203286"/>
                  <a:gd name="connsiteX49" fmla="*/ 616317 w 1148643"/>
                  <a:gd name="connsiteY49" fmla="*/ 846660 h 1203286"/>
                  <a:gd name="connsiteX50" fmla="*/ 593344 w 1148643"/>
                  <a:gd name="connsiteY50" fmla="*/ 844047 h 1203286"/>
                  <a:gd name="connsiteX51" fmla="*/ 544177 w 1148643"/>
                  <a:gd name="connsiteY51" fmla="*/ 867202 h 1203286"/>
                  <a:gd name="connsiteX52" fmla="*/ 527404 w 1148643"/>
                  <a:gd name="connsiteY52" fmla="*/ 939342 h 1203286"/>
                  <a:gd name="connsiteX53" fmla="*/ 543205 w 1148643"/>
                  <a:gd name="connsiteY53" fmla="*/ 1010023 h 1203286"/>
                  <a:gd name="connsiteX54" fmla="*/ 593344 w 1148643"/>
                  <a:gd name="connsiteY54" fmla="*/ 1035001 h 1203286"/>
                  <a:gd name="connsiteX55" fmla="*/ 297796 w 1148643"/>
                  <a:gd name="connsiteY55" fmla="*/ 777863 h 1203286"/>
                  <a:gd name="connsiteX56" fmla="*/ 85085 w 1148643"/>
                  <a:gd name="connsiteY56" fmla="*/ 777863 h 1203286"/>
                  <a:gd name="connsiteX57" fmla="*/ 85085 w 1148643"/>
                  <a:gd name="connsiteY57" fmla="*/ 729243 h 1203286"/>
                  <a:gd name="connsiteX58" fmla="*/ 297796 w 1148643"/>
                  <a:gd name="connsiteY58" fmla="*/ 729243 h 1203286"/>
                  <a:gd name="connsiteX59" fmla="*/ 297796 w 1148643"/>
                  <a:gd name="connsiteY59" fmla="*/ 862948 h 1203286"/>
                  <a:gd name="connsiteX60" fmla="*/ 85085 w 1148643"/>
                  <a:gd name="connsiteY60" fmla="*/ 862948 h 1203286"/>
                  <a:gd name="connsiteX61" fmla="*/ 85085 w 1148643"/>
                  <a:gd name="connsiteY61" fmla="*/ 814328 h 1203286"/>
                  <a:gd name="connsiteX62" fmla="*/ 297796 w 1148643"/>
                  <a:gd name="connsiteY62" fmla="*/ 814328 h 1203286"/>
                  <a:gd name="connsiteX63" fmla="*/ 297796 w 1148643"/>
                  <a:gd name="connsiteY63" fmla="*/ 948033 h 1203286"/>
                  <a:gd name="connsiteX64" fmla="*/ 85085 w 1148643"/>
                  <a:gd name="connsiteY64" fmla="*/ 948033 h 1203286"/>
                  <a:gd name="connsiteX65" fmla="*/ 85085 w 1148643"/>
                  <a:gd name="connsiteY65" fmla="*/ 899413 h 1203286"/>
                  <a:gd name="connsiteX66" fmla="*/ 297796 w 1148643"/>
                  <a:gd name="connsiteY66" fmla="*/ 899413 h 1203286"/>
                  <a:gd name="connsiteX67" fmla="*/ 85085 w 1148643"/>
                  <a:gd name="connsiteY67" fmla="*/ 984498 h 1203286"/>
                  <a:gd name="connsiteX68" fmla="*/ 297796 w 1148643"/>
                  <a:gd name="connsiteY68" fmla="*/ 984498 h 1203286"/>
                  <a:gd name="connsiteX69" fmla="*/ 297796 w 1148643"/>
                  <a:gd name="connsiteY69" fmla="*/ 1033117 h 1203286"/>
                  <a:gd name="connsiteX70" fmla="*/ 85085 w 1148643"/>
                  <a:gd name="connsiteY70" fmla="*/ 1033117 h 1203286"/>
                  <a:gd name="connsiteX71" fmla="*/ 893389 w 1148643"/>
                  <a:gd name="connsiteY71" fmla="*/ 692779 h 1203286"/>
                  <a:gd name="connsiteX72" fmla="*/ 844770 w 1148643"/>
                  <a:gd name="connsiteY72" fmla="*/ 692779 h 1203286"/>
                  <a:gd name="connsiteX73" fmla="*/ 844770 w 1148643"/>
                  <a:gd name="connsiteY73" fmla="*/ 644159 h 1203286"/>
                  <a:gd name="connsiteX74" fmla="*/ 893389 w 1148643"/>
                  <a:gd name="connsiteY74" fmla="*/ 644159 h 1203286"/>
                  <a:gd name="connsiteX75" fmla="*/ 893389 w 1148643"/>
                  <a:gd name="connsiteY75" fmla="*/ 777863 h 1203286"/>
                  <a:gd name="connsiteX76" fmla="*/ 844770 w 1148643"/>
                  <a:gd name="connsiteY76" fmla="*/ 777863 h 1203286"/>
                  <a:gd name="connsiteX77" fmla="*/ 844770 w 1148643"/>
                  <a:gd name="connsiteY77" fmla="*/ 729243 h 1203286"/>
                  <a:gd name="connsiteX78" fmla="*/ 893389 w 1148643"/>
                  <a:gd name="connsiteY78" fmla="*/ 729243 h 1203286"/>
                  <a:gd name="connsiteX79" fmla="*/ 978474 w 1148643"/>
                  <a:gd name="connsiteY79" fmla="*/ 692779 h 1203286"/>
                  <a:gd name="connsiteX80" fmla="*/ 929854 w 1148643"/>
                  <a:gd name="connsiteY80" fmla="*/ 692779 h 1203286"/>
                  <a:gd name="connsiteX81" fmla="*/ 929854 w 1148643"/>
                  <a:gd name="connsiteY81" fmla="*/ 644159 h 1203286"/>
                  <a:gd name="connsiteX82" fmla="*/ 978474 w 1148643"/>
                  <a:gd name="connsiteY82" fmla="*/ 644159 h 1203286"/>
                  <a:gd name="connsiteX83" fmla="*/ 929854 w 1148643"/>
                  <a:gd name="connsiteY83" fmla="*/ 729243 h 1203286"/>
                  <a:gd name="connsiteX84" fmla="*/ 978474 w 1148643"/>
                  <a:gd name="connsiteY84" fmla="*/ 729243 h 1203286"/>
                  <a:gd name="connsiteX85" fmla="*/ 978474 w 1148643"/>
                  <a:gd name="connsiteY85" fmla="*/ 777863 h 1203286"/>
                  <a:gd name="connsiteX86" fmla="*/ 929854 w 1148643"/>
                  <a:gd name="connsiteY86" fmla="*/ 777863 h 1203286"/>
                  <a:gd name="connsiteX87" fmla="*/ 929854 w 1148643"/>
                  <a:gd name="connsiteY87" fmla="*/ 814328 h 1203286"/>
                  <a:gd name="connsiteX88" fmla="*/ 978474 w 1148643"/>
                  <a:gd name="connsiteY88" fmla="*/ 814328 h 1203286"/>
                  <a:gd name="connsiteX89" fmla="*/ 978474 w 1148643"/>
                  <a:gd name="connsiteY89" fmla="*/ 862948 h 1203286"/>
                  <a:gd name="connsiteX90" fmla="*/ 929854 w 1148643"/>
                  <a:gd name="connsiteY90" fmla="*/ 862948 h 1203286"/>
                  <a:gd name="connsiteX91" fmla="*/ 929854 w 1148643"/>
                  <a:gd name="connsiteY91" fmla="*/ 899413 h 1203286"/>
                  <a:gd name="connsiteX92" fmla="*/ 978474 w 1148643"/>
                  <a:gd name="connsiteY92" fmla="*/ 899413 h 1203286"/>
                  <a:gd name="connsiteX93" fmla="*/ 978474 w 1148643"/>
                  <a:gd name="connsiteY93" fmla="*/ 948033 h 1203286"/>
                  <a:gd name="connsiteX94" fmla="*/ 929854 w 1148643"/>
                  <a:gd name="connsiteY94" fmla="*/ 948033 h 1203286"/>
                  <a:gd name="connsiteX95" fmla="*/ 1063559 w 1148643"/>
                  <a:gd name="connsiteY95" fmla="*/ 692779 h 1203286"/>
                  <a:gd name="connsiteX96" fmla="*/ 1014939 w 1148643"/>
                  <a:gd name="connsiteY96" fmla="*/ 692779 h 1203286"/>
                  <a:gd name="connsiteX97" fmla="*/ 1014939 w 1148643"/>
                  <a:gd name="connsiteY97" fmla="*/ 644159 h 1203286"/>
                  <a:gd name="connsiteX98" fmla="*/ 1063559 w 1148643"/>
                  <a:gd name="connsiteY98" fmla="*/ 644159 h 1203286"/>
                  <a:gd name="connsiteX99" fmla="*/ 1014939 w 1148643"/>
                  <a:gd name="connsiteY99" fmla="*/ 729243 h 1203286"/>
                  <a:gd name="connsiteX100" fmla="*/ 1063559 w 1148643"/>
                  <a:gd name="connsiteY100" fmla="*/ 729243 h 1203286"/>
                  <a:gd name="connsiteX101" fmla="*/ 1063559 w 1148643"/>
                  <a:gd name="connsiteY101" fmla="*/ 777863 h 1203286"/>
                  <a:gd name="connsiteX102" fmla="*/ 1014939 w 1148643"/>
                  <a:gd name="connsiteY102" fmla="*/ 777863 h 1203286"/>
                  <a:gd name="connsiteX103" fmla="*/ 1014939 w 1148643"/>
                  <a:gd name="connsiteY103" fmla="*/ 814328 h 1203286"/>
                  <a:gd name="connsiteX104" fmla="*/ 1063559 w 1148643"/>
                  <a:gd name="connsiteY104" fmla="*/ 814328 h 1203286"/>
                  <a:gd name="connsiteX105" fmla="*/ 1063559 w 1148643"/>
                  <a:gd name="connsiteY105" fmla="*/ 862948 h 1203286"/>
                  <a:gd name="connsiteX106" fmla="*/ 1014939 w 1148643"/>
                  <a:gd name="connsiteY106" fmla="*/ 862948 h 1203286"/>
                  <a:gd name="connsiteX107" fmla="*/ 1014939 w 1148643"/>
                  <a:gd name="connsiteY107" fmla="*/ 899413 h 1203286"/>
                  <a:gd name="connsiteX108" fmla="*/ 1063559 w 1148643"/>
                  <a:gd name="connsiteY108" fmla="*/ 899413 h 1203286"/>
                  <a:gd name="connsiteX109" fmla="*/ 1063559 w 1148643"/>
                  <a:gd name="connsiteY109" fmla="*/ 948033 h 1203286"/>
                  <a:gd name="connsiteX110" fmla="*/ 1014939 w 1148643"/>
                  <a:gd name="connsiteY110" fmla="*/ 948033 h 1203286"/>
                  <a:gd name="connsiteX111" fmla="*/ 929854 w 1148643"/>
                  <a:gd name="connsiteY111" fmla="*/ 984498 h 1203286"/>
                  <a:gd name="connsiteX112" fmla="*/ 978474 w 1148643"/>
                  <a:gd name="connsiteY112" fmla="*/ 984498 h 1203286"/>
                  <a:gd name="connsiteX113" fmla="*/ 978474 w 1148643"/>
                  <a:gd name="connsiteY113" fmla="*/ 1033117 h 1203286"/>
                  <a:gd name="connsiteX114" fmla="*/ 929854 w 1148643"/>
                  <a:gd name="connsiteY114" fmla="*/ 1033117 h 1203286"/>
                  <a:gd name="connsiteX115" fmla="*/ 893389 w 1148643"/>
                  <a:gd name="connsiteY115" fmla="*/ 862948 h 1203286"/>
                  <a:gd name="connsiteX116" fmla="*/ 844770 w 1148643"/>
                  <a:gd name="connsiteY116" fmla="*/ 862948 h 1203286"/>
                  <a:gd name="connsiteX117" fmla="*/ 844770 w 1148643"/>
                  <a:gd name="connsiteY117" fmla="*/ 814328 h 1203286"/>
                  <a:gd name="connsiteX118" fmla="*/ 893389 w 1148643"/>
                  <a:gd name="connsiteY118" fmla="*/ 814328 h 1203286"/>
                  <a:gd name="connsiteX119" fmla="*/ 893389 w 1148643"/>
                  <a:gd name="connsiteY119" fmla="*/ 948033 h 1203286"/>
                  <a:gd name="connsiteX120" fmla="*/ 844770 w 1148643"/>
                  <a:gd name="connsiteY120" fmla="*/ 948033 h 1203286"/>
                  <a:gd name="connsiteX121" fmla="*/ 844770 w 1148643"/>
                  <a:gd name="connsiteY121" fmla="*/ 899413 h 1203286"/>
                  <a:gd name="connsiteX122" fmla="*/ 893389 w 1148643"/>
                  <a:gd name="connsiteY122" fmla="*/ 899413 h 1203286"/>
                  <a:gd name="connsiteX123" fmla="*/ 844770 w 1148643"/>
                  <a:gd name="connsiteY123" fmla="*/ 984498 h 1203286"/>
                  <a:gd name="connsiteX124" fmla="*/ 893389 w 1148643"/>
                  <a:gd name="connsiteY124" fmla="*/ 984498 h 1203286"/>
                  <a:gd name="connsiteX125" fmla="*/ 893389 w 1148643"/>
                  <a:gd name="connsiteY125" fmla="*/ 1033117 h 1203286"/>
                  <a:gd name="connsiteX126" fmla="*/ 844770 w 1148643"/>
                  <a:gd name="connsiteY126" fmla="*/ 1033117 h 1203286"/>
                  <a:gd name="connsiteX127" fmla="*/ 1014939 w 1148643"/>
                  <a:gd name="connsiteY127" fmla="*/ 984498 h 1203286"/>
                  <a:gd name="connsiteX128" fmla="*/ 1063559 w 1148643"/>
                  <a:gd name="connsiteY128" fmla="*/ 984498 h 1203286"/>
                  <a:gd name="connsiteX129" fmla="*/ 1063559 w 1148643"/>
                  <a:gd name="connsiteY129" fmla="*/ 1033117 h 1203286"/>
                  <a:gd name="connsiteX130" fmla="*/ 1014939 w 1148643"/>
                  <a:gd name="connsiteY130" fmla="*/ 1033117 h 1203286"/>
                  <a:gd name="connsiteX131" fmla="*/ 1148644 w 1148643"/>
                  <a:gd name="connsiteY131" fmla="*/ 473989 h 1203286"/>
                  <a:gd name="connsiteX132" fmla="*/ 1148644 w 1148643"/>
                  <a:gd name="connsiteY132" fmla="*/ 1203287 h 1203286"/>
                  <a:gd name="connsiteX133" fmla="*/ 844770 w 1148643"/>
                  <a:gd name="connsiteY133" fmla="*/ 1203287 h 1203286"/>
                  <a:gd name="connsiteX134" fmla="*/ 844770 w 1148643"/>
                  <a:gd name="connsiteY134" fmla="*/ 1154667 h 1203286"/>
                  <a:gd name="connsiteX135" fmla="*/ 929854 w 1148643"/>
                  <a:gd name="connsiteY135" fmla="*/ 1154667 h 1203286"/>
                  <a:gd name="connsiteX136" fmla="*/ 929854 w 1148643"/>
                  <a:gd name="connsiteY136" fmla="*/ 1087815 h 1203286"/>
                  <a:gd name="connsiteX137" fmla="*/ 978474 w 1148643"/>
                  <a:gd name="connsiteY137" fmla="*/ 1087815 h 1203286"/>
                  <a:gd name="connsiteX138" fmla="*/ 978474 w 1148643"/>
                  <a:gd name="connsiteY138" fmla="*/ 1154667 h 1203286"/>
                  <a:gd name="connsiteX139" fmla="*/ 1100024 w 1148643"/>
                  <a:gd name="connsiteY139" fmla="*/ 1154667 h 1203286"/>
                  <a:gd name="connsiteX140" fmla="*/ 1100024 w 1148643"/>
                  <a:gd name="connsiteY140" fmla="*/ 534764 h 1203286"/>
                  <a:gd name="connsiteX141" fmla="*/ 844770 w 1148643"/>
                  <a:gd name="connsiteY141" fmla="*/ 593959 h 1203286"/>
                  <a:gd name="connsiteX142" fmla="*/ 844770 w 1148643"/>
                  <a:gd name="connsiteY142" fmla="*/ 544063 h 1203286"/>
                  <a:gd name="connsiteX143" fmla="*/ 212712 w 1148643"/>
                  <a:gd name="connsiteY143" fmla="*/ 1154667 h 1203286"/>
                  <a:gd name="connsiteX144" fmla="*/ 303874 w 1148643"/>
                  <a:gd name="connsiteY144" fmla="*/ 1154667 h 1203286"/>
                  <a:gd name="connsiteX145" fmla="*/ 303874 w 1148643"/>
                  <a:gd name="connsiteY145" fmla="*/ 1203287 h 1203286"/>
                  <a:gd name="connsiteX146" fmla="*/ 0 w 1148643"/>
                  <a:gd name="connsiteY146" fmla="*/ 1203287 h 1203286"/>
                  <a:gd name="connsiteX147" fmla="*/ 0 w 1148643"/>
                  <a:gd name="connsiteY147" fmla="*/ 644159 h 1203286"/>
                  <a:gd name="connsiteX148" fmla="*/ 297796 w 1148643"/>
                  <a:gd name="connsiteY148" fmla="*/ 644159 h 1203286"/>
                  <a:gd name="connsiteX149" fmla="*/ 297796 w 1148643"/>
                  <a:gd name="connsiteY149" fmla="*/ 692779 h 1203286"/>
                  <a:gd name="connsiteX150" fmla="*/ 48620 w 1148643"/>
                  <a:gd name="connsiteY150" fmla="*/ 692779 h 1203286"/>
                  <a:gd name="connsiteX151" fmla="*/ 48620 w 1148643"/>
                  <a:gd name="connsiteY151" fmla="*/ 1154667 h 1203286"/>
                  <a:gd name="connsiteX152" fmla="*/ 164092 w 1148643"/>
                  <a:gd name="connsiteY152" fmla="*/ 1154667 h 1203286"/>
                  <a:gd name="connsiteX153" fmla="*/ 164092 w 1148643"/>
                  <a:gd name="connsiteY153" fmla="*/ 1087815 h 1203286"/>
                  <a:gd name="connsiteX154" fmla="*/ 212712 w 1148643"/>
                  <a:gd name="connsiteY154" fmla="*/ 1087815 h 1203286"/>
                  <a:gd name="connsiteX155" fmla="*/ 875582 w 1148643"/>
                  <a:gd name="connsiteY155" fmla="*/ 209254 h 1203286"/>
                  <a:gd name="connsiteX156" fmla="*/ 826537 w 1148643"/>
                  <a:gd name="connsiteY156" fmla="*/ 189077 h 1203286"/>
                  <a:gd name="connsiteX157" fmla="*/ 752878 w 1148643"/>
                  <a:gd name="connsiteY157" fmla="*/ 131766 h 1203286"/>
                  <a:gd name="connsiteX158" fmla="*/ 551398 w 1148643"/>
                  <a:gd name="connsiteY158" fmla="*/ 64334 h 1203286"/>
                  <a:gd name="connsiteX159" fmla="*/ 508260 w 1148643"/>
                  <a:gd name="connsiteY159" fmla="*/ 96639 h 1203286"/>
                  <a:gd name="connsiteX160" fmla="*/ 421230 w 1148643"/>
                  <a:gd name="connsiteY160" fmla="*/ 129275 h 1203286"/>
                  <a:gd name="connsiteX161" fmla="*/ 300288 w 1148643"/>
                  <a:gd name="connsiteY161" fmla="*/ 219708 h 1203286"/>
                  <a:gd name="connsiteX162" fmla="*/ 244679 w 1148643"/>
                  <a:gd name="connsiteY162" fmla="*/ 293853 h 1203286"/>
                  <a:gd name="connsiteX163" fmla="*/ 161114 w 1148643"/>
                  <a:gd name="connsiteY163" fmla="*/ 401060 h 1203286"/>
                  <a:gd name="connsiteX164" fmla="*/ 297796 w 1148643"/>
                  <a:gd name="connsiteY164" fmla="*/ 401060 h 1203286"/>
                  <a:gd name="connsiteX165" fmla="*/ 297796 w 1148643"/>
                  <a:gd name="connsiteY165" fmla="*/ 449679 h 1203286"/>
                  <a:gd name="connsiteX166" fmla="*/ 106660 w 1148643"/>
                  <a:gd name="connsiteY166" fmla="*/ 449679 h 1203286"/>
                  <a:gd name="connsiteX167" fmla="*/ 108605 w 1148643"/>
                  <a:gd name="connsiteY167" fmla="*/ 423546 h 1203286"/>
                  <a:gd name="connsiteX168" fmla="*/ 222071 w 1148643"/>
                  <a:gd name="connsiteY168" fmla="*/ 250824 h 1203286"/>
                  <a:gd name="connsiteX169" fmla="*/ 252458 w 1148643"/>
                  <a:gd name="connsiteY169" fmla="*/ 210348 h 1203286"/>
                  <a:gd name="connsiteX170" fmla="*/ 425667 w 1148643"/>
                  <a:gd name="connsiteY170" fmla="*/ 80898 h 1203286"/>
                  <a:gd name="connsiteX171" fmla="*/ 472402 w 1148643"/>
                  <a:gd name="connsiteY171" fmla="*/ 63577 h 1203286"/>
                  <a:gd name="connsiteX172" fmla="*/ 753516 w 1148643"/>
                  <a:gd name="connsiteY172" fmla="*/ 53141 h 1203286"/>
                  <a:gd name="connsiteX173" fmla="*/ 796150 w 1148643"/>
                  <a:gd name="connsiteY173" fmla="*/ 110070 h 1203286"/>
                  <a:gd name="connsiteX174" fmla="*/ 836808 w 1148643"/>
                  <a:gd name="connsiteY174" fmla="*/ 141551 h 1203286"/>
                  <a:gd name="connsiteX175" fmla="*/ 991887 w 1148643"/>
                  <a:gd name="connsiteY175" fmla="*/ 384353 h 1203286"/>
                  <a:gd name="connsiteX176" fmla="*/ 972397 w 1148643"/>
                  <a:gd name="connsiteY176" fmla="*/ 436917 h 1203286"/>
                  <a:gd name="connsiteX177" fmla="*/ 965529 w 1148643"/>
                  <a:gd name="connsiteY177" fmla="*/ 449679 h 1203286"/>
                  <a:gd name="connsiteX178" fmla="*/ 844770 w 1148643"/>
                  <a:gd name="connsiteY178" fmla="*/ 449679 h 1203286"/>
                  <a:gd name="connsiteX179" fmla="*/ 844770 w 1148643"/>
                  <a:gd name="connsiteY179" fmla="*/ 401060 h 1203286"/>
                  <a:gd name="connsiteX180" fmla="*/ 935567 w 1148643"/>
                  <a:gd name="connsiteY180" fmla="*/ 401060 h 1203286"/>
                  <a:gd name="connsiteX181" fmla="*/ 875582 w 1148643"/>
                  <a:gd name="connsiteY181" fmla="*/ 209254 h 120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148643" h="1203286">
                    <a:moveTo>
                      <a:pt x="334261" y="1203287"/>
                    </a:moveTo>
                    <a:lnTo>
                      <a:pt x="808305" y="1203287"/>
                    </a:lnTo>
                    <a:lnTo>
                      <a:pt x="808305" y="243045"/>
                    </a:lnTo>
                    <a:lnTo>
                      <a:pt x="334261" y="243045"/>
                    </a:lnTo>
                    <a:close/>
                    <a:moveTo>
                      <a:pt x="382881" y="291665"/>
                    </a:moveTo>
                    <a:lnTo>
                      <a:pt x="759685" y="291665"/>
                    </a:lnTo>
                    <a:lnTo>
                      <a:pt x="759685" y="1154667"/>
                    </a:lnTo>
                    <a:lnTo>
                      <a:pt x="382881" y="1154667"/>
                    </a:lnTo>
                    <a:close/>
                    <a:moveTo>
                      <a:pt x="419346" y="328130"/>
                    </a:moveTo>
                    <a:lnTo>
                      <a:pt x="723220" y="328130"/>
                    </a:lnTo>
                    <a:lnTo>
                      <a:pt x="723220" y="376750"/>
                    </a:lnTo>
                    <a:lnTo>
                      <a:pt x="419346" y="376750"/>
                    </a:lnTo>
                    <a:close/>
                    <a:moveTo>
                      <a:pt x="686755" y="413214"/>
                    </a:moveTo>
                    <a:lnTo>
                      <a:pt x="455811" y="413214"/>
                    </a:lnTo>
                    <a:lnTo>
                      <a:pt x="455811" y="455757"/>
                    </a:lnTo>
                    <a:lnTo>
                      <a:pt x="419346" y="455757"/>
                    </a:lnTo>
                    <a:lnTo>
                      <a:pt x="419346" y="504377"/>
                    </a:lnTo>
                    <a:lnTo>
                      <a:pt x="455811" y="504377"/>
                    </a:lnTo>
                    <a:lnTo>
                      <a:pt x="455811" y="546919"/>
                    </a:lnTo>
                    <a:lnTo>
                      <a:pt x="686755" y="546919"/>
                    </a:lnTo>
                    <a:lnTo>
                      <a:pt x="686755" y="504377"/>
                    </a:lnTo>
                    <a:lnTo>
                      <a:pt x="723220" y="504377"/>
                    </a:lnTo>
                    <a:lnTo>
                      <a:pt x="723220" y="455757"/>
                    </a:lnTo>
                    <a:lnTo>
                      <a:pt x="686755" y="455757"/>
                    </a:lnTo>
                    <a:close/>
                    <a:moveTo>
                      <a:pt x="638135" y="498299"/>
                    </a:moveTo>
                    <a:lnTo>
                      <a:pt x="504431" y="498299"/>
                    </a:lnTo>
                    <a:lnTo>
                      <a:pt x="504431" y="461834"/>
                    </a:lnTo>
                    <a:lnTo>
                      <a:pt x="638135" y="461834"/>
                    </a:lnTo>
                    <a:close/>
                    <a:moveTo>
                      <a:pt x="419346" y="583384"/>
                    </a:moveTo>
                    <a:lnTo>
                      <a:pt x="723220" y="583384"/>
                    </a:lnTo>
                    <a:lnTo>
                      <a:pt x="723220" y="632004"/>
                    </a:lnTo>
                    <a:lnTo>
                      <a:pt x="419346" y="632004"/>
                    </a:lnTo>
                    <a:close/>
                    <a:moveTo>
                      <a:pt x="419346" y="668469"/>
                    </a:moveTo>
                    <a:lnTo>
                      <a:pt x="723220" y="668469"/>
                    </a:lnTo>
                    <a:lnTo>
                      <a:pt x="723220" y="717088"/>
                    </a:lnTo>
                    <a:lnTo>
                      <a:pt x="419346" y="717088"/>
                    </a:lnTo>
                    <a:close/>
                    <a:moveTo>
                      <a:pt x="593344" y="1035001"/>
                    </a:moveTo>
                    <a:cubicBezTo>
                      <a:pt x="610702" y="1034764"/>
                      <a:pt x="627804" y="1030784"/>
                      <a:pt x="643484" y="1023333"/>
                    </a:cubicBezTo>
                    <a:lnTo>
                      <a:pt x="643484" y="1068549"/>
                    </a:lnTo>
                    <a:cubicBezTo>
                      <a:pt x="635212" y="1072736"/>
                      <a:pt x="626485" y="1075958"/>
                      <a:pt x="617472" y="1078152"/>
                    </a:cubicBezTo>
                    <a:cubicBezTo>
                      <a:pt x="606982" y="1080637"/>
                      <a:pt x="596225" y="1081847"/>
                      <a:pt x="585444" y="1081737"/>
                    </a:cubicBezTo>
                    <a:cubicBezTo>
                      <a:pt x="547520" y="1081737"/>
                      <a:pt x="518938" y="1069582"/>
                      <a:pt x="499690" y="1045272"/>
                    </a:cubicBezTo>
                    <a:cubicBezTo>
                      <a:pt x="480443" y="1020962"/>
                      <a:pt x="470841" y="986035"/>
                      <a:pt x="470883" y="940497"/>
                    </a:cubicBezTo>
                    <a:cubicBezTo>
                      <a:pt x="470883" y="907070"/>
                      <a:pt x="475666" y="879886"/>
                      <a:pt x="485226" y="858937"/>
                    </a:cubicBezTo>
                    <a:cubicBezTo>
                      <a:pt x="493297" y="839653"/>
                      <a:pt x="507190" y="823377"/>
                      <a:pt x="524973" y="812383"/>
                    </a:cubicBezTo>
                    <a:cubicBezTo>
                      <a:pt x="542889" y="802094"/>
                      <a:pt x="563267" y="796880"/>
                      <a:pt x="583924" y="797311"/>
                    </a:cubicBezTo>
                    <a:cubicBezTo>
                      <a:pt x="594700" y="797184"/>
                      <a:pt x="605445" y="798326"/>
                      <a:pt x="615953" y="800715"/>
                    </a:cubicBezTo>
                    <a:cubicBezTo>
                      <a:pt x="622936" y="802100"/>
                      <a:pt x="629676" y="804513"/>
                      <a:pt x="635947" y="807886"/>
                    </a:cubicBezTo>
                    <a:lnTo>
                      <a:pt x="635947" y="853102"/>
                    </a:lnTo>
                    <a:cubicBezTo>
                      <a:pt x="629603" y="850386"/>
                      <a:pt x="623039" y="848228"/>
                      <a:pt x="616317" y="846660"/>
                    </a:cubicBezTo>
                    <a:cubicBezTo>
                      <a:pt x="608793" y="844880"/>
                      <a:pt x="601081" y="844004"/>
                      <a:pt x="593344" y="844047"/>
                    </a:cubicBezTo>
                    <a:cubicBezTo>
                      <a:pt x="574091" y="842929"/>
                      <a:pt x="555579" y="851650"/>
                      <a:pt x="544177" y="867202"/>
                    </a:cubicBezTo>
                    <a:cubicBezTo>
                      <a:pt x="532995" y="882639"/>
                      <a:pt x="527404" y="906688"/>
                      <a:pt x="527404" y="939342"/>
                    </a:cubicBezTo>
                    <a:cubicBezTo>
                      <a:pt x="527404" y="969772"/>
                      <a:pt x="532673" y="993328"/>
                      <a:pt x="543205" y="1010023"/>
                    </a:cubicBezTo>
                    <a:cubicBezTo>
                      <a:pt x="553737" y="1026718"/>
                      <a:pt x="570450" y="1035044"/>
                      <a:pt x="593344" y="1035001"/>
                    </a:cubicBezTo>
                    <a:close/>
                    <a:moveTo>
                      <a:pt x="297796" y="777863"/>
                    </a:moveTo>
                    <a:lnTo>
                      <a:pt x="85085" y="777863"/>
                    </a:lnTo>
                    <a:lnTo>
                      <a:pt x="85085" y="729243"/>
                    </a:lnTo>
                    <a:lnTo>
                      <a:pt x="297796" y="729243"/>
                    </a:lnTo>
                    <a:close/>
                    <a:moveTo>
                      <a:pt x="297796" y="862948"/>
                    </a:moveTo>
                    <a:lnTo>
                      <a:pt x="85085" y="862948"/>
                    </a:lnTo>
                    <a:lnTo>
                      <a:pt x="85085" y="814328"/>
                    </a:lnTo>
                    <a:lnTo>
                      <a:pt x="297796" y="814328"/>
                    </a:lnTo>
                    <a:close/>
                    <a:moveTo>
                      <a:pt x="297796" y="948033"/>
                    </a:moveTo>
                    <a:lnTo>
                      <a:pt x="85085" y="948033"/>
                    </a:lnTo>
                    <a:lnTo>
                      <a:pt x="85085" y="899413"/>
                    </a:lnTo>
                    <a:lnTo>
                      <a:pt x="297796" y="899413"/>
                    </a:lnTo>
                    <a:close/>
                    <a:moveTo>
                      <a:pt x="85085" y="984498"/>
                    </a:moveTo>
                    <a:lnTo>
                      <a:pt x="297796" y="984498"/>
                    </a:lnTo>
                    <a:lnTo>
                      <a:pt x="297796" y="1033117"/>
                    </a:lnTo>
                    <a:lnTo>
                      <a:pt x="85085" y="1033117"/>
                    </a:lnTo>
                    <a:close/>
                    <a:moveTo>
                      <a:pt x="893389" y="692779"/>
                    </a:moveTo>
                    <a:lnTo>
                      <a:pt x="844770" y="692779"/>
                    </a:lnTo>
                    <a:lnTo>
                      <a:pt x="844770" y="644159"/>
                    </a:lnTo>
                    <a:lnTo>
                      <a:pt x="893389" y="644159"/>
                    </a:lnTo>
                    <a:close/>
                    <a:moveTo>
                      <a:pt x="893389" y="777863"/>
                    </a:moveTo>
                    <a:lnTo>
                      <a:pt x="844770" y="777863"/>
                    </a:lnTo>
                    <a:lnTo>
                      <a:pt x="844770" y="729243"/>
                    </a:lnTo>
                    <a:lnTo>
                      <a:pt x="893389" y="729243"/>
                    </a:lnTo>
                    <a:close/>
                    <a:moveTo>
                      <a:pt x="978474" y="692779"/>
                    </a:moveTo>
                    <a:lnTo>
                      <a:pt x="929854" y="692779"/>
                    </a:lnTo>
                    <a:lnTo>
                      <a:pt x="929854" y="644159"/>
                    </a:lnTo>
                    <a:lnTo>
                      <a:pt x="978474" y="644159"/>
                    </a:lnTo>
                    <a:close/>
                    <a:moveTo>
                      <a:pt x="929854" y="729243"/>
                    </a:moveTo>
                    <a:lnTo>
                      <a:pt x="978474" y="729243"/>
                    </a:lnTo>
                    <a:lnTo>
                      <a:pt x="978474" y="777863"/>
                    </a:lnTo>
                    <a:lnTo>
                      <a:pt x="929854" y="777863"/>
                    </a:lnTo>
                    <a:close/>
                    <a:moveTo>
                      <a:pt x="929854" y="814328"/>
                    </a:moveTo>
                    <a:lnTo>
                      <a:pt x="978474" y="814328"/>
                    </a:lnTo>
                    <a:lnTo>
                      <a:pt x="978474" y="862948"/>
                    </a:lnTo>
                    <a:lnTo>
                      <a:pt x="929854" y="862948"/>
                    </a:lnTo>
                    <a:close/>
                    <a:moveTo>
                      <a:pt x="929854" y="899413"/>
                    </a:moveTo>
                    <a:lnTo>
                      <a:pt x="978474" y="899413"/>
                    </a:lnTo>
                    <a:lnTo>
                      <a:pt x="978474" y="948033"/>
                    </a:lnTo>
                    <a:lnTo>
                      <a:pt x="929854" y="948033"/>
                    </a:lnTo>
                    <a:close/>
                    <a:moveTo>
                      <a:pt x="1063559" y="692779"/>
                    </a:moveTo>
                    <a:lnTo>
                      <a:pt x="1014939" y="692779"/>
                    </a:lnTo>
                    <a:lnTo>
                      <a:pt x="1014939" y="644159"/>
                    </a:lnTo>
                    <a:lnTo>
                      <a:pt x="1063559" y="644159"/>
                    </a:lnTo>
                    <a:close/>
                    <a:moveTo>
                      <a:pt x="1014939" y="729243"/>
                    </a:moveTo>
                    <a:lnTo>
                      <a:pt x="1063559" y="729243"/>
                    </a:lnTo>
                    <a:lnTo>
                      <a:pt x="1063559" y="777863"/>
                    </a:lnTo>
                    <a:lnTo>
                      <a:pt x="1014939" y="777863"/>
                    </a:lnTo>
                    <a:close/>
                    <a:moveTo>
                      <a:pt x="1014939" y="814328"/>
                    </a:moveTo>
                    <a:lnTo>
                      <a:pt x="1063559" y="814328"/>
                    </a:lnTo>
                    <a:lnTo>
                      <a:pt x="1063559" y="862948"/>
                    </a:lnTo>
                    <a:lnTo>
                      <a:pt x="1014939" y="862948"/>
                    </a:lnTo>
                    <a:close/>
                    <a:moveTo>
                      <a:pt x="1014939" y="899413"/>
                    </a:moveTo>
                    <a:lnTo>
                      <a:pt x="1063559" y="899413"/>
                    </a:lnTo>
                    <a:lnTo>
                      <a:pt x="1063559" y="948033"/>
                    </a:lnTo>
                    <a:lnTo>
                      <a:pt x="1014939" y="948033"/>
                    </a:lnTo>
                    <a:close/>
                    <a:moveTo>
                      <a:pt x="929854" y="984498"/>
                    </a:moveTo>
                    <a:lnTo>
                      <a:pt x="978474" y="984498"/>
                    </a:lnTo>
                    <a:lnTo>
                      <a:pt x="978474" y="1033117"/>
                    </a:lnTo>
                    <a:lnTo>
                      <a:pt x="929854" y="1033117"/>
                    </a:lnTo>
                    <a:close/>
                    <a:moveTo>
                      <a:pt x="893389" y="862948"/>
                    </a:moveTo>
                    <a:lnTo>
                      <a:pt x="844770" y="862948"/>
                    </a:lnTo>
                    <a:lnTo>
                      <a:pt x="844770" y="814328"/>
                    </a:lnTo>
                    <a:lnTo>
                      <a:pt x="893389" y="814328"/>
                    </a:lnTo>
                    <a:close/>
                    <a:moveTo>
                      <a:pt x="893389" y="948033"/>
                    </a:moveTo>
                    <a:lnTo>
                      <a:pt x="844770" y="948033"/>
                    </a:lnTo>
                    <a:lnTo>
                      <a:pt x="844770" y="899413"/>
                    </a:lnTo>
                    <a:lnTo>
                      <a:pt x="893389" y="899413"/>
                    </a:lnTo>
                    <a:close/>
                    <a:moveTo>
                      <a:pt x="844770" y="984498"/>
                    </a:moveTo>
                    <a:lnTo>
                      <a:pt x="893389" y="984498"/>
                    </a:lnTo>
                    <a:lnTo>
                      <a:pt x="893389" y="1033117"/>
                    </a:lnTo>
                    <a:lnTo>
                      <a:pt x="844770" y="1033117"/>
                    </a:lnTo>
                    <a:close/>
                    <a:moveTo>
                      <a:pt x="1014939" y="984498"/>
                    </a:moveTo>
                    <a:lnTo>
                      <a:pt x="1063559" y="984498"/>
                    </a:lnTo>
                    <a:lnTo>
                      <a:pt x="1063559" y="1033117"/>
                    </a:lnTo>
                    <a:lnTo>
                      <a:pt x="1014939" y="1033117"/>
                    </a:lnTo>
                    <a:close/>
                    <a:moveTo>
                      <a:pt x="1148644" y="473989"/>
                    </a:moveTo>
                    <a:lnTo>
                      <a:pt x="1148644" y="1203287"/>
                    </a:lnTo>
                    <a:lnTo>
                      <a:pt x="844770" y="1203287"/>
                    </a:lnTo>
                    <a:lnTo>
                      <a:pt x="844770" y="1154667"/>
                    </a:lnTo>
                    <a:lnTo>
                      <a:pt x="929854" y="1154667"/>
                    </a:lnTo>
                    <a:lnTo>
                      <a:pt x="929854" y="1087815"/>
                    </a:lnTo>
                    <a:lnTo>
                      <a:pt x="978474" y="1087815"/>
                    </a:lnTo>
                    <a:lnTo>
                      <a:pt x="978474" y="1154667"/>
                    </a:lnTo>
                    <a:lnTo>
                      <a:pt x="1100024" y="1154667"/>
                    </a:lnTo>
                    <a:lnTo>
                      <a:pt x="1100024" y="534764"/>
                    </a:lnTo>
                    <a:lnTo>
                      <a:pt x="844770" y="593959"/>
                    </a:lnTo>
                    <a:lnTo>
                      <a:pt x="844770" y="544063"/>
                    </a:lnTo>
                    <a:close/>
                    <a:moveTo>
                      <a:pt x="212712" y="1154667"/>
                    </a:moveTo>
                    <a:lnTo>
                      <a:pt x="303874" y="1154667"/>
                    </a:lnTo>
                    <a:lnTo>
                      <a:pt x="303874" y="1203287"/>
                    </a:lnTo>
                    <a:lnTo>
                      <a:pt x="0" y="1203287"/>
                    </a:lnTo>
                    <a:lnTo>
                      <a:pt x="0" y="644159"/>
                    </a:lnTo>
                    <a:lnTo>
                      <a:pt x="297796" y="644159"/>
                    </a:lnTo>
                    <a:lnTo>
                      <a:pt x="297796" y="692779"/>
                    </a:lnTo>
                    <a:lnTo>
                      <a:pt x="48620" y="692779"/>
                    </a:lnTo>
                    <a:lnTo>
                      <a:pt x="48620" y="1154667"/>
                    </a:lnTo>
                    <a:lnTo>
                      <a:pt x="164092" y="1154667"/>
                    </a:lnTo>
                    <a:lnTo>
                      <a:pt x="164092" y="1087815"/>
                    </a:lnTo>
                    <a:lnTo>
                      <a:pt x="212712" y="1087815"/>
                    </a:lnTo>
                    <a:close/>
                    <a:moveTo>
                      <a:pt x="875582" y="209254"/>
                    </a:moveTo>
                    <a:cubicBezTo>
                      <a:pt x="860516" y="199757"/>
                      <a:pt x="843925" y="192931"/>
                      <a:pt x="826537" y="189077"/>
                    </a:cubicBezTo>
                    <a:cubicBezTo>
                      <a:pt x="794576" y="182108"/>
                      <a:pt x="767488" y="161035"/>
                      <a:pt x="752878" y="131766"/>
                    </a:cubicBezTo>
                    <a:cubicBezTo>
                      <a:pt x="715860" y="57508"/>
                      <a:pt x="625658" y="27318"/>
                      <a:pt x="551398" y="64334"/>
                    </a:cubicBezTo>
                    <a:cubicBezTo>
                      <a:pt x="535189" y="72414"/>
                      <a:pt x="520573" y="83358"/>
                      <a:pt x="508260" y="96639"/>
                    </a:cubicBezTo>
                    <a:cubicBezTo>
                      <a:pt x="485973" y="120566"/>
                      <a:pt x="453751" y="132649"/>
                      <a:pt x="421230" y="129275"/>
                    </a:cubicBezTo>
                    <a:cubicBezTo>
                      <a:pt x="363682" y="123919"/>
                      <a:pt x="311422" y="162995"/>
                      <a:pt x="300288" y="219708"/>
                    </a:cubicBezTo>
                    <a:cubicBezTo>
                      <a:pt x="293970" y="251583"/>
                      <a:pt x="273511" y="278862"/>
                      <a:pt x="244679" y="293853"/>
                    </a:cubicBezTo>
                    <a:cubicBezTo>
                      <a:pt x="202595" y="315779"/>
                      <a:pt x="172103" y="354895"/>
                      <a:pt x="161114" y="401060"/>
                    </a:cubicBezTo>
                    <a:lnTo>
                      <a:pt x="297796" y="401060"/>
                    </a:lnTo>
                    <a:lnTo>
                      <a:pt x="297796" y="449679"/>
                    </a:lnTo>
                    <a:lnTo>
                      <a:pt x="106660" y="449679"/>
                    </a:lnTo>
                    <a:lnTo>
                      <a:pt x="108605" y="423546"/>
                    </a:lnTo>
                    <a:cubicBezTo>
                      <a:pt x="113878" y="350179"/>
                      <a:pt x="156829" y="284797"/>
                      <a:pt x="222071" y="250824"/>
                    </a:cubicBezTo>
                    <a:cubicBezTo>
                      <a:pt x="237806" y="242629"/>
                      <a:pt x="248980" y="227745"/>
                      <a:pt x="252458" y="210348"/>
                    </a:cubicBezTo>
                    <a:cubicBezTo>
                      <a:pt x="268338" y="129091"/>
                      <a:pt x="343238" y="73112"/>
                      <a:pt x="425667" y="80898"/>
                    </a:cubicBezTo>
                    <a:cubicBezTo>
                      <a:pt x="443097" y="82762"/>
                      <a:pt x="460393" y="76351"/>
                      <a:pt x="472402" y="63577"/>
                    </a:cubicBezTo>
                    <a:cubicBezTo>
                      <a:pt x="547149" y="-16933"/>
                      <a:pt x="673008" y="-21605"/>
                      <a:pt x="753516" y="53141"/>
                    </a:cubicBezTo>
                    <a:cubicBezTo>
                      <a:pt x="771032" y="69402"/>
                      <a:pt x="785478" y="88686"/>
                      <a:pt x="796150" y="110070"/>
                    </a:cubicBezTo>
                    <a:cubicBezTo>
                      <a:pt x="804209" y="126204"/>
                      <a:pt x="819171" y="137791"/>
                      <a:pt x="836808" y="141551"/>
                    </a:cubicBezTo>
                    <a:cubicBezTo>
                      <a:pt x="946677" y="165775"/>
                      <a:pt x="1016112" y="274481"/>
                      <a:pt x="991887" y="384353"/>
                    </a:cubicBezTo>
                    <a:cubicBezTo>
                      <a:pt x="987840" y="402688"/>
                      <a:pt x="981282" y="420380"/>
                      <a:pt x="972397" y="436917"/>
                    </a:cubicBezTo>
                    <a:lnTo>
                      <a:pt x="965529" y="449679"/>
                    </a:lnTo>
                    <a:lnTo>
                      <a:pt x="844770" y="449679"/>
                    </a:lnTo>
                    <a:lnTo>
                      <a:pt x="844770" y="401060"/>
                    </a:lnTo>
                    <a:lnTo>
                      <a:pt x="935567" y="401060"/>
                    </a:lnTo>
                    <a:cubicBezTo>
                      <a:pt x="965164" y="331058"/>
                      <a:pt x="939791" y="249919"/>
                      <a:pt x="875582" y="209254"/>
                    </a:cubicBezTo>
                    <a:close/>
                  </a:path>
                </a:pathLst>
              </a:custGeom>
              <a:solidFill>
                <a:schemeClr val="bg1">
                  <a:lumMod val="10000"/>
                </a:schemeClr>
              </a:solidFill>
              <a:ln w="51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12D2A"/>
                  </a:solidFill>
                  <a:effectLst/>
                  <a:uLnTx/>
                  <a:uFillTx/>
                  <a:latin typeface="Oracle Sans"/>
                  <a:cs typeface="Arial"/>
                </a:endParaRPr>
              </a:p>
            </p:txBody>
          </p:sp>
        </p:grpSp>
        <p:sp>
          <p:nvSpPr>
            <p:cNvPr id="30" name="TextBox 29">
              <a:extLst>
                <a:ext uri="{FF2B5EF4-FFF2-40B4-BE49-F238E27FC236}">
                  <a16:creationId xmlns:a16="http://schemas.microsoft.com/office/drawing/2014/main" id="{5574D690-D0A0-E745-99F8-D024EFC7CB86}"/>
                </a:ext>
              </a:extLst>
            </p:cNvPr>
            <p:cNvSpPr txBox="1"/>
            <p:nvPr/>
          </p:nvSpPr>
          <p:spPr>
            <a:xfrm>
              <a:off x="8514890" y="1505603"/>
              <a:ext cx="1741105" cy="5789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12D2A"/>
                  </a:solidFill>
                  <a:effectLst/>
                  <a:uLnTx/>
                  <a:uFillTx/>
                  <a:latin typeface="Oracle Sans"/>
                  <a:cs typeface="Arial"/>
                </a:rPr>
                <a:t>Shared</a:t>
              </a:r>
              <a:br>
                <a:rPr kumimoji="0" lang="en-US" sz="1200" b="1" i="0" u="none" strike="noStrike" kern="1200" cap="none" spc="0" normalizeH="0" baseline="0" noProof="0">
                  <a:ln>
                    <a:noFill/>
                  </a:ln>
                  <a:solidFill>
                    <a:srgbClr val="312D2A"/>
                  </a:solidFill>
                  <a:effectLst/>
                  <a:uLnTx/>
                  <a:uFillTx/>
                  <a:latin typeface="Oracle Sans"/>
                  <a:cs typeface="Arial"/>
                </a:rPr>
              </a:br>
              <a:r>
                <a:rPr kumimoji="0" lang="en-US" sz="1200" b="1" i="0" u="none" strike="noStrike" kern="1200" cap="none" spc="0" normalizeH="0" baseline="0" noProof="0">
                  <a:ln>
                    <a:noFill/>
                  </a:ln>
                  <a:solidFill>
                    <a:srgbClr val="312D2A"/>
                  </a:solidFill>
                  <a:effectLst/>
                  <a:uLnTx/>
                  <a:uFillTx/>
                  <a:latin typeface="Oracle Sans"/>
                  <a:cs typeface="Arial"/>
                </a:rPr>
                <a:t>Infrastructure</a:t>
              </a:r>
            </a:p>
          </p:txBody>
        </p:sp>
        <p:sp>
          <p:nvSpPr>
            <p:cNvPr id="31" name="TextBox 30">
              <a:extLst>
                <a:ext uri="{FF2B5EF4-FFF2-40B4-BE49-F238E27FC236}">
                  <a16:creationId xmlns:a16="http://schemas.microsoft.com/office/drawing/2014/main" id="{877FFAE3-F2B5-DC4F-B79A-8189CDCAA1EC}"/>
                </a:ext>
              </a:extLst>
            </p:cNvPr>
            <p:cNvSpPr txBox="1"/>
            <p:nvPr/>
          </p:nvSpPr>
          <p:spPr>
            <a:xfrm>
              <a:off x="8514890" y="2866994"/>
              <a:ext cx="1741105" cy="5789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12D2A"/>
                  </a:solidFill>
                  <a:effectLst/>
                  <a:uLnTx/>
                  <a:uFillTx/>
                  <a:latin typeface="Oracle Sans"/>
                  <a:cs typeface="Arial"/>
                </a:rPr>
                <a:t>Dedicated</a:t>
              </a:r>
              <a:br>
                <a:rPr kumimoji="0" lang="en-US" sz="1200" b="1" i="0" u="none" strike="noStrike" kern="1200" cap="none" spc="0" normalizeH="0" baseline="0" noProof="0">
                  <a:ln>
                    <a:noFill/>
                  </a:ln>
                  <a:solidFill>
                    <a:srgbClr val="312D2A"/>
                  </a:solidFill>
                  <a:effectLst/>
                  <a:uLnTx/>
                  <a:uFillTx/>
                  <a:latin typeface="Oracle Sans"/>
                  <a:cs typeface="Arial"/>
                </a:rPr>
              </a:br>
              <a:r>
                <a:rPr kumimoji="0" lang="en-US" sz="1200" b="1" i="0" u="none" strike="noStrike" kern="1200" cap="none" spc="0" normalizeH="0" baseline="0" noProof="0">
                  <a:ln>
                    <a:noFill/>
                  </a:ln>
                  <a:solidFill>
                    <a:srgbClr val="312D2A"/>
                  </a:solidFill>
                  <a:effectLst/>
                  <a:uLnTx/>
                  <a:uFillTx/>
                  <a:latin typeface="Oracle Sans"/>
                  <a:cs typeface="Arial"/>
                </a:rPr>
                <a:t>Infrastructure</a:t>
              </a:r>
            </a:p>
          </p:txBody>
        </p:sp>
        <p:sp>
          <p:nvSpPr>
            <p:cNvPr id="40" name="Bent Arrow 39">
              <a:extLst>
                <a:ext uri="{FF2B5EF4-FFF2-40B4-BE49-F238E27FC236}">
                  <a16:creationId xmlns:a16="http://schemas.microsoft.com/office/drawing/2014/main" id="{82D5FD0D-5A4F-B84A-AE76-A9FF2F247456}"/>
                </a:ext>
              </a:extLst>
            </p:cNvPr>
            <p:cNvSpPr/>
            <p:nvPr/>
          </p:nvSpPr>
          <p:spPr>
            <a:xfrm>
              <a:off x="3110463" y="2025190"/>
              <a:ext cx="2021571" cy="752412"/>
            </a:xfrm>
            <a:prstGeom prst="bentArrow">
              <a:avLst>
                <a:gd name="adj1" fmla="val 13500"/>
                <a:gd name="adj2" fmla="val 21406"/>
                <a:gd name="adj3" fmla="val 37697"/>
                <a:gd name="adj4" fmla="val 75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12D2A"/>
                </a:solidFill>
                <a:effectLst/>
                <a:uLnTx/>
                <a:uFillTx/>
                <a:latin typeface="Oracle Sans"/>
                <a:cs typeface="Arial"/>
              </a:endParaRPr>
            </a:p>
          </p:txBody>
        </p:sp>
        <p:sp>
          <p:nvSpPr>
            <p:cNvPr id="41" name="Bent Arrow 40">
              <a:extLst>
                <a:ext uri="{FF2B5EF4-FFF2-40B4-BE49-F238E27FC236}">
                  <a16:creationId xmlns:a16="http://schemas.microsoft.com/office/drawing/2014/main" id="{C9453CBB-4697-1D4D-B6C3-CD74DA0AF810}"/>
                </a:ext>
              </a:extLst>
            </p:cNvPr>
            <p:cNvSpPr/>
            <p:nvPr/>
          </p:nvSpPr>
          <p:spPr>
            <a:xfrm flipV="1">
              <a:off x="3171832" y="4705735"/>
              <a:ext cx="2021571" cy="968191"/>
            </a:xfrm>
            <a:prstGeom prst="bentArrow">
              <a:avLst>
                <a:gd name="adj1" fmla="val 10681"/>
                <a:gd name="adj2" fmla="val 16472"/>
                <a:gd name="adj3" fmla="val 34867"/>
                <a:gd name="adj4" fmla="val 8534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12D2A"/>
                </a:solidFill>
                <a:effectLst/>
                <a:uLnTx/>
                <a:uFillTx/>
                <a:latin typeface="Oracle Sans"/>
                <a:cs typeface="Arial"/>
              </a:endParaRPr>
            </a:p>
          </p:txBody>
        </p:sp>
        <p:sp>
          <p:nvSpPr>
            <p:cNvPr id="42" name="Bent Arrow 41">
              <a:extLst>
                <a:ext uri="{FF2B5EF4-FFF2-40B4-BE49-F238E27FC236}">
                  <a16:creationId xmlns:a16="http://schemas.microsoft.com/office/drawing/2014/main" id="{32F30CD7-FFA2-3F42-BB18-07FC9B3AB768}"/>
                </a:ext>
              </a:extLst>
            </p:cNvPr>
            <p:cNvSpPr/>
            <p:nvPr/>
          </p:nvSpPr>
          <p:spPr>
            <a:xfrm flipV="1">
              <a:off x="6542830" y="2317376"/>
              <a:ext cx="1741106" cy="968191"/>
            </a:xfrm>
            <a:prstGeom prst="bentArrow">
              <a:avLst>
                <a:gd name="adj1" fmla="val 10681"/>
                <a:gd name="adj2" fmla="val 16472"/>
                <a:gd name="adj3" fmla="val 25000"/>
                <a:gd name="adj4" fmla="val 8534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12D2A"/>
                </a:solidFill>
                <a:effectLst/>
                <a:uLnTx/>
                <a:uFillTx/>
                <a:latin typeface="Oracle Sans"/>
                <a:cs typeface="Arial"/>
              </a:endParaRPr>
            </a:p>
          </p:txBody>
        </p:sp>
        <p:cxnSp>
          <p:nvCxnSpPr>
            <p:cNvPr id="44" name="Straight Arrow Connector 43">
              <a:extLst>
                <a:ext uri="{FF2B5EF4-FFF2-40B4-BE49-F238E27FC236}">
                  <a16:creationId xmlns:a16="http://schemas.microsoft.com/office/drawing/2014/main" id="{0FA6E65D-31AB-6140-8D1C-E6FC2FE4DED7}"/>
                </a:ext>
              </a:extLst>
            </p:cNvPr>
            <p:cNvCxnSpPr/>
            <p:nvPr/>
          </p:nvCxnSpPr>
          <p:spPr>
            <a:xfrm>
              <a:off x="3408519" y="3794078"/>
              <a:ext cx="1784884" cy="0"/>
            </a:xfrm>
            <a:prstGeom prst="straightConnector1">
              <a:avLst/>
            </a:prstGeom>
            <a:ln w="92075">
              <a:solidFill>
                <a:schemeClr val="bg1">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CD15899-499C-7D45-BE6B-B0EB2896508A}"/>
                </a:ext>
              </a:extLst>
            </p:cNvPr>
            <p:cNvCxnSpPr/>
            <p:nvPr/>
          </p:nvCxnSpPr>
          <p:spPr>
            <a:xfrm>
              <a:off x="6670334" y="1815153"/>
              <a:ext cx="1613602" cy="0"/>
            </a:xfrm>
            <a:prstGeom prst="straightConnector1">
              <a:avLst/>
            </a:prstGeom>
            <a:ln w="92075">
              <a:solidFill>
                <a:schemeClr val="bg1">
                  <a:lumMod val="10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34" name="Picture Placeholder 7">
            <a:extLst>
              <a:ext uri="{FF2B5EF4-FFF2-40B4-BE49-F238E27FC236}">
                <a16:creationId xmlns:a16="http://schemas.microsoft.com/office/drawing/2014/main" id="{F124EE6A-1E80-D549-8C1C-7BDC912E2A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42184" y="1265729"/>
            <a:ext cx="1268843" cy="1267316"/>
          </a:xfrm>
          <a:prstGeom prst="rect">
            <a:avLst/>
          </a:prstGeom>
        </p:spPr>
      </p:pic>
      <p:grpSp>
        <p:nvGrpSpPr>
          <p:cNvPr id="35" name="Group 34">
            <a:extLst>
              <a:ext uri="{FF2B5EF4-FFF2-40B4-BE49-F238E27FC236}">
                <a16:creationId xmlns:a16="http://schemas.microsoft.com/office/drawing/2014/main" id="{7EFED44F-149C-7A46-B746-7946D71D38C9}"/>
              </a:ext>
            </a:extLst>
          </p:cNvPr>
          <p:cNvGrpSpPr/>
          <p:nvPr/>
        </p:nvGrpSpPr>
        <p:grpSpPr>
          <a:xfrm>
            <a:off x="8137191" y="1312157"/>
            <a:ext cx="1682496" cy="1184123"/>
            <a:chOff x="763908" y="3273376"/>
            <a:chExt cx="1680471" cy="1184123"/>
          </a:xfrm>
        </p:grpSpPr>
        <p:sp>
          <p:nvSpPr>
            <p:cNvPr id="36" name="Rectangle 35">
              <a:extLst>
                <a:ext uri="{FF2B5EF4-FFF2-40B4-BE49-F238E27FC236}">
                  <a16:creationId xmlns:a16="http://schemas.microsoft.com/office/drawing/2014/main" id="{A5F41A9B-06A9-4F47-AE89-F21BB10A2F05}"/>
                </a:ext>
              </a:extLst>
            </p:cNvPr>
            <p:cNvSpPr/>
            <p:nvPr/>
          </p:nvSpPr>
          <p:spPr>
            <a:xfrm>
              <a:off x="763908" y="3864067"/>
              <a:ext cx="1527660" cy="593432"/>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12D2A"/>
                  </a:solidFill>
                  <a:effectLst/>
                  <a:uLnTx/>
                  <a:uFillTx/>
                  <a:latin typeface="Arial"/>
                  <a:ea typeface="+mn-ea"/>
                  <a:cs typeface="Arial"/>
                </a:rPr>
                <a:t>Hyperscale cloud regions in </a:t>
              </a:r>
              <a:r>
                <a:rPr kumimoji="0" lang="en-US" sz="1200" b="0" i="0" u="none" strike="noStrike" kern="1200" cap="none" spc="0" normalizeH="0" baseline="0" noProof="0" dirty="0">
                  <a:ln>
                    <a:noFill/>
                  </a:ln>
                  <a:solidFill>
                    <a:srgbClr val="312D2A"/>
                  </a:solidFill>
                  <a:effectLst/>
                  <a:uLnTx/>
                  <a:uFillTx/>
                  <a:latin typeface="Arial"/>
                  <a:cs typeface="Arial"/>
                </a:rPr>
                <a:t>37</a:t>
              </a:r>
              <a:r>
                <a:rPr kumimoji="0" lang="en-US" sz="1200" b="0" i="0" u="none" strike="noStrike" kern="1200" cap="none" spc="0" normalizeH="0" baseline="0" noProof="0" dirty="0">
                  <a:ln>
                    <a:noFill/>
                  </a:ln>
                  <a:solidFill>
                    <a:srgbClr val="312D2A"/>
                  </a:solidFill>
                  <a:effectLst/>
                  <a:uLnTx/>
                  <a:uFillTx/>
                  <a:latin typeface="Arial"/>
                  <a:ea typeface="+mn-ea"/>
                  <a:cs typeface="Arial"/>
                </a:rPr>
                <a:t> worldwide locations</a:t>
              </a:r>
            </a:p>
          </p:txBody>
        </p:sp>
        <p:sp>
          <p:nvSpPr>
            <p:cNvPr id="37" name="Rectangle 36">
              <a:extLst>
                <a:ext uri="{FF2B5EF4-FFF2-40B4-BE49-F238E27FC236}">
                  <a16:creationId xmlns:a16="http://schemas.microsoft.com/office/drawing/2014/main" id="{6DFA25B5-7C91-DD45-8645-0C3BF17D4CBA}"/>
                </a:ext>
              </a:extLst>
            </p:cNvPr>
            <p:cNvSpPr/>
            <p:nvPr/>
          </p:nvSpPr>
          <p:spPr>
            <a:xfrm>
              <a:off x="789780" y="3273376"/>
              <a:ext cx="1654599"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33553C"/>
                  </a:solidFill>
                  <a:effectLst/>
                  <a:uLnTx/>
                  <a:uFillTx/>
                  <a:latin typeface="Arial Black" panose="020B0A04020102020204" pitchFamily="34" charset="0"/>
                  <a:ea typeface="Segoe UI Black" panose="020B0A02040204020203" pitchFamily="34" charset="0"/>
                  <a:cs typeface="Arial" panose="020B0604020202020204" pitchFamily="34" charset="0"/>
                </a:rPr>
                <a:t>Oracle Public</a:t>
              </a:r>
              <a:br>
                <a:rPr kumimoji="0" lang="en-US" sz="1400" b="1" i="0" u="none" strike="noStrike" kern="1200" cap="none" spc="0" normalizeH="0" baseline="0" noProof="0">
                  <a:ln>
                    <a:noFill/>
                  </a:ln>
                  <a:solidFill>
                    <a:srgbClr val="33553C"/>
                  </a:solidFill>
                  <a:effectLst/>
                  <a:uLnTx/>
                  <a:uFillTx/>
                  <a:latin typeface="Arial Black" panose="020B0A04020102020204" pitchFamily="34" charset="0"/>
                  <a:ea typeface="Segoe UI Black" panose="020B0A02040204020203" pitchFamily="34" charset="0"/>
                  <a:cs typeface="Arial" panose="020B0604020202020204" pitchFamily="34" charset="0"/>
                </a:rPr>
              </a:br>
              <a:r>
                <a:rPr kumimoji="0" lang="en-US" sz="1400" b="1" i="0" u="none" strike="noStrike" kern="1200" cap="none" spc="0" normalizeH="0" baseline="0" noProof="0">
                  <a:ln>
                    <a:noFill/>
                  </a:ln>
                  <a:solidFill>
                    <a:srgbClr val="33553C"/>
                  </a:solidFill>
                  <a:effectLst/>
                  <a:uLnTx/>
                  <a:uFillTx/>
                  <a:latin typeface="Arial Black" panose="020B0A04020102020204" pitchFamily="34" charset="0"/>
                  <a:ea typeface="Segoe UI Black" panose="020B0A02040204020203" pitchFamily="34" charset="0"/>
                  <a:cs typeface="Arial" panose="020B0604020202020204" pitchFamily="34" charset="0"/>
                </a:rPr>
                <a:t>Regions</a:t>
              </a:r>
            </a:p>
          </p:txBody>
        </p:sp>
      </p:grpSp>
      <p:pic>
        <p:nvPicPr>
          <p:cNvPr id="46" name="Picture Placeholder 60">
            <a:extLst>
              <a:ext uri="{FF2B5EF4-FFF2-40B4-BE49-F238E27FC236}">
                <a16:creationId xmlns:a16="http://schemas.microsoft.com/office/drawing/2014/main" id="{C45D5A27-0BDE-7047-BF81-557B73521C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5" r="85"/>
          <a:stretch>
            <a:fillRect/>
          </a:stretch>
        </p:blipFill>
        <p:spPr>
          <a:xfrm>
            <a:off x="10113598" y="2773826"/>
            <a:ext cx="1255816" cy="1255814"/>
          </a:xfrm>
          <a:prstGeom prst="rect">
            <a:avLst/>
          </a:prstGeom>
        </p:spPr>
      </p:pic>
      <p:grpSp>
        <p:nvGrpSpPr>
          <p:cNvPr id="47" name="Group 46">
            <a:extLst>
              <a:ext uri="{FF2B5EF4-FFF2-40B4-BE49-F238E27FC236}">
                <a16:creationId xmlns:a16="http://schemas.microsoft.com/office/drawing/2014/main" id="{560838B3-C26D-DD40-9543-90390CA8E314}"/>
              </a:ext>
            </a:extLst>
          </p:cNvPr>
          <p:cNvGrpSpPr/>
          <p:nvPr/>
        </p:nvGrpSpPr>
        <p:grpSpPr>
          <a:xfrm>
            <a:off x="8194493" y="2864229"/>
            <a:ext cx="1556666" cy="1174096"/>
            <a:chOff x="2871258" y="3283404"/>
            <a:chExt cx="1556666" cy="1174096"/>
          </a:xfrm>
        </p:grpSpPr>
        <p:sp>
          <p:nvSpPr>
            <p:cNvPr id="48" name="Rectangle 47">
              <a:extLst>
                <a:ext uri="{FF2B5EF4-FFF2-40B4-BE49-F238E27FC236}">
                  <a16:creationId xmlns:a16="http://schemas.microsoft.com/office/drawing/2014/main" id="{CF166EF5-CD86-2A47-9E53-4DCAA0431C5D}"/>
                </a:ext>
              </a:extLst>
            </p:cNvPr>
            <p:cNvSpPr/>
            <p:nvPr/>
          </p:nvSpPr>
          <p:spPr>
            <a:xfrm>
              <a:off x="2871258" y="3864068"/>
              <a:ext cx="1556666" cy="593432"/>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12D2A"/>
                  </a:solidFill>
                  <a:effectLst/>
                  <a:uLnTx/>
                  <a:uFillTx/>
                  <a:latin typeface="Arial"/>
                  <a:ea typeface="+mn-ea"/>
                  <a:cs typeface="Arial"/>
                </a:rPr>
                <a:t>All OCI services, running in customer data centers </a:t>
              </a:r>
            </a:p>
          </p:txBody>
        </p:sp>
        <p:sp>
          <p:nvSpPr>
            <p:cNvPr id="49" name="Rectangle 48">
              <a:extLst>
                <a:ext uri="{FF2B5EF4-FFF2-40B4-BE49-F238E27FC236}">
                  <a16:creationId xmlns:a16="http://schemas.microsoft.com/office/drawing/2014/main" id="{E60A0044-B016-9F4D-BDBB-0E9E3B7217D7}"/>
                </a:ext>
              </a:extLst>
            </p:cNvPr>
            <p:cNvSpPr/>
            <p:nvPr/>
          </p:nvSpPr>
          <p:spPr>
            <a:xfrm>
              <a:off x="2875997" y="3283404"/>
              <a:ext cx="1255814"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33553C"/>
                  </a:solidFill>
                  <a:effectLst/>
                  <a:uLnTx/>
                  <a:uFillTx/>
                  <a:latin typeface="Arial Black" panose="020B0A04020102020204" pitchFamily="34" charset="0"/>
                  <a:ea typeface="Segoe UI Black" panose="020B0A02040204020203" pitchFamily="34" charset="0"/>
                  <a:cs typeface="Arial" panose="020B0604020202020204" pitchFamily="34" charset="0"/>
                </a:rPr>
                <a:t>Dedicated Regions</a:t>
              </a:r>
            </a:p>
          </p:txBody>
        </p:sp>
      </p:grpSp>
      <p:pic>
        <p:nvPicPr>
          <p:cNvPr id="51" name="Picture Placeholder 30">
            <a:extLst>
              <a:ext uri="{FF2B5EF4-FFF2-40B4-BE49-F238E27FC236}">
                <a16:creationId xmlns:a16="http://schemas.microsoft.com/office/drawing/2014/main" id="{BE874F63-9752-7E42-8345-5C30156C588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34489" y="4246477"/>
            <a:ext cx="1164890" cy="1164890"/>
          </a:xfrm>
          <a:prstGeom prst="rect">
            <a:avLst/>
          </a:prstGeom>
        </p:spPr>
      </p:pic>
      <p:grpSp>
        <p:nvGrpSpPr>
          <p:cNvPr id="52" name="Group 51">
            <a:extLst>
              <a:ext uri="{FF2B5EF4-FFF2-40B4-BE49-F238E27FC236}">
                <a16:creationId xmlns:a16="http://schemas.microsoft.com/office/drawing/2014/main" id="{25B9A2EC-5574-1344-8B16-D4E6CB26B0B0}"/>
              </a:ext>
            </a:extLst>
          </p:cNvPr>
          <p:cNvGrpSpPr/>
          <p:nvPr/>
        </p:nvGrpSpPr>
        <p:grpSpPr>
          <a:xfrm>
            <a:off x="8163567" y="4382029"/>
            <a:ext cx="1786103" cy="1184124"/>
            <a:chOff x="7387062" y="3273376"/>
            <a:chExt cx="1786103" cy="1184124"/>
          </a:xfrm>
        </p:grpSpPr>
        <p:sp>
          <p:nvSpPr>
            <p:cNvPr id="53" name="Rectangle 52">
              <a:extLst>
                <a:ext uri="{FF2B5EF4-FFF2-40B4-BE49-F238E27FC236}">
                  <a16:creationId xmlns:a16="http://schemas.microsoft.com/office/drawing/2014/main" id="{72F08A7B-C588-9743-88C1-B5EEFA8BCBA5}"/>
                </a:ext>
              </a:extLst>
            </p:cNvPr>
            <p:cNvSpPr/>
            <p:nvPr/>
          </p:nvSpPr>
          <p:spPr>
            <a:xfrm>
              <a:off x="7405943" y="3864068"/>
              <a:ext cx="1767222" cy="593432"/>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12D2A"/>
                  </a:solidFill>
                  <a:effectLst/>
                  <a:uLnTx/>
                  <a:uFillTx/>
                  <a:latin typeface="Arial"/>
                  <a:ea typeface="+mn-ea"/>
                  <a:cs typeface="Arial"/>
                </a:rPr>
                <a:t>Cloud Autonomous Databases, running in your data center</a:t>
              </a:r>
            </a:p>
          </p:txBody>
        </p:sp>
        <p:sp>
          <p:nvSpPr>
            <p:cNvPr id="54" name="Rectangle 53">
              <a:extLst>
                <a:ext uri="{FF2B5EF4-FFF2-40B4-BE49-F238E27FC236}">
                  <a16:creationId xmlns:a16="http://schemas.microsoft.com/office/drawing/2014/main" id="{6AA251BB-C0F4-7446-B680-62FFFB120168}"/>
                </a:ext>
              </a:extLst>
            </p:cNvPr>
            <p:cNvSpPr/>
            <p:nvPr/>
          </p:nvSpPr>
          <p:spPr>
            <a:xfrm>
              <a:off x="7387062" y="3273376"/>
              <a:ext cx="174012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33553C"/>
                  </a:solidFill>
                  <a:effectLst/>
                  <a:uLnTx/>
                  <a:uFillTx/>
                  <a:latin typeface="Arial Black" panose="020B0A04020102020204" pitchFamily="34" charset="0"/>
                  <a:ea typeface="Segoe UI Black" panose="020B0A02040204020203" pitchFamily="34" charset="0"/>
                  <a:cs typeface="Arial" panose="020B0604020202020204" pitchFamily="34" charset="0"/>
                </a:rPr>
                <a:t>Exadata Cloud@Customer</a:t>
              </a:r>
            </a:p>
          </p:txBody>
        </p:sp>
      </p:grpSp>
      <p:cxnSp>
        <p:nvCxnSpPr>
          <p:cNvPr id="55" name="Straight Connector 54">
            <a:extLst>
              <a:ext uri="{FF2B5EF4-FFF2-40B4-BE49-F238E27FC236}">
                <a16:creationId xmlns:a16="http://schemas.microsoft.com/office/drawing/2014/main" id="{66E1A473-EBC0-2C46-B918-F92CB852FF7B}"/>
              </a:ext>
            </a:extLst>
          </p:cNvPr>
          <p:cNvCxnSpPr/>
          <p:nvPr/>
        </p:nvCxnSpPr>
        <p:spPr>
          <a:xfrm flipH="1">
            <a:off x="7888357" y="1394463"/>
            <a:ext cx="0" cy="4171690"/>
          </a:xfrm>
          <a:prstGeom prst="line">
            <a:avLst/>
          </a:prstGeom>
          <a:ln w="19050">
            <a:solidFill>
              <a:srgbClr val="D6D6D6"/>
            </a:solidFill>
          </a:ln>
        </p:spPr>
        <p:style>
          <a:lnRef idx="1">
            <a:schemeClr val="accent1"/>
          </a:lnRef>
          <a:fillRef idx="0">
            <a:schemeClr val="accent1"/>
          </a:fillRef>
          <a:effectRef idx="0">
            <a:schemeClr val="accent1"/>
          </a:effectRef>
          <a:fontRef idx="minor">
            <a:schemeClr val="tx1"/>
          </a:fontRef>
        </p:style>
      </p:cxnSp>
      <p:sp>
        <p:nvSpPr>
          <p:cNvPr id="43" name="Footer Placeholder 3">
            <a:extLst>
              <a:ext uri="{FF2B5EF4-FFF2-40B4-BE49-F238E27FC236}">
                <a16:creationId xmlns:a16="http://schemas.microsoft.com/office/drawing/2014/main" id="{FFF8782E-84FE-9745-97D2-0648733F3351}"/>
              </a:ext>
            </a:extLst>
          </p:cNvPr>
          <p:cNvSpPr txBox="1">
            <a:spLocks/>
          </p:cNvSpPr>
          <p:nvPr/>
        </p:nvSpPr>
        <p:spPr>
          <a:xfrm>
            <a:off x="1044629" y="6493253"/>
            <a:ext cx="574537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B8580"/>
                </a:solidFill>
                <a:effectLst/>
                <a:uLnTx/>
                <a:uFillTx/>
                <a:latin typeface="Oracle Sans"/>
                <a:cs typeface="Arial"/>
              </a:rPr>
              <a:t>Copyright © 2022, Oracle and/or its affiliates</a:t>
            </a:r>
          </a:p>
        </p:txBody>
      </p:sp>
      <p:sp>
        <p:nvSpPr>
          <p:cNvPr id="50" name="Slide Number Placeholder 1">
            <a:extLst>
              <a:ext uri="{FF2B5EF4-FFF2-40B4-BE49-F238E27FC236}">
                <a16:creationId xmlns:a16="http://schemas.microsoft.com/office/drawing/2014/main" id="{7A16649C-AA34-5441-8740-CCDE8C1ACDB0}"/>
              </a:ext>
            </a:extLst>
          </p:cNvPr>
          <p:cNvSpPr txBox="1">
            <a:spLocks/>
          </p:cNvSpPr>
          <p:nvPr/>
        </p:nvSpPr>
        <p:spPr>
          <a:xfrm>
            <a:off x="665015" y="6423661"/>
            <a:ext cx="365760" cy="3657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srgbClr val="8B8580"/>
              </a:solidFill>
              <a:effectLst/>
              <a:uLnTx/>
              <a:uFillTx/>
              <a:latin typeface="Oracle Sans"/>
              <a:cs typeface="Arial"/>
            </a:endParaRPr>
          </a:p>
        </p:txBody>
      </p:sp>
    </p:spTree>
    <p:extLst>
      <p:ext uri="{BB962C8B-B14F-4D97-AF65-F5344CB8AC3E}">
        <p14:creationId xmlns:p14="http://schemas.microsoft.com/office/powerpoint/2010/main" val="876233712"/>
      </p:ext>
    </p:extLst>
  </p:cSld>
  <p:clrMapOvr>
    <a:masterClrMapping/>
  </p:clrMapOvr>
  <mc:AlternateContent xmlns:mc="http://schemas.openxmlformats.org/markup-compatibility/2006" xmlns:p14="http://schemas.microsoft.com/office/powerpoint/2010/main">
    <mc:Choice Requires="p14">
      <p:transition p14:dur="0"/>
    </mc:Choice>
    <mc:Fallback xmlns:p15="http://schemas.microsoft.com/office/powerpoint/2012/main" xmlns:a14="http://schemas.microsoft.com/office/drawing/2010/main"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44BE4-6F43-4C43-AA7E-3A13C46CC6C9}"/>
              </a:ext>
            </a:extLst>
          </p:cNvPr>
          <p:cNvSpPr>
            <a:spLocks noGrp="1"/>
          </p:cNvSpPr>
          <p:nvPr>
            <p:ph type="title"/>
          </p:nvPr>
        </p:nvSpPr>
        <p:spPr/>
        <p:txBody>
          <a:bodyPr/>
          <a:lstStyle/>
          <a:p>
            <a:r>
              <a:rPr lang="fr-CA" dirty="0"/>
              <a:t>Focus sur Oracle Analytics Cloud</a:t>
            </a:r>
          </a:p>
        </p:txBody>
      </p:sp>
      <p:sp>
        <p:nvSpPr>
          <p:cNvPr id="12" name="Freeform 11">
            <a:extLst>
              <a:ext uri="{FF2B5EF4-FFF2-40B4-BE49-F238E27FC236}">
                <a16:creationId xmlns:a16="http://schemas.microsoft.com/office/drawing/2014/main" id="{E3BF8538-F2DA-44E9-86D0-7FDBF0664789}"/>
              </a:ext>
            </a:extLst>
          </p:cNvPr>
          <p:cNvSpPr>
            <a:spLocks noChangeAspect="1" noChangeArrowheads="1"/>
          </p:cNvSpPr>
          <p:nvPr/>
        </p:nvSpPr>
        <p:spPr bwMode="auto">
          <a:xfrm>
            <a:off x="864848" y="2219051"/>
            <a:ext cx="604514" cy="528950"/>
          </a:xfrm>
          <a:custGeom>
            <a:avLst/>
            <a:gdLst>
              <a:gd name="T0" fmla="*/ 1482 w 2964"/>
              <a:gd name="T1" fmla="*/ 0 h 2593"/>
              <a:gd name="T2" fmla="*/ 498 w 2964"/>
              <a:gd name="T3" fmla="*/ 2592 h 2593"/>
              <a:gd name="T4" fmla="*/ 2963 w 2964"/>
              <a:gd name="T5" fmla="*/ 1481 h 2593"/>
              <a:gd name="T6" fmla="*/ 2396 w 2964"/>
              <a:gd name="T7" fmla="*/ 2407 h 2593"/>
              <a:gd name="T8" fmla="*/ 1482 w 2964"/>
              <a:gd name="T9" fmla="*/ 2025 h 2593"/>
              <a:gd name="T10" fmla="*/ 185 w 2964"/>
              <a:gd name="T11" fmla="*/ 1481 h 2593"/>
              <a:gd name="T12" fmla="*/ 2777 w 2964"/>
              <a:gd name="T13" fmla="*/ 1481 h 2593"/>
              <a:gd name="T14" fmla="*/ 1655 w 2964"/>
              <a:gd name="T15" fmla="*/ 1274 h 2593"/>
              <a:gd name="T16" fmla="*/ 1378 w 2964"/>
              <a:gd name="T17" fmla="*/ 1228 h 2593"/>
              <a:gd name="T18" fmla="*/ 1585 w 2964"/>
              <a:gd name="T19" fmla="*/ 1736 h 2593"/>
              <a:gd name="T20" fmla="*/ 2187 w 2964"/>
              <a:gd name="T21" fmla="*/ 1239 h 2593"/>
              <a:gd name="T22" fmla="*/ 1655 w 2964"/>
              <a:gd name="T23" fmla="*/ 1274 h 2593"/>
              <a:gd name="T24" fmla="*/ 567 w 2964"/>
              <a:gd name="T25" fmla="*/ 1481 h 2593"/>
              <a:gd name="T26" fmla="*/ 324 w 2964"/>
              <a:gd name="T27" fmla="*/ 1435 h 2593"/>
              <a:gd name="T28" fmla="*/ 324 w 2964"/>
              <a:gd name="T29" fmla="*/ 1527 h 2593"/>
              <a:gd name="T30" fmla="*/ 567 w 2964"/>
              <a:gd name="T31" fmla="*/ 1481 h 2593"/>
              <a:gd name="T32" fmla="*/ 1482 w 2964"/>
              <a:gd name="T33" fmla="*/ 556 h 2593"/>
              <a:gd name="T34" fmla="*/ 1527 w 2964"/>
              <a:gd name="T35" fmla="*/ 324 h 2593"/>
              <a:gd name="T36" fmla="*/ 1436 w 2964"/>
              <a:gd name="T37" fmla="*/ 324 h 2593"/>
              <a:gd name="T38" fmla="*/ 1482 w 2964"/>
              <a:gd name="T39" fmla="*/ 556 h 2593"/>
              <a:gd name="T40" fmla="*/ 579 w 2964"/>
              <a:gd name="T41" fmla="*/ 1805 h 2593"/>
              <a:gd name="T42" fmla="*/ 370 w 2964"/>
              <a:gd name="T43" fmla="*/ 1944 h 2593"/>
              <a:gd name="T44" fmla="*/ 428 w 2964"/>
              <a:gd name="T45" fmla="*/ 1967 h 2593"/>
              <a:gd name="T46" fmla="*/ 637 w 2964"/>
              <a:gd name="T47" fmla="*/ 1829 h 2593"/>
              <a:gd name="T48" fmla="*/ 2303 w 2964"/>
              <a:gd name="T49" fmla="*/ 1135 h 2593"/>
              <a:gd name="T50" fmla="*/ 2349 w 2964"/>
              <a:gd name="T51" fmla="*/ 1169 h 2593"/>
              <a:gd name="T52" fmla="*/ 2569 w 2964"/>
              <a:gd name="T53" fmla="*/ 1077 h 2593"/>
              <a:gd name="T54" fmla="*/ 2534 w 2964"/>
              <a:gd name="T55" fmla="*/ 996 h 2593"/>
              <a:gd name="T56" fmla="*/ 2303 w 2964"/>
              <a:gd name="T57" fmla="*/ 1135 h 2593"/>
              <a:gd name="T58" fmla="*/ 1840 w 2964"/>
              <a:gd name="T59" fmla="*/ 626 h 2593"/>
              <a:gd name="T60" fmla="*/ 1898 w 2964"/>
              <a:gd name="T61" fmla="*/ 602 h 2593"/>
              <a:gd name="T62" fmla="*/ 1944 w 2964"/>
              <a:gd name="T63" fmla="*/ 371 h 2593"/>
              <a:gd name="T64" fmla="*/ 1805 w 2964"/>
              <a:gd name="T65" fmla="*/ 567 h 2593"/>
              <a:gd name="T66" fmla="*/ 695 w 2964"/>
              <a:gd name="T67" fmla="*/ 626 h 2593"/>
              <a:gd name="T68" fmla="*/ 625 w 2964"/>
              <a:gd name="T69" fmla="*/ 626 h 2593"/>
              <a:gd name="T70" fmla="*/ 776 w 2964"/>
              <a:gd name="T71" fmla="*/ 834 h 2593"/>
              <a:gd name="T72" fmla="*/ 833 w 2964"/>
              <a:gd name="T73" fmla="*/ 834 h 2593"/>
              <a:gd name="T74" fmla="*/ 695 w 2964"/>
              <a:gd name="T75" fmla="*/ 626 h 2593"/>
              <a:gd name="T76" fmla="*/ 2569 w 2964"/>
              <a:gd name="T77" fmla="*/ 1886 h 2593"/>
              <a:gd name="T78" fmla="*/ 2303 w 2964"/>
              <a:gd name="T79" fmla="*/ 1829 h 2593"/>
              <a:gd name="T80" fmla="*/ 2534 w 2964"/>
              <a:gd name="T81" fmla="*/ 1967 h 2593"/>
              <a:gd name="T82" fmla="*/ 2592 w 2964"/>
              <a:gd name="T83" fmla="*/ 1944 h 2593"/>
              <a:gd name="T84" fmla="*/ 2639 w 2964"/>
              <a:gd name="T85" fmla="*/ 1435 h 2593"/>
              <a:gd name="T86" fmla="*/ 2418 w 2964"/>
              <a:gd name="T87" fmla="*/ 1435 h 2593"/>
              <a:gd name="T88" fmla="*/ 2418 w 2964"/>
              <a:gd name="T89" fmla="*/ 1527 h 2593"/>
              <a:gd name="T90" fmla="*/ 2685 w 2964"/>
              <a:gd name="T91" fmla="*/ 1481 h 2593"/>
              <a:gd name="T92" fmla="*/ 1077 w 2964"/>
              <a:gd name="T93" fmla="*/ 394 h 2593"/>
              <a:gd name="T94" fmla="*/ 1019 w 2964"/>
              <a:gd name="T95" fmla="*/ 371 h 2593"/>
              <a:gd name="T96" fmla="*/ 1065 w 2964"/>
              <a:gd name="T97" fmla="*/ 602 h 2593"/>
              <a:gd name="T98" fmla="*/ 1123 w 2964"/>
              <a:gd name="T99" fmla="*/ 626 h 2593"/>
              <a:gd name="T100" fmla="*/ 1077 w 2964"/>
              <a:gd name="T101" fmla="*/ 394 h 2593"/>
              <a:gd name="T102" fmla="*/ 2338 w 2964"/>
              <a:gd name="T103" fmla="*/ 626 h 2593"/>
              <a:gd name="T104" fmla="*/ 2141 w 2964"/>
              <a:gd name="T105" fmla="*/ 764 h 2593"/>
              <a:gd name="T106" fmla="*/ 2164 w 2964"/>
              <a:gd name="T107" fmla="*/ 845 h 2593"/>
              <a:gd name="T108" fmla="*/ 2338 w 2964"/>
              <a:gd name="T109" fmla="*/ 695 h 2593"/>
              <a:gd name="T110" fmla="*/ 613 w 2964"/>
              <a:gd name="T111" fmla="*/ 1077 h 2593"/>
              <a:gd name="T112" fmla="*/ 428 w 2964"/>
              <a:gd name="T113" fmla="*/ 996 h 2593"/>
              <a:gd name="T114" fmla="*/ 394 w 2964"/>
              <a:gd name="T115" fmla="*/ 1077 h 2593"/>
              <a:gd name="T116" fmla="*/ 602 w 2964"/>
              <a:gd name="T117" fmla="*/ 1158 h 2593"/>
              <a:gd name="T118" fmla="*/ 613 w 2964"/>
              <a:gd name="T119" fmla="*/ 1077 h 2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64" h="2593">
                <a:moveTo>
                  <a:pt x="1482" y="0"/>
                </a:moveTo>
                <a:lnTo>
                  <a:pt x="1482" y="0"/>
                </a:lnTo>
                <a:cubicBezTo>
                  <a:pt x="660" y="0"/>
                  <a:pt x="0" y="660"/>
                  <a:pt x="0" y="1481"/>
                </a:cubicBezTo>
                <a:cubicBezTo>
                  <a:pt x="0" y="1921"/>
                  <a:pt x="197" y="2326"/>
                  <a:pt x="498" y="2592"/>
                </a:cubicBezTo>
                <a:cubicBezTo>
                  <a:pt x="2465" y="2592"/>
                  <a:pt x="2465" y="2592"/>
                  <a:pt x="2465" y="2592"/>
                </a:cubicBezTo>
                <a:cubicBezTo>
                  <a:pt x="2766" y="2326"/>
                  <a:pt x="2963" y="1921"/>
                  <a:pt x="2963" y="1481"/>
                </a:cubicBezTo>
                <a:cubicBezTo>
                  <a:pt x="2963" y="660"/>
                  <a:pt x="2303" y="0"/>
                  <a:pt x="1482" y="0"/>
                </a:cubicBezTo>
                <a:close/>
                <a:moveTo>
                  <a:pt x="2396" y="2407"/>
                </a:moveTo>
                <a:lnTo>
                  <a:pt x="2396" y="2407"/>
                </a:lnTo>
                <a:cubicBezTo>
                  <a:pt x="1481" y="2025"/>
                  <a:pt x="1482" y="2025"/>
                  <a:pt x="1482" y="2025"/>
                </a:cubicBezTo>
                <a:cubicBezTo>
                  <a:pt x="1482" y="2025"/>
                  <a:pt x="1007" y="2222"/>
                  <a:pt x="567" y="2407"/>
                </a:cubicBezTo>
                <a:cubicBezTo>
                  <a:pt x="336" y="2164"/>
                  <a:pt x="185" y="1840"/>
                  <a:pt x="185" y="1481"/>
                </a:cubicBezTo>
                <a:cubicBezTo>
                  <a:pt x="185" y="764"/>
                  <a:pt x="764" y="185"/>
                  <a:pt x="1482" y="185"/>
                </a:cubicBezTo>
                <a:cubicBezTo>
                  <a:pt x="2199" y="185"/>
                  <a:pt x="2777" y="764"/>
                  <a:pt x="2777" y="1481"/>
                </a:cubicBezTo>
                <a:cubicBezTo>
                  <a:pt x="2777" y="1840"/>
                  <a:pt x="2627" y="2164"/>
                  <a:pt x="2396" y="2407"/>
                </a:cubicBezTo>
                <a:close/>
                <a:moveTo>
                  <a:pt x="1655" y="1274"/>
                </a:moveTo>
                <a:lnTo>
                  <a:pt x="1655" y="1274"/>
                </a:lnTo>
                <a:cubicBezTo>
                  <a:pt x="1585" y="1204"/>
                  <a:pt x="1470" y="1181"/>
                  <a:pt x="1378" y="1228"/>
                </a:cubicBezTo>
                <a:cubicBezTo>
                  <a:pt x="1239" y="1285"/>
                  <a:pt x="1169" y="1446"/>
                  <a:pt x="1227" y="1585"/>
                </a:cubicBezTo>
                <a:cubicBezTo>
                  <a:pt x="1285" y="1724"/>
                  <a:pt x="1447" y="1794"/>
                  <a:pt x="1585" y="1736"/>
                </a:cubicBezTo>
                <a:cubicBezTo>
                  <a:pt x="1689" y="1701"/>
                  <a:pt x="1747" y="1608"/>
                  <a:pt x="1759" y="1504"/>
                </a:cubicBezTo>
                <a:cubicBezTo>
                  <a:pt x="2187" y="1239"/>
                  <a:pt x="2187" y="1239"/>
                  <a:pt x="2187" y="1239"/>
                </a:cubicBezTo>
                <a:cubicBezTo>
                  <a:pt x="2152" y="1158"/>
                  <a:pt x="2152" y="1158"/>
                  <a:pt x="2152" y="1158"/>
                </a:cubicBezTo>
                <a:lnTo>
                  <a:pt x="1655" y="1274"/>
                </a:lnTo>
                <a:close/>
                <a:moveTo>
                  <a:pt x="567" y="1481"/>
                </a:moveTo>
                <a:lnTo>
                  <a:pt x="567" y="1481"/>
                </a:lnTo>
                <a:cubicBezTo>
                  <a:pt x="567" y="1458"/>
                  <a:pt x="556" y="1435"/>
                  <a:pt x="521" y="1435"/>
                </a:cubicBezTo>
                <a:cubicBezTo>
                  <a:pt x="324" y="1435"/>
                  <a:pt x="324" y="1435"/>
                  <a:pt x="324" y="1435"/>
                </a:cubicBezTo>
                <a:cubicBezTo>
                  <a:pt x="301" y="1435"/>
                  <a:pt x="278" y="1458"/>
                  <a:pt x="278" y="1481"/>
                </a:cubicBezTo>
                <a:cubicBezTo>
                  <a:pt x="278" y="1504"/>
                  <a:pt x="301" y="1527"/>
                  <a:pt x="324" y="1527"/>
                </a:cubicBezTo>
                <a:cubicBezTo>
                  <a:pt x="521" y="1527"/>
                  <a:pt x="521" y="1527"/>
                  <a:pt x="521" y="1527"/>
                </a:cubicBezTo>
                <a:cubicBezTo>
                  <a:pt x="556" y="1527"/>
                  <a:pt x="567" y="1504"/>
                  <a:pt x="567" y="1481"/>
                </a:cubicBezTo>
                <a:close/>
                <a:moveTo>
                  <a:pt x="1482" y="556"/>
                </a:moveTo>
                <a:lnTo>
                  <a:pt x="1482" y="556"/>
                </a:lnTo>
                <a:cubicBezTo>
                  <a:pt x="1504" y="556"/>
                  <a:pt x="1527" y="533"/>
                  <a:pt x="1527" y="510"/>
                </a:cubicBezTo>
                <a:cubicBezTo>
                  <a:pt x="1527" y="324"/>
                  <a:pt x="1527" y="324"/>
                  <a:pt x="1527" y="324"/>
                </a:cubicBezTo>
                <a:cubicBezTo>
                  <a:pt x="1527" y="301"/>
                  <a:pt x="1504" y="278"/>
                  <a:pt x="1482" y="278"/>
                </a:cubicBezTo>
                <a:cubicBezTo>
                  <a:pt x="1459" y="278"/>
                  <a:pt x="1436" y="301"/>
                  <a:pt x="1436" y="324"/>
                </a:cubicBezTo>
                <a:cubicBezTo>
                  <a:pt x="1436" y="510"/>
                  <a:pt x="1436" y="510"/>
                  <a:pt x="1436" y="510"/>
                </a:cubicBezTo>
                <a:cubicBezTo>
                  <a:pt x="1436" y="533"/>
                  <a:pt x="1459" y="556"/>
                  <a:pt x="1482" y="556"/>
                </a:cubicBezTo>
                <a:close/>
                <a:moveTo>
                  <a:pt x="579" y="1805"/>
                </a:moveTo>
                <a:lnTo>
                  <a:pt x="579" y="1805"/>
                </a:lnTo>
                <a:cubicBezTo>
                  <a:pt x="394" y="1886"/>
                  <a:pt x="394" y="1886"/>
                  <a:pt x="394" y="1886"/>
                </a:cubicBezTo>
                <a:cubicBezTo>
                  <a:pt x="370" y="1886"/>
                  <a:pt x="359" y="1921"/>
                  <a:pt x="370" y="1944"/>
                </a:cubicBezTo>
                <a:cubicBezTo>
                  <a:pt x="382" y="1956"/>
                  <a:pt x="394" y="1967"/>
                  <a:pt x="417" y="1967"/>
                </a:cubicBezTo>
                <a:lnTo>
                  <a:pt x="428" y="1967"/>
                </a:lnTo>
                <a:cubicBezTo>
                  <a:pt x="613" y="1886"/>
                  <a:pt x="613" y="1886"/>
                  <a:pt x="613" y="1886"/>
                </a:cubicBezTo>
                <a:cubicBezTo>
                  <a:pt x="637" y="1875"/>
                  <a:pt x="648" y="1852"/>
                  <a:pt x="637" y="1829"/>
                </a:cubicBezTo>
                <a:cubicBezTo>
                  <a:pt x="625" y="1805"/>
                  <a:pt x="602" y="1794"/>
                  <a:pt x="579" y="1805"/>
                </a:cubicBezTo>
                <a:close/>
                <a:moveTo>
                  <a:pt x="2303" y="1135"/>
                </a:moveTo>
                <a:lnTo>
                  <a:pt x="2303" y="1135"/>
                </a:lnTo>
                <a:cubicBezTo>
                  <a:pt x="2314" y="1158"/>
                  <a:pt x="2338" y="1169"/>
                  <a:pt x="2349" y="1169"/>
                </a:cubicBezTo>
                <a:cubicBezTo>
                  <a:pt x="2361" y="1169"/>
                  <a:pt x="2361" y="1169"/>
                  <a:pt x="2372" y="1169"/>
                </a:cubicBezTo>
                <a:cubicBezTo>
                  <a:pt x="2569" y="1077"/>
                  <a:pt x="2569" y="1077"/>
                  <a:pt x="2569" y="1077"/>
                </a:cubicBezTo>
                <a:cubicBezTo>
                  <a:pt x="2592" y="1077"/>
                  <a:pt x="2604" y="1042"/>
                  <a:pt x="2592" y="1019"/>
                </a:cubicBezTo>
                <a:cubicBezTo>
                  <a:pt x="2581" y="996"/>
                  <a:pt x="2557" y="984"/>
                  <a:pt x="2534" y="996"/>
                </a:cubicBezTo>
                <a:cubicBezTo>
                  <a:pt x="2338" y="1077"/>
                  <a:pt x="2338" y="1077"/>
                  <a:pt x="2338" y="1077"/>
                </a:cubicBezTo>
                <a:cubicBezTo>
                  <a:pt x="2314" y="1089"/>
                  <a:pt x="2303" y="1112"/>
                  <a:pt x="2303" y="1135"/>
                </a:cubicBezTo>
                <a:close/>
                <a:moveTo>
                  <a:pt x="1840" y="626"/>
                </a:moveTo>
                <a:lnTo>
                  <a:pt x="1840" y="626"/>
                </a:lnTo>
                <a:lnTo>
                  <a:pt x="1851" y="626"/>
                </a:lnTo>
                <a:cubicBezTo>
                  <a:pt x="1875" y="626"/>
                  <a:pt x="1886" y="614"/>
                  <a:pt x="1898" y="602"/>
                </a:cubicBezTo>
                <a:cubicBezTo>
                  <a:pt x="1967" y="428"/>
                  <a:pt x="1967" y="428"/>
                  <a:pt x="1967" y="428"/>
                </a:cubicBezTo>
                <a:cubicBezTo>
                  <a:pt x="1979" y="405"/>
                  <a:pt x="1967" y="382"/>
                  <a:pt x="1944" y="371"/>
                </a:cubicBezTo>
                <a:cubicBezTo>
                  <a:pt x="1921" y="359"/>
                  <a:pt x="1886" y="371"/>
                  <a:pt x="1886" y="394"/>
                </a:cubicBezTo>
                <a:cubicBezTo>
                  <a:pt x="1805" y="567"/>
                  <a:pt x="1805" y="567"/>
                  <a:pt x="1805" y="567"/>
                </a:cubicBezTo>
                <a:cubicBezTo>
                  <a:pt x="1805" y="591"/>
                  <a:pt x="1816" y="614"/>
                  <a:pt x="1840" y="626"/>
                </a:cubicBezTo>
                <a:close/>
                <a:moveTo>
                  <a:pt x="695" y="626"/>
                </a:moveTo>
                <a:lnTo>
                  <a:pt x="695" y="626"/>
                </a:lnTo>
                <a:cubicBezTo>
                  <a:pt x="683" y="614"/>
                  <a:pt x="648" y="614"/>
                  <a:pt x="625" y="626"/>
                </a:cubicBezTo>
                <a:cubicBezTo>
                  <a:pt x="613" y="648"/>
                  <a:pt x="613" y="683"/>
                  <a:pt x="625" y="695"/>
                </a:cubicBezTo>
                <a:cubicBezTo>
                  <a:pt x="776" y="834"/>
                  <a:pt x="776" y="834"/>
                  <a:pt x="776" y="834"/>
                </a:cubicBezTo>
                <a:cubicBezTo>
                  <a:pt x="776" y="845"/>
                  <a:pt x="799" y="857"/>
                  <a:pt x="811" y="857"/>
                </a:cubicBezTo>
                <a:cubicBezTo>
                  <a:pt x="822" y="857"/>
                  <a:pt x="833" y="845"/>
                  <a:pt x="833" y="834"/>
                </a:cubicBezTo>
                <a:cubicBezTo>
                  <a:pt x="857" y="822"/>
                  <a:pt x="857" y="787"/>
                  <a:pt x="833" y="776"/>
                </a:cubicBezTo>
                <a:lnTo>
                  <a:pt x="695" y="626"/>
                </a:lnTo>
                <a:close/>
                <a:moveTo>
                  <a:pt x="2569" y="1886"/>
                </a:moveTo>
                <a:lnTo>
                  <a:pt x="2569" y="1886"/>
                </a:lnTo>
                <a:cubicBezTo>
                  <a:pt x="2372" y="1794"/>
                  <a:pt x="2372" y="1794"/>
                  <a:pt x="2372" y="1794"/>
                </a:cubicBezTo>
                <a:cubicBezTo>
                  <a:pt x="2349" y="1794"/>
                  <a:pt x="2314" y="1805"/>
                  <a:pt x="2303" y="1829"/>
                </a:cubicBezTo>
                <a:cubicBezTo>
                  <a:pt x="2303" y="1852"/>
                  <a:pt x="2314" y="1875"/>
                  <a:pt x="2338" y="1886"/>
                </a:cubicBezTo>
                <a:cubicBezTo>
                  <a:pt x="2534" y="1967"/>
                  <a:pt x="2534" y="1967"/>
                  <a:pt x="2534" y="1967"/>
                </a:cubicBezTo>
                <a:lnTo>
                  <a:pt x="2546" y="1967"/>
                </a:lnTo>
                <a:cubicBezTo>
                  <a:pt x="2569" y="1967"/>
                  <a:pt x="2581" y="1956"/>
                  <a:pt x="2592" y="1944"/>
                </a:cubicBezTo>
                <a:cubicBezTo>
                  <a:pt x="2604" y="1921"/>
                  <a:pt x="2592" y="1886"/>
                  <a:pt x="2569" y="1886"/>
                </a:cubicBezTo>
                <a:close/>
                <a:moveTo>
                  <a:pt x="2639" y="1435"/>
                </a:moveTo>
                <a:lnTo>
                  <a:pt x="2639" y="1435"/>
                </a:lnTo>
                <a:cubicBezTo>
                  <a:pt x="2418" y="1435"/>
                  <a:pt x="2418" y="1435"/>
                  <a:pt x="2418" y="1435"/>
                </a:cubicBezTo>
                <a:cubicBezTo>
                  <a:pt x="2396" y="1435"/>
                  <a:pt x="2372" y="1458"/>
                  <a:pt x="2372" y="1481"/>
                </a:cubicBezTo>
                <a:cubicBezTo>
                  <a:pt x="2372" y="1504"/>
                  <a:pt x="2396" y="1527"/>
                  <a:pt x="2418" y="1527"/>
                </a:cubicBezTo>
                <a:cubicBezTo>
                  <a:pt x="2639" y="1527"/>
                  <a:pt x="2639" y="1527"/>
                  <a:pt x="2639" y="1527"/>
                </a:cubicBezTo>
                <a:cubicBezTo>
                  <a:pt x="2662" y="1527"/>
                  <a:pt x="2685" y="1504"/>
                  <a:pt x="2685" y="1481"/>
                </a:cubicBezTo>
                <a:cubicBezTo>
                  <a:pt x="2685" y="1458"/>
                  <a:pt x="2662" y="1435"/>
                  <a:pt x="2639" y="1435"/>
                </a:cubicBezTo>
                <a:close/>
                <a:moveTo>
                  <a:pt x="1077" y="394"/>
                </a:moveTo>
                <a:lnTo>
                  <a:pt x="1077" y="394"/>
                </a:lnTo>
                <a:cubicBezTo>
                  <a:pt x="1077" y="371"/>
                  <a:pt x="1042" y="359"/>
                  <a:pt x="1019" y="371"/>
                </a:cubicBezTo>
                <a:cubicBezTo>
                  <a:pt x="996" y="382"/>
                  <a:pt x="984" y="405"/>
                  <a:pt x="996" y="428"/>
                </a:cubicBezTo>
                <a:cubicBezTo>
                  <a:pt x="1065" y="602"/>
                  <a:pt x="1065" y="602"/>
                  <a:pt x="1065" y="602"/>
                </a:cubicBezTo>
                <a:cubicBezTo>
                  <a:pt x="1077" y="614"/>
                  <a:pt x="1088" y="626"/>
                  <a:pt x="1111" y="626"/>
                </a:cubicBezTo>
                <a:lnTo>
                  <a:pt x="1123" y="626"/>
                </a:lnTo>
                <a:cubicBezTo>
                  <a:pt x="1146" y="614"/>
                  <a:pt x="1158" y="591"/>
                  <a:pt x="1158" y="567"/>
                </a:cubicBezTo>
                <a:lnTo>
                  <a:pt x="1077" y="394"/>
                </a:lnTo>
                <a:close/>
                <a:moveTo>
                  <a:pt x="2338" y="626"/>
                </a:moveTo>
                <a:lnTo>
                  <a:pt x="2338" y="626"/>
                </a:lnTo>
                <a:cubicBezTo>
                  <a:pt x="2314" y="614"/>
                  <a:pt x="2280" y="614"/>
                  <a:pt x="2268" y="626"/>
                </a:cubicBezTo>
                <a:cubicBezTo>
                  <a:pt x="2141" y="764"/>
                  <a:pt x="2141" y="764"/>
                  <a:pt x="2141" y="764"/>
                </a:cubicBezTo>
                <a:cubicBezTo>
                  <a:pt x="2118" y="776"/>
                  <a:pt x="2118" y="811"/>
                  <a:pt x="2141" y="822"/>
                </a:cubicBezTo>
                <a:cubicBezTo>
                  <a:pt x="2141" y="834"/>
                  <a:pt x="2152" y="845"/>
                  <a:pt x="2164" y="845"/>
                </a:cubicBezTo>
                <a:cubicBezTo>
                  <a:pt x="2175" y="845"/>
                  <a:pt x="2187" y="834"/>
                  <a:pt x="2199" y="822"/>
                </a:cubicBezTo>
                <a:cubicBezTo>
                  <a:pt x="2338" y="695"/>
                  <a:pt x="2338" y="695"/>
                  <a:pt x="2338" y="695"/>
                </a:cubicBezTo>
                <a:cubicBezTo>
                  <a:pt x="2349" y="683"/>
                  <a:pt x="2349" y="648"/>
                  <a:pt x="2338" y="626"/>
                </a:cubicBezTo>
                <a:close/>
                <a:moveTo>
                  <a:pt x="613" y="1077"/>
                </a:moveTo>
                <a:lnTo>
                  <a:pt x="613" y="1077"/>
                </a:lnTo>
                <a:cubicBezTo>
                  <a:pt x="428" y="996"/>
                  <a:pt x="428" y="996"/>
                  <a:pt x="428" y="996"/>
                </a:cubicBezTo>
                <a:cubicBezTo>
                  <a:pt x="405" y="984"/>
                  <a:pt x="382" y="996"/>
                  <a:pt x="370" y="1019"/>
                </a:cubicBezTo>
                <a:cubicBezTo>
                  <a:pt x="359" y="1042"/>
                  <a:pt x="370" y="1077"/>
                  <a:pt x="394" y="1077"/>
                </a:cubicBezTo>
                <a:cubicBezTo>
                  <a:pt x="579" y="1158"/>
                  <a:pt x="579" y="1158"/>
                  <a:pt x="579" y="1158"/>
                </a:cubicBezTo>
                <a:cubicBezTo>
                  <a:pt x="590" y="1158"/>
                  <a:pt x="590" y="1158"/>
                  <a:pt x="602" y="1158"/>
                </a:cubicBezTo>
                <a:cubicBezTo>
                  <a:pt x="613" y="1158"/>
                  <a:pt x="637" y="1146"/>
                  <a:pt x="637" y="1135"/>
                </a:cubicBezTo>
                <a:cubicBezTo>
                  <a:pt x="648" y="1112"/>
                  <a:pt x="637" y="1089"/>
                  <a:pt x="613" y="1077"/>
                </a:cubicBezTo>
                <a:close/>
              </a:path>
            </a:pathLst>
          </a:custGeom>
          <a:solidFill>
            <a:schemeClr val="tx1"/>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cs typeface="Arial"/>
            </a:endParaRPr>
          </a:p>
        </p:txBody>
      </p:sp>
      <p:sp>
        <p:nvSpPr>
          <p:cNvPr id="13" name="Freeform 2">
            <a:extLst>
              <a:ext uri="{FF2B5EF4-FFF2-40B4-BE49-F238E27FC236}">
                <a16:creationId xmlns:a16="http://schemas.microsoft.com/office/drawing/2014/main" id="{CAECF0EF-48D2-41C9-A99A-C4DC30E2D0D1}"/>
              </a:ext>
            </a:extLst>
          </p:cNvPr>
          <p:cNvSpPr>
            <a:spLocks noChangeAspect="1" noChangeArrowheads="1"/>
          </p:cNvSpPr>
          <p:nvPr/>
        </p:nvSpPr>
        <p:spPr bwMode="auto">
          <a:xfrm>
            <a:off x="8058366" y="2213653"/>
            <a:ext cx="580027" cy="566539"/>
          </a:xfrm>
          <a:custGeom>
            <a:avLst/>
            <a:gdLst>
              <a:gd name="T0" fmla="*/ 2883 w 3035"/>
              <a:gd name="T1" fmla="*/ 1215 h 2964"/>
              <a:gd name="T2" fmla="*/ 2339 w 3035"/>
              <a:gd name="T3" fmla="*/ 660 h 2964"/>
              <a:gd name="T4" fmla="*/ 1783 w 3035"/>
              <a:gd name="T5" fmla="*/ 116 h 2964"/>
              <a:gd name="T6" fmla="*/ 1517 w 3035"/>
              <a:gd name="T7" fmla="*/ 0 h 2964"/>
              <a:gd name="T8" fmla="*/ 1250 w 3035"/>
              <a:gd name="T9" fmla="*/ 116 h 2964"/>
              <a:gd name="T10" fmla="*/ 695 w 3035"/>
              <a:gd name="T11" fmla="*/ 660 h 2964"/>
              <a:gd name="T12" fmla="*/ 405 w 3035"/>
              <a:gd name="T13" fmla="*/ 949 h 2964"/>
              <a:gd name="T14" fmla="*/ 151 w 3035"/>
              <a:gd name="T15" fmla="*/ 1215 h 2964"/>
              <a:gd name="T16" fmla="*/ 151 w 3035"/>
              <a:gd name="T17" fmla="*/ 1748 h 2964"/>
              <a:gd name="T18" fmla="*/ 405 w 3035"/>
              <a:gd name="T19" fmla="*/ 2015 h 2964"/>
              <a:gd name="T20" fmla="*/ 695 w 3035"/>
              <a:gd name="T21" fmla="*/ 2303 h 2964"/>
              <a:gd name="T22" fmla="*/ 1250 w 3035"/>
              <a:gd name="T23" fmla="*/ 2847 h 2964"/>
              <a:gd name="T24" fmla="*/ 1517 w 3035"/>
              <a:gd name="T25" fmla="*/ 2963 h 2964"/>
              <a:gd name="T26" fmla="*/ 1783 w 3035"/>
              <a:gd name="T27" fmla="*/ 2847 h 2964"/>
              <a:gd name="T28" fmla="*/ 2339 w 3035"/>
              <a:gd name="T29" fmla="*/ 2303 h 2964"/>
              <a:gd name="T30" fmla="*/ 2883 w 3035"/>
              <a:gd name="T31" fmla="*/ 1748 h 2964"/>
              <a:gd name="T32" fmla="*/ 2883 w 3035"/>
              <a:gd name="T33" fmla="*/ 1215 h 2964"/>
              <a:gd name="T34" fmla="*/ 1725 w 3035"/>
              <a:gd name="T35" fmla="*/ 2789 h 2964"/>
              <a:gd name="T36" fmla="*/ 1517 w 3035"/>
              <a:gd name="T37" fmla="*/ 2870 h 2964"/>
              <a:gd name="T38" fmla="*/ 1309 w 3035"/>
              <a:gd name="T39" fmla="*/ 2789 h 2964"/>
              <a:gd name="T40" fmla="*/ 764 w 3035"/>
              <a:gd name="T41" fmla="*/ 2233 h 2964"/>
              <a:gd name="T42" fmla="*/ 938 w 3035"/>
              <a:gd name="T43" fmla="*/ 2061 h 2964"/>
              <a:gd name="T44" fmla="*/ 1077 w 3035"/>
              <a:gd name="T45" fmla="*/ 2084 h 2964"/>
              <a:gd name="T46" fmla="*/ 1158 w 3035"/>
              <a:gd name="T47" fmla="*/ 2211 h 2964"/>
              <a:gd name="T48" fmla="*/ 1424 w 3035"/>
              <a:gd name="T49" fmla="*/ 2211 h 2964"/>
              <a:gd name="T50" fmla="*/ 1424 w 3035"/>
              <a:gd name="T51" fmla="*/ 1945 h 2964"/>
              <a:gd name="T52" fmla="*/ 1297 w 3035"/>
              <a:gd name="T53" fmla="*/ 1864 h 2964"/>
              <a:gd name="T54" fmla="*/ 1274 w 3035"/>
              <a:gd name="T55" fmla="*/ 1725 h 2964"/>
              <a:gd name="T56" fmla="*/ 1517 w 3035"/>
              <a:gd name="T57" fmla="*/ 1482 h 2964"/>
              <a:gd name="T58" fmla="*/ 1274 w 3035"/>
              <a:gd name="T59" fmla="*/ 1239 h 2964"/>
              <a:gd name="T60" fmla="*/ 1135 w 3035"/>
              <a:gd name="T61" fmla="*/ 1262 h 2964"/>
              <a:gd name="T62" fmla="*/ 1054 w 3035"/>
              <a:gd name="T63" fmla="*/ 1389 h 2964"/>
              <a:gd name="T64" fmla="*/ 787 w 3035"/>
              <a:gd name="T65" fmla="*/ 1389 h 2964"/>
              <a:gd name="T66" fmla="*/ 787 w 3035"/>
              <a:gd name="T67" fmla="*/ 1123 h 2964"/>
              <a:gd name="T68" fmla="*/ 915 w 3035"/>
              <a:gd name="T69" fmla="*/ 1042 h 2964"/>
              <a:gd name="T70" fmla="*/ 938 w 3035"/>
              <a:gd name="T71" fmla="*/ 903 h 2964"/>
              <a:gd name="T72" fmla="*/ 764 w 3035"/>
              <a:gd name="T73" fmla="*/ 729 h 2964"/>
              <a:gd name="T74" fmla="*/ 1309 w 3035"/>
              <a:gd name="T75" fmla="*/ 174 h 2964"/>
              <a:gd name="T76" fmla="*/ 1517 w 3035"/>
              <a:gd name="T77" fmla="*/ 93 h 2964"/>
              <a:gd name="T78" fmla="*/ 1725 w 3035"/>
              <a:gd name="T79" fmla="*/ 174 h 2964"/>
              <a:gd name="T80" fmla="*/ 2269 w 3035"/>
              <a:gd name="T81" fmla="*/ 729 h 2964"/>
              <a:gd name="T82" fmla="*/ 2096 w 3035"/>
              <a:gd name="T83" fmla="*/ 903 h 2964"/>
              <a:gd name="T84" fmla="*/ 1957 w 3035"/>
              <a:gd name="T85" fmla="*/ 880 h 2964"/>
              <a:gd name="T86" fmla="*/ 1876 w 3035"/>
              <a:gd name="T87" fmla="*/ 752 h 2964"/>
              <a:gd name="T88" fmla="*/ 1609 w 3035"/>
              <a:gd name="T89" fmla="*/ 752 h 2964"/>
              <a:gd name="T90" fmla="*/ 1609 w 3035"/>
              <a:gd name="T91" fmla="*/ 1019 h 2964"/>
              <a:gd name="T92" fmla="*/ 1737 w 3035"/>
              <a:gd name="T93" fmla="*/ 1100 h 2964"/>
              <a:gd name="T94" fmla="*/ 1760 w 3035"/>
              <a:gd name="T95" fmla="*/ 1239 h 2964"/>
              <a:gd name="T96" fmla="*/ 1517 w 3035"/>
              <a:gd name="T97" fmla="*/ 1482 h 2964"/>
              <a:gd name="T98" fmla="*/ 1760 w 3035"/>
              <a:gd name="T99" fmla="*/ 1725 h 2964"/>
              <a:gd name="T100" fmla="*/ 1899 w 3035"/>
              <a:gd name="T101" fmla="*/ 1702 h 2964"/>
              <a:gd name="T102" fmla="*/ 1980 w 3035"/>
              <a:gd name="T103" fmla="*/ 1574 h 2964"/>
              <a:gd name="T104" fmla="*/ 2246 w 3035"/>
              <a:gd name="T105" fmla="*/ 1574 h 2964"/>
              <a:gd name="T106" fmla="*/ 2246 w 3035"/>
              <a:gd name="T107" fmla="*/ 1841 h 2964"/>
              <a:gd name="T108" fmla="*/ 2119 w 3035"/>
              <a:gd name="T109" fmla="*/ 1922 h 2964"/>
              <a:gd name="T110" fmla="*/ 2096 w 3035"/>
              <a:gd name="T111" fmla="*/ 2061 h 2964"/>
              <a:gd name="T112" fmla="*/ 2269 w 3035"/>
              <a:gd name="T113" fmla="*/ 2233 h 2964"/>
              <a:gd name="T114" fmla="*/ 1725 w 3035"/>
              <a:gd name="T115" fmla="*/ 2789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35" h="2964">
                <a:moveTo>
                  <a:pt x="2883" y="1215"/>
                </a:moveTo>
                <a:cubicBezTo>
                  <a:pt x="2339" y="660"/>
                  <a:pt x="2339" y="660"/>
                  <a:pt x="2339" y="660"/>
                </a:cubicBezTo>
                <a:cubicBezTo>
                  <a:pt x="1783" y="116"/>
                  <a:pt x="1783" y="116"/>
                  <a:pt x="1783" y="116"/>
                </a:cubicBezTo>
                <a:cubicBezTo>
                  <a:pt x="1714" y="35"/>
                  <a:pt x="1609" y="0"/>
                  <a:pt x="1517" y="0"/>
                </a:cubicBezTo>
                <a:cubicBezTo>
                  <a:pt x="1424" y="0"/>
                  <a:pt x="1320" y="35"/>
                  <a:pt x="1250" y="116"/>
                </a:cubicBezTo>
                <a:cubicBezTo>
                  <a:pt x="695" y="660"/>
                  <a:pt x="695" y="660"/>
                  <a:pt x="695" y="660"/>
                </a:cubicBezTo>
                <a:cubicBezTo>
                  <a:pt x="405" y="949"/>
                  <a:pt x="405" y="949"/>
                  <a:pt x="405" y="949"/>
                </a:cubicBezTo>
                <a:cubicBezTo>
                  <a:pt x="151" y="1215"/>
                  <a:pt x="151" y="1215"/>
                  <a:pt x="151" y="1215"/>
                </a:cubicBezTo>
                <a:cubicBezTo>
                  <a:pt x="0" y="1366"/>
                  <a:pt x="0" y="1598"/>
                  <a:pt x="151" y="1748"/>
                </a:cubicBezTo>
                <a:cubicBezTo>
                  <a:pt x="405" y="2015"/>
                  <a:pt x="405" y="2015"/>
                  <a:pt x="405" y="2015"/>
                </a:cubicBezTo>
                <a:cubicBezTo>
                  <a:pt x="695" y="2303"/>
                  <a:pt x="695" y="2303"/>
                  <a:pt x="695" y="2303"/>
                </a:cubicBezTo>
                <a:cubicBezTo>
                  <a:pt x="1250" y="2847"/>
                  <a:pt x="1250" y="2847"/>
                  <a:pt x="1250" y="2847"/>
                </a:cubicBezTo>
                <a:cubicBezTo>
                  <a:pt x="1320" y="2928"/>
                  <a:pt x="1424" y="2963"/>
                  <a:pt x="1517" y="2963"/>
                </a:cubicBezTo>
                <a:cubicBezTo>
                  <a:pt x="1609" y="2963"/>
                  <a:pt x="1714" y="2928"/>
                  <a:pt x="1783" y="2847"/>
                </a:cubicBezTo>
                <a:cubicBezTo>
                  <a:pt x="2339" y="2303"/>
                  <a:pt x="2339" y="2303"/>
                  <a:pt x="2339" y="2303"/>
                </a:cubicBezTo>
                <a:cubicBezTo>
                  <a:pt x="2883" y="1748"/>
                  <a:pt x="2883" y="1748"/>
                  <a:pt x="2883" y="1748"/>
                </a:cubicBezTo>
                <a:cubicBezTo>
                  <a:pt x="3034" y="1598"/>
                  <a:pt x="3034" y="1366"/>
                  <a:pt x="2883" y="1215"/>
                </a:cubicBezTo>
                <a:close/>
                <a:moveTo>
                  <a:pt x="1725" y="2789"/>
                </a:moveTo>
                <a:cubicBezTo>
                  <a:pt x="1667" y="2835"/>
                  <a:pt x="1598" y="2870"/>
                  <a:pt x="1517" y="2870"/>
                </a:cubicBezTo>
                <a:cubicBezTo>
                  <a:pt x="1436" y="2870"/>
                  <a:pt x="1366" y="2835"/>
                  <a:pt x="1309" y="2789"/>
                </a:cubicBezTo>
                <a:cubicBezTo>
                  <a:pt x="764" y="2233"/>
                  <a:pt x="764" y="2233"/>
                  <a:pt x="764" y="2233"/>
                </a:cubicBezTo>
                <a:cubicBezTo>
                  <a:pt x="938" y="2061"/>
                  <a:pt x="938" y="2061"/>
                  <a:pt x="938" y="2061"/>
                </a:cubicBezTo>
                <a:cubicBezTo>
                  <a:pt x="984" y="2015"/>
                  <a:pt x="1054" y="2026"/>
                  <a:pt x="1077" y="2084"/>
                </a:cubicBezTo>
                <a:cubicBezTo>
                  <a:pt x="1100" y="2130"/>
                  <a:pt x="1123" y="2188"/>
                  <a:pt x="1158" y="2211"/>
                </a:cubicBezTo>
                <a:cubicBezTo>
                  <a:pt x="1227" y="2291"/>
                  <a:pt x="1355" y="2291"/>
                  <a:pt x="1424" y="2211"/>
                </a:cubicBezTo>
                <a:cubicBezTo>
                  <a:pt x="1505" y="2142"/>
                  <a:pt x="1505" y="2015"/>
                  <a:pt x="1424" y="1945"/>
                </a:cubicBezTo>
                <a:cubicBezTo>
                  <a:pt x="1401" y="1910"/>
                  <a:pt x="1355" y="1876"/>
                  <a:pt x="1297" y="1864"/>
                </a:cubicBezTo>
                <a:cubicBezTo>
                  <a:pt x="1239" y="1841"/>
                  <a:pt x="1227" y="1771"/>
                  <a:pt x="1274" y="1725"/>
                </a:cubicBezTo>
                <a:cubicBezTo>
                  <a:pt x="1517" y="1482"/>
                  <a:pt x="1517" y="1482"/>
                  <a:pt x="1517" y="1482"/>
                </a:cubicBezTo>
                <a:cubicBezTo>
                  <a:pt x="1274" y="1239"/>
                  <a:pt x="1274" y="1239"/>
                  <a:pt x="1274" y="1239"/>
                </a:cubicBezTo>
                <a:cubicBezTo>
                  <a:pt x="1227" y="1192"/>
                  <a:pt x="1158" y="1204"/>
                  <a:pt x="1135" y="1262"/>
                </a:cubicBezTo>
                <a:cubicBezTo>
                  <a:pt x="1123" y="1320"/>
                  <a:pt x="1089" y="1366"/>
                  <a:pt x="1054" y="1389"/>
                </a:cubicBezTo>
                <a:cubicBezTo>
                  <a:pt x="984" y="1470"/>
                  <a:pt x="857" y="1470"/>
                  <a:pt x="787" y="1389"/>
                </a:cubicBezTo>
                <a:cubicBezTo>
                  <a:pt x="707" y="1320"/>
                  <a:pt x="707" y="1192"/>
                  <a:pt x="787" y="1123"/>
                </a:cubicBezTo>
                <a:cubicBezTo>
                  <a:pt x="811" y="1088"/>
                  <a:pt x="868" y="1065"/>
                  <a:pt x="915" y="1042"/>
                </a:cubicBezTo>
                <a:cubicBezTo>
                  <a:pt x="973" y="1019"/>
                  <a:pt x="984" y="949"/>
                  <a:pt x="938" y="903"/>
                </a:cubicBezTo>
                <a:cubicBezTo>
                  <a:pt x="764" y="729"/>
                  <a:pt x="764" y="729"/>
                  <a:pt x="764" y="729"/>
                </a:cubicBezTo>
                <a:cubicBezTo>
                  <a:pt x="1309" y="174"/>
                  <a:pt x="1309" y="174"/>
                  <a:pt x="1309" y="174"/>
                </a:cubicBezTo>
                <a:cubicBezTo>
                  <a:pt x="1366" y="127"/>
                  <a:pt x="1436" y="93"/>
                  <a:pt x="1517" y="93"/>
                </a:cubicBezTo>
                <a:cubicBezTo>
                  <a:pt x="1598" y="93"/>
                  <a:pt x="1667" y="127"/>
                  <a:pt x="1725" y="174"/>
                </a:cubicBezTo>
                <a:cubicBezTo>
                  <a:pt x="2269" y="729"/>
                  <a:pt x="2269" y="729"/>
                  <a:pt x="2269" y="729"/>
                </a:cubicBezTo>
                <a:cubicBezTo>
                  <a:pt x="2096" y="903"/>
                  <a:pt x="2096" y="903"/>
                  <a:pt x="2096" y="903"/>
                </a:cubicBezTo>
                <a:cubicBezTo>
                  <a:pt x="2050" y="949"/>
                  <a:pt x="1980" y="938"/>
                  <a:pt x="1957" y="880"/>
                </a:cubicBezTo>
                <a:cubicBezTo>
                  <a:pt x="1934" y="833"/>
                  <a:pt x="1911" y="776"/>
                  <a:pt x="1876" y="752"/>
                </a:cubicBezTo>
                <a:cubicBezTo>
                  <a:pt x="1806" y="672"/>
                  <a:pt x="1679" y="672"/>
                  <a:pt x="1609" y="752"/>
                </a:cubicBezTo>
                <a:cubicBezTo>
                  <a:pt x="1528" y="822"/>
                  <a:pt x="1528" y="949"/>
                  <a:pt x="1609" y="1019"/>
                </a:cubicBezTo>
                <a:cubicBezTo>
                  <a:pt x="1633" y="1054"/>
                  <a:pt x="1679" y="1088"/>
                  <a:pt x="1737" y="1100"/>
                </a:cubicBezTo>
                <a:cubicBezTo>
                  <a:pt x="1795" y="1123"/>
                  <a:pt x="1806" y="1192"/>
                  <a:pt x="1760" y="1239"/>
                </a:cubicBezTo>
                <a:cubicBezTo>
                  <a:pt x="1517" y="1482"/>
                  <a:pt x="1517" y="1482"/>
                  <a:pt x="1517" y="1482"/>
                </a:cubicBezTo>
                <a:cubicBezTo>
                  <a:pt x="1760" y="1725"/>
                  <a:pt x="1760" y="1725"/>
                  <a:pt x="1760" y="1725"/>
                </a:cubicBezTo>
                <a:cubicBezTo>
                  <a:pt x="1806" y="1771"/>
                  <a:pt x="1876" y="1760"/>
                  <a:pt x="1899" y="1702"/>
                </a:cubicBezTo>
                <a:cubicBezTo>
                  <a:pt x="1911" y="1644"/>
                  <a:pt x="1945" y="1598"/>
                  <a:pt x="1980" y="1574"/>
                </a:cubicBezTo>
                <a:cubicBezTo>
                  <a:pt x="2050" y="1493"/>
                  <a:pt x="2177" y="1493"/>
                  <a:pt x="2246" y="1574"/>
                </a:cubicBezTo>
                <a:cubicBezTo>
                  <a:pt x="2327" y="1644"/>
                  <a:pt x="2327" y="1771"/>
                  <a:pt x="2246" y="1841"/>
                </a:cubicBezTo>
                <a:cubicBezTo>
                  <a:pt x="2223" y="1876"/>
                  <a:pt x="2165" y="1899"/>
                  <a:pt x="2119" y="1922"/>
                </a:cubicBezTo>
                <a:cubicBezTo>
                  <a:pt x="2061" y="1945"/>
                  <a:pt x="2050" y="2015"/>
                  <a:pt x="2096" y="2061"/>
                </a:cubicBezTo>
                <a:cubicBezTo>
                  <a:pt x="2269" y="2233"/>
                  <a:pt x="2269" y="2233"/>
                  <a:pt x="2269" y="2233"/>
                </a:cubicBezTo>
                <a:lnTo>
                  <a:pt x="1725" y="2789"/>
                </a:lnTo>
                <a:close/>
              </a:path>
            </a:pathLst>
          </a:custGeom>
          <a:solidFill>
            <a:schemeClr val="tx1"/>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cs typeface="Arial"/>
            </a:endParaRPr>
          </a:p>
        </p:txBody>
      </p:sp>
      <p:sp>
        <p:nvSpPr>
          <p:cNvPr id="14" name="Freeform 2">
            <a:extLst>
              <a:ext uri="{FF2B5EF4-FFF2-40B4-BE49-F238E27FC236}">
                <a16:creationId xmlns:a16="http://schemas.microsoft.com/office/drawing/2014/main" id="{CA65BE8F-70D0-4FF8-BA56-C9C1CA37A0DD}"/>
              </a:ext>
            </a:extLst>
          </p:cNvPr>
          <p:cNvSpPr>
            <a:spLocks noChangeAspect="1"/>
          </p:cNvSpPr>
          <p:nvPr/>
        </p:nvSpPr>
        <p:spPr>
          <a:xfrm>
            <a:off x="4356420" y="2252917"/>
            <a:ext cx="624548" cy="527275"/>
          </a:xfrm>
          <a:custGeom>
            <a:avLst/>
            <a:gdLst/>
            <a:ahLst/>
            <a:cxnLst/>
            <a:rect l="0" t="0" r="r" b="b"/>
            <a:pathLst>
              <a:path w="12732" h="10749">
                <a:moveTo>
                  <a:pt x="10119" y="8267"/>
                </a:moveTo>
                <a:lnTo>
                  <a:pt x="10119" y="8267"/>
                </a:lnTo>
                <a:cubicBezTo>
                  <a:pt x="10565" y="8714"/>
                  <a:pt x="10565" y="8714"/>
                  <a:pt x="10565" y="8714"/>
                </a:cubicBezTo>
                <a:cubicBezTo>
                  <a:pt x="9573" y="9954"/>
                  <a:pt x="8052" y="10748"/>
                  <a:pt x="6349" y="10748"/>
                </a:cubicBezTo>
                <a:cubicBezTo>
                  <a:pt x="3389" y="10748"/>
                  <a:pt x="992" y="8333"/>
                  <a:pt x="992" y="5374"/>
                </a:cubicBezTo>
                <a:cubicBezTo>
                  <a:pt x="992" y="5126"/>
                  <a:pt x="1008" y="4895"/>
                  <a:pt x="1024" y="4663"/>
                </a:cubicBezTo>
                <a:cubicBezTo>
                  <a:pt x="512" y="5193"/>
                  <a:pt x="512" y="5193"/>
                  <a:pt x="512" y="5193"/>
                </a:cubicBezTo>
                <a:cubicBezTo>
                  <a:pt x="429" y="5259"/>
                  <a:pt x="297" y="5259"/>
                  <a:pt x="214" y="5193"/>
                </a:cubicBezTo>
                <a:cubicBezTo>
                  <a:pt x="82" y="5044"/>
                  <a:pt x="82" y="5044"/>
                  <a:pt x="82" y="5044"/>
                </a:cubicBezTo>
                <a:cubicBezTo>
                  <a:pt x="0" y="4961"/>
                  <a:pt x="0" y="4829"/>
                  <a:pt x="82" y="4746"/>
                </a:cubicBezTo>
                <a:cubicBezTo>
                  <a:pt x="1438" y="3373"/>
                  <a:pt x="1438" y="3373"/>
                  <a:pt x="1438" y="3373"/>
                </a:cubicBezTo>
                <a:cubicBezTo>
                  <a:pt x="2810" y="4746"/>
                  <a:pt x="2810" y="4746"/>
                  <a:pt x="2810" y="4746"/>
                </a:cubicBezTo>
                <a:cubicBezTo>
                  <a:pt x="2893" y="4829"/>
                  <a:pt x="2893" y="4961"/>
                  <a:pt x="2810" y="5044"/>
                </a:cubicBezTo>
                <a:cubicBezTo>
                  <a:pt x="2678" y="5193"/>
                  <a:pt x="2678" y="5193"/>
                  <a:pt x="2678" y="5193"/>
                </a:cubicBezTo>
                <a:cubicBezTo>
                  <a:pt x="2596" y="5275"/>
                  <a:pt x="2463" y="5275"/>
                  <a:pt x="2381" y="5193"/>
                </a:cubicBezTo>
                <a:cubicBezTo>
                  <a:pt x="1686" y="4498"/>
                  <a:pt x="1686" y="4498"/>
                  <a:pt x="1686" y="4498"/>
                </a:cubicBezTo>
                <a:cubicBezTo>
                  <a:pt x="1637" y="4779"/>
                  <a:pt x="1603" y="5077"/>
                  <a:pt x="1603" y="5374"/>
                </a:cubicBezTo>
                <a:cubicBezTo>
                  <a:pt x="1603" y="7986"/>
                  <a:pt x="3736" y="10119"/>
                  <a:pt x="6349" y="10119"/>
                </a:cubicBezTo>
                <a:cubicBezTo>
                  <a:pt x="7886" y="10119"/>
                  <a:pt x="9242" y="9392"/>
                  <a:pt x="10119" y="8267"/>
                </a:cubicBezTo>
                <a:moveTo>
                  <a:pt x="12648" y="5589"/>
                </a:moveTo>
                <a:lnTo>
                  <a:pt x="12648" y="5589"/>
                </a:lnTo>
                <a:cubicBezTo>
                  <a:pt x="12500" y="5440"/>
                  <a:pt x="12500" y="5440"/>
                  <a:pt x="12500" y="5440"/>
                </a:cubicBezTo>
                <a:cubicBezTo>
                  <a:pt x="12434" y="5357"/>
                  <a:pt x="12301" y="5357"/>
                  <a:pt x="12219" y="5440"/>
                </a:cubicBezTo>
                <a:cubicBezTo>
                  <a:pt x="11690" y="5969"/>
                  <a:pt x="11690" y="5969"/>
                  <a:pt x="11690" y="5969"/>
                </a:cubicBezTo>
                <a:cubicBezTo>
                  <a:pt x="11706" y="5771"/>
                  <a:pt x="11722" y="5572"/>
                  <a:pt x="11722" y="5374"/>
                </a:cubicBezTo>
                <a:cubicBezTo>
                  <a:pt x="11722" y="2415"/>
                  <a:pt x="9308" y="0"/>
                  <a:pt x="6349" y="0"/>
                </a:cubicBezTo>
                <a:cubicBezTo>
                  <a:pt x="4646" y="0"/>
                  <a:pt x="3141" y="794"/>
                  <a:pt x="2149" y="2034"/>
                </a:cubicBezTo>
                <a:cubicBezTo>
                  <a:pt x="2596" y="2481"/>
                  <a:pt x="2596" y="2481"/>
                  <a:pt x="2596" y="2481"/>
                </a:cubicBezTo>
                <a:cubicBezTo>
                  <a:pt x="3455" y="1356"/>
                  <a:pt x="4828" y="629"/>
                  <a:pt x="6349" y="629"/>
                </a:cubicBezTo>
                <a:cubicBezTo>
                  <a:pt x="8978" y="629"/>
                  <a:pt x="11111" y="2762"/>
                  <a:pt x="11111" y="5374"/>
                </a:cubicBezTo>
                <a:cubicBezTo>
                  <a:pt x="11111" y="5638"/>
                  <a:pt x="11077" y="5886"/>
                  <a:pt x="11045" y="6134"/>
                </a:cubicBezTo>
                <a:cubicBezTo>
                  <a:pt x="10333" y="5440"/>
                  <a:pt x="10333" y="5440"/>
                  <a:pt x="10333" y="5440"/>
                </a:cubicBezTo>
                <a:cubicBezTo>
                  <a:pt x="10267" y="5357"/>
                  <a:pt x="10135" y="5357"/>
                  <a:pt x="10052" y="5440"/>
                </a:cubicBezTo>
                <a:cubicBezTo>
                  <a:pt x="9904" y="5589"/>
                  <a:pt x="9904" y="5589"/>
                  <a:pt x="9904" y="5589"/>
                </a:cubicBezTo>
                <a:cubicBezTo>
                  <a:pt x="9821" y="5655"/>
                  <a:pt x="9821" y="5787"/>
                  <a:pt x="9904" y="5869"/>
                </a:cubicBezTo>
                <a:cubicBezTo>
                  <a:pt x="11276" y="7242"/>
                  <a:pt x="11276" y="7242"/>
                  <a:pt x="11276" y="7242"/>
                </a:cubicBezTo>
                <a:cubicBezTo>
                  <a:pt x="12648" y="5869"/>
                  <a:pt x="12648" y="5869"/>
                  <a:pt x="12648" y="5869"/>
                </a:cubicBezTo>
                <a:cubicBezTo>
                  <a:pt x="12731" y="5803"/>
                  <a:pt x="12731" y="5671"/>
                  <a:pt x="12648" y="5589"/>
                </a:cubicBezTo>
                <a:moveTo>
                  <a:pt x="8614" y="5969"/>
                </a:moveTo>
                <a:lnTo>
                  <a:pt x="8614" y="5969"/>
                </a:lnTo>
                <a:cubicBezTo>
                  <a:pt x="8564" y="6167"/>
                  <a:pt x="8481" y="6366"/>
                  <a:pt x="8365" y="6547"/>
                </a:cubicBezTo>
                <a:cubicBezTo>
                  <a:pt x="8680" y="7209"/>
                  <a:pt x="8680" y="7209"/>
                  <a:pt x="8680" y="7209"/>
                </a:cubicBezTo>
                <a:cubicBezTo>
                  <a:pt x="8531" y="7391"/>
                  <a:pt x="8365" y="7556"/>
                  <a:pt x="8184" y="7705"/>
                </a:cubicBezTo>
                <a:cubicBezTo>
                  <a:pt x="7506" y="7391"/>
                  <a:pt x="7506" y="7391"/>
                  <a:pt x="7506" y="7391"/>
                </a:cubicBezTo>
                <a:cubicBezTo>
                  <a:pt x="7423" y="7441"/>
                  <a:pt x="7324" y="7473"/>
                  <a:pt x="7241" y="7523"/>
                </a:cubicBezTo>
                <a:cubicBezTo>
                  <a:pt x="7142" y="7556"/>
                  <a:pt x="7043" y="7589"/>
                  <a:pt x="6944" y="7606"/>
                </a:cubicBezTo>
                <a:cubicBezTo>
                  <a:pt x="6679" y="8317"/>
                  <a:pt x="6679" y="8317"/>
                  <a:pt x="6679" y="8317"/>
                </a:cubicBezTo>
                <a:cubicBezTo>
                  <a:pt x="6447" y="8333"/>
                  <a:pt x="6217" y="8333"/>
                  <a:pt x="5985" y="8300"/>
                </a:cubicBezTo>
                <a:cubicBezTo>
                  <a:pt x="5738" y="7606"/>
                  <a:pt x="5738" y="7606"/>
                  <a:pt x="5738" y="7606"/>
                </a:cubicBezTo>
                <a:cubicBezTo>
                  <a:pt x="5539" y="7539"/>
                  <a:pt x="5357" y="7457"/>
                  <a:pt x="5175" y="7358"/>
                </a:cubicBezTo>
                <a:cubicBezTo>
                  <a:pt x="4497" y="7672"/>
                  <a:pt x="4497" y="7672"/>
                  <a:pt x="4497" y="7672"/>
                </a:cubicBezTo>
                <a:cubicBezTo>
                  <a:pt x="4315" y="7523"/>
                  <a:pt x="4150" y="7358"/>
                  <a:pt x="4001" y="7160"/>
                </a:cubicBezTo>
                <a:cubicBezTo>
                  <a:pt x="4332" y="6498"/>
                  <a:pt x="4332" y="6498"/>
                  <a:pt x="4332" y="6498"/>
                </a:cubicBezTo>
                <a:cubicBezTo>
                  <a:pt x="4282" y="6415"/>
                  <a:pt x="4233" y="6316"/>
                  <a:pt x="4199" y="6217"/>
                </a:cubicBezTo>
                <a:cubicBezTo>
                  <a:pt x="4150" y="6118"/>
                  <a:pt x="4133" y="6018"/>
                  <a:pt x="4100" y="5919"/>
                </a:cubicBezTo>
                <a:cubicBezTo>
                  <a:pt x="3406" y="5671"/>
                  <a:pt x="3406" y="5671"/>
                  <a:pt x="3406" y="5671"/>
                </a:cubicBezTo>
                <a:cubicBezTo>
                  <a:pt x="3373" y="5440"/>
                  <a:pt x="3389" y="5193"/>
                  <a:pt x="3406" y="4961"/>
                </a:cubicBezTo>
                <a:cubicBezTo>
                  <a:pt x="4117" y="4730"/>
                  <a:pt x="4117" y="4730"/>
                  <a:pt x="4117" y="4730"/>
                </a:cubicBezTo>
                <a:cubicBezTo>
                  <a:pt x="4167" y="4531"/>
                  <a:pt x="4249" y="4333"/>
                  <a:pt x="4349" y="4151"/>
                </a:cubicBezTo>
                <a:cubicBezTo>
                  <a:pt x="4051" y="3489"/>
                  <a:pt x="4051" y="3489"/>
                  <a:pt x="4051" y="3489"/>
                </a:cubicBezTo>
                <a:cubicBezTo>
                  <a:pt x="4183" y="3307"/>
                  <a:pt x="4365" y="3142"/>
                  <a:pt x="4547" y="2993"/>
                </a:cubicBezTo>
                <a:cubicBezTo>
                  <a:pt x="5208" y="3324"/>
                  <a:pt x="5208" y="3324"/>
                  <a:pt x="5208" y="3324"/>
                </a:cubicBezTo>
                <a:cubicBezTo>
                  <a:pt x="5307" y="3274"/>
                  <a:pt x="5390" y="3225"/>
                  <a:pt x="5489" y="3175"/>
                </a:cubicBezTo>
                <a:cubicBezTo>
                  <a:pt x="5588" y="3142"/>
                  <a:pt x="5688" y="3109"/>
                  <a:pt x="5787" y="3092"/>
                </a:cubicBezTo>
                <a:cubicBezTo>
                  <a:pt x="6035" y="2398"/>
                  <a:pt x="6035" y="2398"/>
                  <a:pt x="6035" y="2398"/>
                </a:cubicBezTo>
                <a:cubicBezTo>
                  <a:pt x="6283" y="2365"/>
                  <a:pt x="6513" y="2365"/>
                  <a:pt x="6745" y="2398"/>
                </a:cubicBezTo>
                <a:cubicBezTo>
                  <a:pt x="6993" y="3092"/>
                  <a:pt x="6993" y="3092"/>
                  <a:pt x="6993" y="3092"/>
                </a:cubicBezTo>
                <a:cubicBezTo>
                  <a:pt x="7192" y="3159"/>
                  <a:pt x="7373" y="3241"/>
                  <a:pt x="7555" y="3341"/>
                </a:cubicBezTo>
                <a:cubicBezTo>
                  <a:pt x="8233" y="3026"/>
                  <a:pt x="8233" y="3026"/>
                  <a:pt x="8233" y="3026"/>
                </a:cubicBezTo>
                <a:cubicBezTo>
                  <a:pt x="8415" y="3175"/>
                  <a:pt x="8581" y="3341"/>
                  <a:pt x="8713" y="3539"/>
                </a:cubicBezTo>
                <a:cubicBezTo>
                  <a:pt x="8399" y="4200"/>
                  <a:pt x="8399" y="4200"/>
                  <a:pt x="8399" y="4200"/>
                </a:cubicBezTo>
                <a:cubicBezTo>
                  <a:pt x="8449" y="4283"/>
                  <a:pt x="8498" y="4383"/>
                  <a:pt x="8531" y="4481"/>
                </a:cubicBezTo>
                <a:cubicBezTo>
                  <a:pt x="8564" y="4581"/>
                  <a:pt x="8597" y="4680"/>
                  <a:pt x="8630" y="4779"/>
                </a:cubicBezTo>
                <a:cubicBezTo>
                  <a:pt x="9325" y="5027"/>
                  <a:pt x="9325" y="5027"/>
                  <a:pt x="9325" y="5027"/>
                </a:cubicBezTo>
                <a:cubicBezTo>
                  <a:pt x="9341" y="5259"/>
                  <a:pt x="9341" y="5506"/>
                  <a:pt x="9308" y="5737"/>
                </a:cubicBezTo>
                <a:lnTo>
                  <a:pt x="8614" y="5969"/>
                </a:lnTo>
                <a:moveTo>
                  <a:pt x="7225" y="5126"/>
                </a:moveTo>
                <a:lnTo>
                  <a:pt x="7225" y="5126"/>
                </a:lnTo>
                <a:cubicBezTo>
                  <a:pt x="7092" y="4647"/>
                  <a:pt x="6613" y="4366"/>
                  <a:pt x="6134" y="4481"/>
                </a:cubicBezTo>
                <a:cubicBezTo>
                  <a:pt x="5655" y="4614"/>
                  <a:pt x="5374" y="5110"/>
                  <a:pt x="5506" y="5589"/>
                </a:cubicBezTo>
                <a:cubicBezTo>
                  <a:pt x="5622" y="6052"/>
                  <a:pt x="6118" y="6349"/>
                  <a:pt x="6597" y="6217"/>
                </a:cubicBezTo>
                <a:cubicBezTo>
                  <a:pt x="7076" y="6084"/>
                  <a:pt x="7357" y="5589"/>
                  <a:pt x="7225" y="5126"/>
                </a:cubicBezTo>
              </a:path>
            </a:pathLst>
          </a:custGeom>
          <a:solidFill>
            <a:schemeClr val="tx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2D2A"/>
              </a:solidFill>
              <a:effectLst/>
              <a:uLnTx/>
              <a:uFillTx/>
              <a:latin typeface="Oracle Sans"/>
              <a:cs typeface="Arial"/>
            </a:endParaRPr>
          </a:p>
        </p:txBody>
      </p:sp>
      <p:sp>
        <p:nvSpPr>
          <p:cNvPr id="17" name="Footer Placeholder 12">
            <a:extLst>
              <a:ext uri="{FF2B5EF4-FFF2-40B4-BE49-F238E27FC236}">
                <a16:creationId xmlns:a16="http://schemas.microsoft.com/office/drawing/2014/main" id="{A0AEEA99-04B2-484C-B8FB-10FFAB0F0E59}"/>
              </a:ext>
            </a:extLst>
          </p:cNvPr>
          <p:cNvSpPr txBox="1">
            <a:spLocks/>
          </p:cNvSpPr>
          <p:nvPr/>
        </p:nvSpPr>
        <p:spPr>
          <a:xfrm>
            <a:off x="1127758" y="6423978"/>
            <a:ext cx="90000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a:ea typeface="+mn-ea"/>
                <a:cs typeface="Oracle Sans" panose="020B0503020204020204" pitchFamily="34" charset="0"/>
              </a:rPr>
              <a:t>Copyright © 2020 Oracle and/or its affiliates	</a:t>
            </a:r>
          </a:p>
        </p:txBody>
      </p:sp>
      <p:sp>
        <p:nvSpPr>
          <p:cNvPr id="18" name="Text Placeholder 17">
            <a:extLst>
              <a:ext uri="{FF2B5EF4-FFF2-40B4-BE49-F238E27FC236}">
                <a16:creationId xmlns:a16="http://schemas.microsoft.com/office/drawing/2014/main" id="{1E25B68E-0828-4074-A8C3-D1E3D0581F93}"/>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925355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87325-D89F-E840-970A-FCD61436EAA5}"/>
              </a:ext>
            </a:extLst>
          </p:cNvPr>
          <p:cNvSpPr>
            <a:spLocks noGrp="1"/>
          </p:cNvSpPr>
          <p:nvPr>
            <p:ph type="title"/>
          </p:nvPr>
        </p:nvSpPr>
        <p:spPr/>
        <p:txBody>
          <a:bodyPr/>
          <a:lstStyle/>
          <a:p>
            <a:r>
              <a:rPr lang="fr-CA" dirty="0"/>
              <a:t>Focus sur OCI Data </a:t>
            </a:r>
            <a:r>
              <a:rPr lang="fr-CA" dirty="0" err="1"/>
              <a:t>Integration</a:t>
            </a:r>
            <a:r>
              <a:rPr lang="fr-CA" dirty="0"/>
              <a:t> </a:t>
            </a:r>
            <a:br>
              <a:rPr lang="fr-CA" dirty="0"/>
            </a:br>
            <a:r>
              <a:rPr lang="fr-CA" sz="1800" b="0" dirty="0"/>
              <a:t>Création et ordonnancement de flux de données avec OCI Data </a:t>
            </a:r>
            <a:r>
              <a:rPr lang="fr-CA" sz="1800" b="0" dirty="0" err="1"/>
              <a:t>integration</a:t>
            </a:r>
            <a:endParaRPr lang="fr-CA" b="0" dirty="0"/>
          </a:p>
        </p:txBody>
      </p:sp>
      <p:sp>
        <p:nvSpPr>
          <p:cNvPr id="5" name="Slide Number Placeholder 4">
            <a:extLst>
              <a:ext uri="{FF2B5EF4-FFF2-40B4-BE49-F238E27FC236}">
                <a16:creationId xmlns:a16="http://schemas.microsoft.com/office/drawing/2014/main" id="{DC10C8DC-CDE8-1543-A372-6B4EE4CC162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tabLst/>
              <a:defRPr/>
            </a:pPr>
            <a:fld id="{7C371504-33D9-B044-8C50-620C44A06CB1}" type="slidenum">
              <a:rPr kumimoji="0" lang="en-US" sz="1000" b="0" i="0" u="none" strike="noStrike" kern="1200" cap="none" spc="0" normalizeH="0" baseline="0" noProof="0" smtClean="0">
                <a:ln>
                  <a:noFill/>
                </a:ln>
                <a:solidFill>
                  <a:srgbClr val="8B8078"/>
                </a:solidFill>
                <a:effectLst/>
                <a:uLnTx/>
                <a:uFillTx/>
                <a:latin typeface="Oracle Sans"/>
                <a:ea typeface="+mn-ea"/>
                <a:cs typeface="Oracle Sans" panose="020B0503020204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26</a:t>
            </a:fld>
            <a:endParaRPr kumimoji="0" lang="en-US" sz="1000" b="0" i="0" u="none" strike="noStrike" kern="1200" cap="none" spc="0" normalizeH="0" baseline="0" noProof="0">
              <a:ln>
                <a:noFill/>
              </a:ln>
              <a:solidFill>
                <a:srgbClr val="8B8078"/>
              </a:solidFill>
              <a:effectLst/>
              <a:uLnTx/>
              <a:uFillTx/>
              <a:latin typeface="Oracle Sans"/>
              <a:ea typeface="+mn-ea"/>
              <a:cs typeface="Oracle Sans" panose="020B0503020204020204" pitchFamily="34" charset="0"/>
            </a:endParaRPr>
          </a:p>
        </p:txBody>
      </p:sp>
      <p:sp>
        <p:nvSpPr>
          <p:cNvPr id="10" name="Footer Placeholder 4">
            <a:extLst>
              <a:ext uri="{FF2B5EF4-FFF2-40B4-BE49-F238E27FC236}">
                <a16:creationId xmlns:a16="http://schemas.microsoft.com/office/drawing/2014/main" id="{880C9023-637D-494C-95E3-A86047569BA4}"/>
              </a:ext>
            </a:extLst>
          </p:cNvPr>
          <p:cNvSpPr>
            <a:spLocks noGrp="1"/>
          </p:cNvSpPr>
          <p:nvPr>
            <p:ph type="ftr" sz="quarter" idx="3"/>
          </p:nvPr>
        </p:nvSpPr>
        <p:spPr>
          <a:xfrm>
            <a:off x="694944" y="6514977"/>
            <a:ext cx="7127152" cy="365125"/>
          </a:xfrm>
          <a:prstGeom prst="rect">
            <a:avLst/>
          </a:prstGeom>
        </p:spPr>
        <p:txBody>
          <a:bodyPr vert="horz" lIns="0" tIns="45720" rIns="0" bIns="45720" rtlCol="0" anchor="ctr"/>
          <a:lstStyle>
            <a:lvl1pPr algn="l">
              <a:defRPr sz="650" b="0" i="0">
                <a:solidFill>
                  <a:schemeClr val="bg2">
                    <a:lumMod val="75000"/>
                  </a:schemeClr>
                </a:solidFill>
                <a:latin typeface="Oracle Sans" panose="020B0503020204020204" pitchFamily="34" charset="0"/>
                <a:cs typeface="Oracle Sans" panose="020B0503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CFBFA">
                    <a:lumMod val="75000"/>
                  </a:srgbClr>
                </a:solidFill>
                <a:effectLst/>
                <a:uLnTx/>
                <a:uFillTx/>
                <a:latin typeface="Oracle Sans" panose="020B0503020204020204" pitchFamily="34" charset="0"/>
              </a:rPr>
              <a:t>Copyright © 2021 Oracle and/or its affiliates.</a:t>
            </a:r>
          </a:p>
        </p:txBody>
      </p:sp>
      <p:pic>
        <p:nvPicPr>
          <p:cNvPr id="7" name="Picture 6">
            <a:extLst>
              <a:ext uri="{FF2B5EF4-FFF2-40B4-BE49-F238E27FC236}">
                <a16:creationId xmlns:a16="http://schemas.microsoft.com/office/drawing/2014/main" id="{E780EBEF-7389-40E2-B84C-60DEB1DBB87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68095" y="2575932"/>
            <a:ext cx="7287463" cy="4031641"/>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8A547583-4428-42D1-BBE7-50AFA52813F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4881" y="2105024"/>
            <a:ext cx="7388605" cy="37270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4934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2BCC67-9C42-4CB5-8978-2076C26F990F}"/>
              </a:ext>
            </a:extLst>
          </p:cNvPr>
          <p:cNvSpPr>
            <a:spLocks noGrp="1"/>
          </p:cNvSpPr>
          <p:nvPr>
            <p:ph idx="1"/>
          </p:nvPr>
        </p:nvSpPr>
        <p:spPr>
          <a:xfrm>
            <a:off x="766871" y="1830033"/>
            <a:ext cx="4241357" cy="4277080"/>
          </a:xfrm>
        </p:spPr>
        <p:txBody>
          <a:bodyPr/>
          <a:lstStyle/>
          <a:p>
            <a:pPr marL="285750" indent="-285750">
              <a:buFont typeface="Arial" panose="020B0604020202020204" pitchFamily="34" charset="0"/>
              <a:buChar char="•"/>
            </a:pPr>
            <a:r>
              <a:rPr lang="fr-CA" sz="2000" dirty="0"/>
              <a:t>Interface unique de gouvernance de données pour les utilisateurs métiers et techniques</a:t>
            </a:r>
          </a:p>
          <a:p>
            <a:pPr marL="285750" indent="-285750">
              <a:buFont typeface="Arial" panose="020B0604020202020204" pitchFamily="34" charset="0"/>
              <a:buChar char="•"/>
            </a:pPr>
            <a:endParaRPr lang="fr-CA" sz="2000" dirty="0"/>
          </a:p>
          <a:p>
            <a:pPr marL="285750" indent="-285750">
              <a:buFont typeface="Arial" panose="020B0604020202020204" pitchFamily="34" charset="0"/>
              <a:buChar char="•"/>
            </a:pPr>
            <a:r>
              <a:rPr lang="fr-CA" sz="2000" dirty="0"/>
              <a:t>Collecte des </a:t>
            </a:r>
            <a:r>
              <a:rPr lang="fr-CA" sz="2000" dirty="0" err="1"/>
              <a:t>méta-données</a:t>
            </a:r>
            <a:r>
              <a:rPr lang="fr-CA" sz="2000" dirty="0"/>
              <a:t> et découverte de </a:t>
            </a:r>
            <a:r>
              <a:rPr lang="fr-CA" sz="2000" dirty="0" err="1"/>
              <a:t>lineage</a:t>
            </a:r>
            <a:r>
              <a:rPr lang="fr-CA" sz="2000" dirty="0"/>
              <a:t> de données</a:t>
            </a:r>
          </a:p>
          <a:p>
            <a:pPr marL="285750" indent="-285750">
              <a:buFont typeface="Arial" panose="020B0604020202020204" pitchFamily="34" charset="0"/>
              <a:buChar char="•"/>
            </a:pPr>
            <a:endParaRPr lang="fr-CA" sz="2000" dirty="0"/>
          </a:p>
          <a:p>
            <a:pPr marL="285750" indent="-285750">
              <a:buFont typeface="Arial" panose="020B0604020202020204" pitchFamily="34" charset="0"/>
              <a:buChar char="•"/>
            </a:pPr>
            <a:r>
              <a:rPr lang="fr-CA" sz="2000" dirty="0"/>
              <a:t>Glossaire métier pour créer un pont les données techniques </a:t>
            </a:r>
          </a:p>
          <a:p>
            <a:pPr marL="285750" indent="-285750">
              <a:buFont typeface="Arial" panose="020B0604020202020204" pitchFamily="34" charset="0"/>
              <a:buChar char="•"/>
            </a:pPr>
            <a:endParaRPr lang="fr-CA" sz="2000" dirty="0"/>
          </a:p>
          <a:p>
            <a:pPr marL="285750" indent="-285750">
              <a:buFont typeface="Arial" panose="020B0604020202020204" pitchFamily="34" charset="0"/>
              <a:buChar char="•"/>
            </a:pPr>
            <a:r>
              <a:rPr lang="fr-CA" sz="2000" dirty="0"/>
              <a:t>Service complément managé et sécurisé par Oracle cloud</a:t>
            </a:r>
          </a:p>
          <a:p>
            <a:endParaRPr lang="fr-CA" sz="2000" dirty="0"/>
          </a:p>
          <a:p>
            <a:pPr marL="457200" indent="-457200">
              <a:buFont typeface="Arial" panose="020B0604020202020204" pitchFamily="34" charset="0"/>
              <a:buChar char="•"/>
            </a:pPr>
            <a:endParaRPr lang="fr-CA" sz="2000" dirty="0"/>
          </a:p>
          <a:p>
            <a:pPr marL="457200" indent="-457200">
              <a:lnSpc>
                <a:spcPct val="100000"/>
              </a:lnSpc>
              <a:buFont typeface="Arial" panose="020B0604020202020204" pitchFamily="34" charset="0"/>
              <a:buChar char="•"/>
            </a:pPr>
            <a:endParaRPr lang="fr-CA" sz="2000" dirty="0"/>
          </a:p>
        </p:txBody>
      </p:sp>
      <p:sp>
        <p:nvSpPr>
          <p:cNvPr id="4" name="Slide Number Placeholder 3">
            <a:extLst>
              <a:ext uri="{FF2B5EF4-FFF2-40B4-BE49-F238E27FC236}">
                <a16:creationId xmlns:a16="http://schemas.microsoft.com/office/drawing/2014/main" id="{11BBCDDF-632E-4B2C-ADFF-89EC582F9E8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8B8580"/>
              </a:solidFill>
              <a:effectLst/>
              <a:uLnTx/>
              <a:uFillTx/>
              <a:latin typeface="Oracle Sans"/>
              <a:cs typeface="Arial"/>
            </a:endParaRPr>
          </a:p>
        </p:txBody>
      </p:sp>
      <p:sp>
        <p:nvSpPr>
          <p:cNvPr id="5" name="Footer Placeholder 4">
            <a:extLst>
              <a:ext uri="{FF2B5EF4-FFF2-40B4-BE49-F238E27FC236}">
                <a16:creationId xmlns:a16="http://schemas.microsoft.com/office/drawing/2014/main" id="{F290A133-4FCE-4D83-B46D-AD0F2696589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a:cs typeface="Arial"/>
              </a:rPr>
              <a:t>Copyright © 2020, Oracle and/or its affiliates. All rights reserved.</a:t>
            </a:r>
          </a:p>
        </p:txBody>
      </p:sp>
      <p:pic>
        <p:nvPicPr>
          <p:cNvPr id="9" name="Picture 8">
            <a:extLst>
              <a:ext uri="{FF2B5EF4-FFF2-40B4-BE49-F238E27FC236}">
                <a16:creationId xmlns:a16="http://schemas.microsoft.com/office/drawing/2014/main" id="{39AD2155-44EB-4B60-93C4-18A689E43030}"/>
              </a:ext>
            </a:extLst>
          </p:cNvPr>
          <p:cNvPicPr>
            <a:picLocks noChangeAspect="1"/>
          </p:cNvPicPr>
          <p:nvPr/>
        </p:nvPicPr>
        <p:blipFill>
          <a:blip r:embed="rId3"/>
          <a:srcRect b="1880"/>
          <a:stretch>
            <a:fillRect/>
          </a:stretch>
        </p:blipFill>
        <p:spPr>
          <a:xfrm>
            <a:off x="5188758" y="1780838"/>
            <a:ext cx="6593270" cy="4375470"/>
          </a:xfrm>
          <a:prstGeom prst="rect">
            <a:avLst/>
          </a:prstGeom>
          <a:ln>
            <a:solidFill>
              <a:schemeClr val="tx1"/>
            </a:solidFill>
          </a:ln>
        </p:spPr>
      </p:pic>
      <p:sp>
        <p:nvSpPr>
          <p:cNvPr id="10" name="Title 1">
            <a:extLst>
              <a:ext uri="{FF2B5EF4-FFF2-40B4-BE49-F238E27FC236}">
                <a16:creationId xmlns:a16="http://schemas.microsoft.com/office/drawing/2014/main" id="{3A660E7F-A6B9-4DDB-82BB-91D18B7FE8E7}"/>
              </a:ext>
            </a:extLst>
          </p:cNvPr>
          <p:cNvSpPr txBox="1">
            <a:spLocks/>
          </p:cNvSpPr>
          <p:nvPr/>
        </p:nvSpPr>
        <p:spPr>
          <a:xfrm>
            <a:off x="944880" y="462235"/>
            <a:ext cx="9887834" cy="844095"/>
          </a:xfrm>
          <a:prstGeom prst="rect">
            <a:avLst/>
          </a:prstGeom>
          <a:noFill/>
        </p:spPr>
        <p:txBody>
          <a:bodyPr vert="horz" lIns="0" tIns="0" rIns="0" bIns="0" rtlCol="0" anchor="ctr">
            <a:noAutofit/>
          </a:bodyPr>
          <a:lstStyle>
            <a:lvl1pPr algn="l" defTabSz="914400" rtl="0" eaLnBrk="1" latinLnBrk="0" hangingPunct="1">
              <a:lnSpc>
                <a:spcPct val="95000"/>
              </a:lnSpc>
              <a:spcBef>
                <a:spcPct val="0"/>
              </a:spcBef>
              <a:buNone/>
              <a:defRPr sz="4000" kern="1200">
                <a:solidFill>
                  <a:schemeClr val="tx1"/>
                </a:solidFill>
                <a:latin typeface="+mj-lt"/>
                <a:ea typeface="+mj-ea"/>
                <a:cs typeface="+mj-cs"/>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fr-CA" sz="4000" b="0" i="0" u="none" strike="noStrike" kern="1200" cap="none" spc="0" normalizeH="0" baseline="0" noProof="0" dirty="0">
                <a:ln>
                  <a:noFill/>
                </a:ln>
                <a:solidFill>
                  <a:srgbClr val="312D2A"/>
                </a:solidFill>
                <a:effectLst/>
                <a:uLnTx/>
                <a:uFillTx/>
                <a:latin typeface="Georgia"/>
                <a:cs typeface="Arial"/>
              </a:rPr>
              <a:t>Focus sur OCI Data </a:t>
            </a:r>
            <a:r>
              <a:rPr kumimoji="0" lang="fr-CA" sz="4000" b="0" i="0" u="none" strike="noStrike" kern="1200" cap="none" spc="0" normalizeH="0" baseline="0" noProof="0" dirty="0" err="1">
                <a:ln>
                  <a:noFill/>
                </a:ln>
                <a:solidFill>
                  <a:srgbClr val="312D2A"/>
                </a:solidFill>
                <a:effectLst/>
                <a:uLnTx/>
                <a:uFillTx/>
                <a:latin typeface="Georgia"/>
                <a:cs typeface="Arial"/>
              </a:rPr>
              <a:t>Catalog</a:t>
            </a:r>
            <a:r>
              <a:rPr kumimoji="0" lang="fr-CA" sz="4000" b="0" i="0" u="none" strike="noStrike" kern="1200" cap="none" spc="0" normalizeH="0" baseline="0" noProof="0" dirty="0">
                <a:ln>
                  <a:noFill/>
                </a:ln>
                <a:solidFill>
                  <a:srgbClr val="312D2A"/>
                </a:solidFill>
                <a:effectLst/>
                <a:uLnTx/>
                <a:uFillTx/>
                <a:latin typeface="Georgia"/>
                <a:cs typeface="Arial"/>
              </a:rPr>
              <a:t> </a:t>
            </a:r>
            <a:br>
              <a:rPr kumimoji="0" lang="fr-CA" sz="4000" b="0" i="0" u="none" strike="noStrike" kern="1200" cap="none" spc="0" normalizeH="0" baseline="0" noProof="0" dirty="0">
                <a:ln>
                  <a:noFill/>
                </a:ln>
                <a:solidFill>
                  <a:srgbClr val="312D2A"/>
                </a:solidFill>
                <a:effectLst/>
                <a:uLnTx/>
                <a:uFillTx/>
                <a:latin typeface="Georgia"/>
                <a:cs typeface="Arial"/>
              </a:rPr>
            </a:br>
            <a:endParaRPr kumimoji="0" lang="fr-CA" sz="4000" b="0" i="0" u="none" strike="noStrike" kern="1200" cap="none" spc="0" normalizeH="0" baseline="0" noProof="0" dirty="0">
              <a:ln>
                <a:noFill/>
              </a:ln>
              <a:solidFill>
                <a:srgbClr val="312D2A"/>
              </a:solidFill>
              <a:effectLst/>
              <a:uLnTx/>
              <a:uFillTx/>
              <a:latin typeface="Georgia"/>
              <a:cs typeface="Arial"/>
            </a:endParaRPr>
          </a:p>
        </p:txBody>
      </p:sp>
    </p:spTree>
    <p:extLst>
      <p:ext uri="{BB962C8B-B14F-4D97-AF65-F5344CB8AC3E}">
        <p14:creationId xmlns:p14="http://schemas.microsoft.com/office/powerpoint/2010/main" val="311062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43"/>
          </p:nvPr>
        </p:nvSpPr>
        <p:spPr>
          <a:xfrm>
            <a:off x="762000" y="1609724"/>
            <a:ext cx="5881662" cy="4505325"/>
          </a:xfrm>
        </p:spPr>
        <p:txBody>
          <a:bodyPr/>
          <a:lstStyle/>
          <a:p>
            <a:r>
              <a:rPr lang="fr-FR" dirty="0"/>
              <a:t>Centre de contrôle de sécurité de vos bases Oracle</a:t>
            </a:r>
          </a:p>
          <a:p>
            <a:pPr lvl="1"/>
            <a:r>
              <a:rPr lang="fr-FR" dirty="0"/>
              <a:t>Matrice des risques: configuration, données, utilisateurs</a:t>
            </a:r>
          </a:p>
          <a:p>
            <a:pPr lvl="1"/>
            <a:r>
              <a:rPr lang="fr-FR" dirty="0"/>
              <a:t>Surveiller l’activité des utilisateurs</a:t>
            </a:r>
          </a:p>
          <a:p>
            <a:pPr lvl="1"/>
            <a:r>
              <a:rPr lang="fr-FR" dirty="0"/>
              <a:t>Découvrir les données sensibles et </a:t>
            </a:r>
            <a:r>
              <a:rPr lang="fr-FR" dirty="0" err="1"/>
              <a:t>anonymiser</a:t>
            </a:r>
            <a:endParaRPr lang="fr-FR" dirty="0"/>
          </a:p>
          <a:p>
            <a:pPr lvl="1"/>
            <a:r>
              <a:rPr lang="fr-FR" dirty="0"/>
              <a:t>Extensible: d’autres fonctionnalités à venir…</a:t>
            </a:r>
          </a:p>
          <a:p>
            <a:endParaRPr lang="fr-FR" dirty="0"/>
          </a:p>
          <a:p>
            <a:r>
              <a:rPr lang="fr-FR" dirty="0"/>
              <a:t>Bénéfices</a:t>
            </a:r>
          </a:p>
          <a:p>
            <a:pPr lvl="1"/>
            <a:r>
              <a:rPr lang="fr-FR" dirty="0"/>
              <a:t>Aucune expertise nécessaire: « click-and-</a:t>
            </a:r>
            <a:r>
              <a:rPr lang="fr-FR" dirty="0" err="1"/>
              <a:t>secure</a:t>
            </a:r>
            <a:r>
              <a:rPr lang="fr-FR" dirty="0"/>
              <a:t> »</a:t>
            </a:r>
          </a:p>
          <a:p>
            <a:pPr lvl="1"/>
            <a:r>
              <a:rPr lang="fr-FR" dirty="0"/>
              <a:t>Gain de temps et diminue les risques</a:t>
            </a:r>
          </a:p>
          <a:p>
            <a:pPr lvl="1"/>
            <a:r>
              <a:rPr lang="fr-FR" dirty="0"/>
              <a:t>Une sécurité de défense en profondeur pour tous les clients</a:t>
            </a:r>
          </a:p>
          <a:p>
            <a:pPr marL="0" lvl="1" indent="0">
              <a:buNone/>
            </a:pPr>
            <a:r>
              <a:rPr lang="fr-FR" b="1" dirty="0"/>
              <a:t>Disponible pour les bases Oracle on-Prem et Cloud</a:t>
            </a:r>
          </a:p>
        </p:txBody>
      </p:sp>
      <p:sp>
        <p:nvSpPr>
          <p:cNvPr id="2" name="Title 1"/>
          <p:cNvSpPr>
            <a:spLocks noGrp="1"/>
          </p:cNvSpPr>
          <p:nvPr>
            <p:ph type="title"/>
          </p:nvPr>
        </p:nvSpPr>
        <p:spPr/>
        <p:txBody>
          <a:bodyPr/>
          <a:lstStyle/>
          <a:p>
            <a:r>
              <a:rPr lang="fr-FR" dirty="0"/>
              <a:t>Oracle Data Safe</a:t>
            </a:r>
          </a:p>
        </p:txBody>
      </p:sp>
      <p:sp>
        <p:nvSpPr>
          <p:cNvPr id="3" name="Footer Placeholder 2">
            <a:extLst>
              <a:ext uri="{FF2B5EF4-FFF2-40B4-BE49-F238E27FC236}">
                <a16:creationId xmlns:a16="http://schemas.microsoft.com/office/drawing/2014/main" id="{FB1871B8-6B48-4A9A-883C-8D4860959C28}"/>
              </a:ext>
            </a:extLst>
          </p:cNvPr>
          <p:cNvSpPr>
            <a:spLocks noGrp="1"/>
          </p:cNvSpPr>
          <p:nvPr>
            <p:ph type="ftr" sz="quarter" idx="4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a:cs typeface="Arial"/>
              </a:rPr>
              <a:t>Copyright © 2022, Oracle and/or its affiliates</a:t>
            </a:r>
          </a:p>
        </p:txBody>
      </p:sp>
      <p:cxnSp>
        <p:nvCxnSpPr>
          <p:cNvPr id="64" name="Straight Connector 63"/>
          <p:cNvCxnSpPr/>
          <p:nvPr/>
        </p:nvCxnSpPr>
        <p:spPr>
          <a:xfrm flipV="1">
            <a:off x="7703448" y="3123343"/>
            <a:ext cx="3385816" cy="17132"/>
          </a:xfrm>
          <a:prstGeom prst="line">
            <a:avLst/>
          </a:prstGeom>
          <a:ln w="76200">
            <a:solidFill>
              <a:schemeClr val="bg2">
                <a:lumMod val="75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716789" y="6024411"/>
            <a:ext cx="2090565" cy="546599"/>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312D2A"/>
                </a:solidFill>
                <a:effectLst/>
                <a:uLnTx/>
                <a:uFillTx/>
                <a:latin typeface="Oracle Sans"/>
                <a:cs typeface="Arial"/>
              </a:rPr>
              <a:t>Oracle Cloud </a:t>
            </a:r>
          </a:p>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312D2A"/>
                </a:solidFill>
                <a:effectLst/>
                <a:uLnTx/>
                <a:uFillTx/>
                <a:latin typeface="Oracle Sans"/>
                <a:cs typeface="Arial"/>
              </a:rPr>
              <a:t>Databases</a:t>
            </a:r>
          </a:p>
        </p:txBody>
      </p:sp>
      <p:sp>
        <p:nvSpPr>
          <p:cNvPr id="66" name="TextBox 65"/>
          <p:cNvSpPr txBox="1"/>
          <p:nvPr/>
        </p:nvSpPr>
        <p:spPr>
          <a:xfrm>
            <a:off x="9036577" y="3465068"/>
            <a:ext cx="435825" cy="197555"/>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12D2A"/>
                </a:solidFill>
                <a:effectLst/>
                <a:uLnTx/>
                <a:uFillTx/>
                <a:latin typeface="Oracle Sans"/>
                <a:cs typeface="Arial"/>
              </a:rPr>
              <a:t>Audit</a:t>
            </a:r>
          </a:p>
        </p:txBody>
      </p:sp>
      <p:sp>
        <p:nvSpPr>
          <p:cNvPr id="67" name="Up-Down Arrow 66"/>
          <p:cNvSpPr/>
          <p:nvPr/>
        </p:nvSpPr>
        <p:spPr>
          <a:xfrm>
            <a:off x="8415685" y="3978022"/>
            <a:ext cx="262536" cy="668276"/>
          </a:xfrm>
          <a:prstGeom prst="upDownArrow">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sp>
        <p:nvSpPr>
          <p:cNvPr id="68" name="TextBox 67"/>
          <p:cNvSpPr txBox="1"/>
          <p:nvPr/>
        </p:nvSpPr>
        <p:spPr>
          <a:xfrm>
            <a:off x="8222968" y="3465068"/>
            <a:ext cx="455253" cy="197555"/>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12D2A"/>
                </a:solidFill>
                <a:effectLst/>
                <a:uLnTx/>
                <a:uFillTx/>
                <a:latin typeface="Oracle Sans"/>
                <a:cs typeface="Arial"/>
              </a:rPr>
              <a:t>Users</a:t>
            </a:r>
          </a:p>
        </p:txBody>
      </p:sp>
      <p:sp>
        <p:nvSpPr>
          <p:cNvPr id="69" name="TextBox 68"/>
          <p:cNvSpPr txBox="1"/>
          <p:nvPr/>
        </p:nvSpPr>
        <p:spPr>
          <a:xfrm>
            <a:off x="9711100" y="3465068"/>
            <a:ext cx="696921" cy="392993"/>
          </a:xfrm>
          <a:prstGeom prst="rect">
            <a:avLst/>
          </a:prstGeom>
          <a:noFill/>
        </p:spPr>
        <p:txBody>
          <a:bodyPr wrap="none" lIns="0" tIns="0" rIns="0" bIns="0" rtlCol="0">
            <a:spAutoFit/>
          </a:bodyPr>
          <a:lstStyle>
            <a:defPPr>
              <a:defRPr lang="en-US"/>
            </a:defPPr>
            <a:lvl1pPr algn="ctr">
              <a:lnSpc>
                <a:spcPct val="90000"/>
              </a:lnSpc>
              <a:defRPr>
                <a:solidFill>
                  <a:srgbClr val="5F5F5F"/>
                </a:solidFill>
              </a:defRPr>
            </a:lvl1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12D2A"/>
                </a:solidFill>
                <a:effectLst/>
                <a:uLnTx/>
                <a:uFillTx/>
                <a:latin typeface="Oracle Sans"/>
                <a:cs typeface="Arial"/>
              </a:rPr>
              <a:t>Discover</a:t>
            </a:r>
          </a:p>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a:cs typeface="Arial"/>
            </a:endParaRPr>
          </a:p>
        </p:txBody>
      </p:sp>
      <p:sp>
        <p:nvSpPr>
          <p:cNvPr id="70" name="Freeform 4"/>
          <p:cNvSpPr>
            <a:spLocks noChangeAspect="1" noChangeArrowheads="1"/>
          </p:cNvSpPr>
          <p:nvPr/>
        </p:nvSpPr>
        <p:spPr bwMode="auto">
          <a:xfrm>
            <a:off x="6797801" y="1437641"/>
            <a:ext cx="4860801" cy="2525374"/>
          </a:xfrm>
          <a:custGeom>
            <a:avLst/>
            <a:gdLst>
              <a:gd name="T0" fmla="*/ 1216 w 2977"/>
              <a:gd name="T1" fmla="*/ 139 h 1668"/>
              <a:gd name="T2" fmla="*/ 1598 w 2977"/>
              <a:gd name="T3" fmla="*/ 336 h 1668"/>
              <a:gd name="T4" fmla="*/ 1633 w 2977"/>
              <a:gd name="T5" fmla="*/ 394 h 1668"/>
              <a:gd name="T6" fmla="*/ 1702 w 2977"/>
              <a:gd name="T7" fmla="*/ 417 h 1668"/>
              <a:gd name="T8" fmla="*/ 1749 w 2977"/>
              <a:gd name="T9" fmla="*/ 394 h 1668"/>
              <a:gd name="T10" fmla="*/ 1841 w 2977"/>
              <a:gd name="T11" fmla="*/ 371 h 1668"/>
              <a:gd name="T12" fmla="*/ 2258 w 2977"/>
              <a:gd name="T13" fmla="*/ 649 h 1668"/>
              <a:gd name="T14" fmla="*/ 2281 w 2977"/>
              <a:gd name="T15" fmla="*/ 706 h 1668"/>
              <a:gd name="T16" fmla="*/ 2351 w 2977"/>
              <a:gd name="T17" fmla="*/ 753 h 1668"/>
              <a:gd name="T18" fmla="*/ 2409 w 2977"/>
              <a:gd name="T19" fmla="*/ 741 h 1668"/>
              <a:gd name="T20" fmla="*/ 2466 w 2977"/>
              <a:gd name="T21" fmla="*/ 741 h 1668"/>
              <a:gd name="T22" fmla="*/ 2837 w 2977"/>
              <a:gd name="T23" fmla="*/ 1100 h 1668"/>
              <a:gd name="T24" fmla="*/ 2443 w 2977"/>
              <a:gd name="T25" fmla="*/ 1528 h 1668"/>
              <a:gd name="T26" fmla="*/ 625 w 2977"/>
              <a:gd name="T27" fmla="*/ 1528 h 1668"/>
              <a:gd name="T28" fmla="*/ 151 w 2977"/>
              <a:gd name="T29" fmla="*/ 1077 h 1668"/>
              <a:gd name="T30" fmla="*/ 614 w 2977"/>
              <a:gd name="T31" fmla="*/ 602 h 1668"/>
              <a:gd name="T32" fmla="*/ 625 w 2977"/>
              <a:gd name="T33" fmla="*/ 602 h 1668"/>
              <a:gd name="T34" fmla="*/ 695 w 2977"/>
              <a:gd name="T35" fmla="*/ 602 h 1668"/>
              <a:gd name="T36" fmla="*/ 753 w 2977"/>
              <a:gd name="T37" fmla="*/ 556 h 1668"/>
              <a:gd name="T38" fmla="*/ 764 w 2977"/>
              <a:gd name="T39" fmla="*/ 498 h 1668"/>
              <a:gd name="T40" fmla="*/ 1216 w 2977"/>
              <a:gd name="T41" fmla="*/ 139 h 1668"/>
              <a:gd name="T42" fmla="*/ 1216 w 2977"/>
              <a:gd name="T43" fmla="*/ 0 h 1668"/>
              <a:gd name="T44" fmla="*/ 625 w 2977"/>
              <a:gd name="T45" fmla="*/ 463 h 1668"/>
              <a:gd name="T46" fmla="*/ 614 w 2977"/>
              <a:gd name="T47" fmla="*/ 463 h 1668"/>
              <a:gd name="T48" fmla="*/ 12 w 2977"/>
              <a:gd name="T49" fmla="*/ 1054 h 1668"/>
              <a:gd name="T50" fmla="*/ 625 w 2977"/>
              <a:gd name="T51" fmla="*/ 1667 h 1668"/>
              <a:gd name="T52" fmla="*/ 2431 w 2977"/>
              <a:gd name="T53" fmla="*/ 1667 h 1668"/>
              <a:gd name="T54" fmla="*/ 2976 w 2977"/>
              <a:gd name="T55" fmla="*/ 1123 h 1668"/>
              <a:gd name="T56" fmla="*/ 2443 w 2977"/>
              <a:gd name="T57" fmla="*/ 602 h 1668"/>
              <a:gd name="T58" fmla="*/ 2397 w 2977"/>
              <a:gd name="T59" fmla="*/ 602 h 1668"/>
              <a:gd name="T60" fmla="*/ 1888 w 2977"/>
              <a:gd name="T61" fmla="*/ 232 h 1668"/>
              <a:gd name="T62" fmla="*/ 1714 w 2977"/>
              <a:gd name="T63" fmla="*/ 267 h 1668"/>
              <a:gd name="T64" fmla="*/ 1216 w 2977"/>
              <a:gd name="T65" fmla="*/ 0 h 1668"/>
              <a:gd name="T66" fmla="*/ 1216 w 2977"/>
              <a:gd name="T67" fmla="*/ 139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7" h="1668">
                <a:moveTo>
                  <a:pt x="1216" y="139"/>
                </a:moveTo>
                <a:cubicBezTo>
                  <a:pt x="1366" y="139"/>
                  <a:pt x="1505" y="209"/>
                  <a:pt x="1598" y="336"/>
                </a:cubicBezTo>
                <a:cubicBezTo>
                  <a:pt x="1633" y="394"/>
                  <a:pt x="1633" y="394"/>
                  <a:pt x="1633" y="394"/>
                </a:cubicBezTo>
                <a:cubicBezTo>
                  <a:pt x="1644" y="417"/>
                  <a:pt x="1679" y="417"/>
                  <a:pt x="1702" y="417"/>
                </a:cubicBezTo>
                <a:cubicBezTo>
                  <a:pt x="1749" y="394"/>
                  <a:pt x="1749" y="394"/>
                  <a:pt x="1749" y="394"/>
                </a:cubicBezTo>
                <a:cubicBezTo>
                  <a:pt x="1783" y="382"/>
                  <a:pt x="1806" y="382"/>
                  <a:pt x="1841" y="371"/>
                </a:cubicBezTo>
                <a:cubicBezTo>
                  <a:pt x="2027" y="348"/>
                  <a:pt x="2212" y="463"/>
                  <a:pt x="2258" y="649"/>
                </a:cubicBezTo>
                <a:cubicBezTo>
                  <a:pt x="2281" y="706"/>
                  <a:pt x="2281" y="706"/>
                  <a:pt x="2281" y="706"/>
                </a:cubicBezTo>
                <a:cubicBezTo>
                  <a:pt x="2293" y="730"/>
                  <a:pt x="2316" y="753"/>
                  <a:pt x="2351" y="753"/>
                </a:cubicBezTo>
                <a:cubicBezTo>
                  <a:pt x="2409" y="741"/>
                  <a:pt x="2409" y="741"/>
                  <a:pt x="2409" y="741"/>
                </a:cubicBezTo>
                <a:cubicBezTo>
                  <a:pt x="2431" y="741"/>
                  <a:pt x="2455" y="741"/>
                  <a:pt x="2466" y="741"/>
                </a:cubicBezTo>
                <a:cubicBezTo>
                  <a:pt x="2663" y="765"/>
                  <a:pt x="2825" y="915"/>
                  <a:pt x="2837" y="1100"/>
                </a:cubicBezTo>
                <a:cubicBezTo>
                  <a:pt x="2848" y="1332"/>
                  <a:pt x="2675" y="1528"/>
                  <a:pt x="2443" y="1528"/>
                </a:cubicBezTo>
                <a:cubicBezTo>
                  <a:pt x="625" y="1528"/>
                  <a:pt x="625" y="1528"/>
                  <a:pt x="625" y="1528"/>
                </a:cubicBezTo>
                <a:cubicBezTo>
                  <a:pt x="371" y="1528"/>
                  <a:pt x="162" y="1332"/>
                  <a:pt x="151" y="1077"/>
                </a:cubicBezTo>
                <a:cubicBezTo>
                  <a:pt x="139" y="822"/>
                  <a:pt x="359" y="602"/>
                  <a:pt x="614" y="602"/>
                </a:cubicBezTo>
                <a:lnTo>
                  <a:pt x="625" y="602"/>
                </a:lnTo>
                <a:cubicBezTo>
                  <a:pt x="695" y="602"/>
                  <a:pt x="695" y="602"/>
                  <a:pt x="695" y="602"/>
                </a:cubicBezTo>
                <a:cubicBezTo>
                  <a:pt x="718" y="602"/>
                  <a:pt x="741" y="591"/>
                  <a:pt x="753" y="556"/>
                </a:cubicBezTo>
                <a:cubicBezTo>
                  <a:pt x="764" y="498"/>
                  <a:pt x="764" y="498"/>
                  <a:pt x="764" y="498"/>
                </a:cubicBezTo>
                <a:cubicBezTo>
                  <a:pt x="811" y="290"/>
                  <a:pt x="996" y="139"/>
                  <a:pt x="1216" y="139"/>
                </a:cubicBezTo>
                <a:lnTo>
                  <a:pt x="1216" y="0"/>
                </a:lnTo>
                <a:cubicBezTo>
                  <a:pt x="927" y="0"/>
                  <a:pt x="695" y="197"/>
                  <a:pt x="625" y="463"/>
                </a:cubicBezTo>
                <a:lnTo>
                  <a:pt x="614" y="463"/>
                </a:lnTo>
                <a:cubicBezTo>
                  <a:pt x="290" y="463"/>
                  <a:pt x="23" y="730"/>
                  <a:pt x="12" y="1054"/>
                </a:cubicBezTo>
                <a:cubicBezTo>
                  <a:pt x="0" y="1390"/>
                  <a:pt x="290" y="1667"/>
                  <a:pt x="625" y="1667"/>
                </a:cubicBezTo>
                <a:cubicBezTo>
                  <a:pt x="2431" y="1667"/>
                  <a:pt x="2431" y="1667"/>
                  <a:pt x="2431" y="1667"/>
                </a:cubicBezTo>
                <a:cubicBezTo>
                  <a:pt x="2733" y="1667"/>
                  <a:pt x="2976" y="1424"/>
                  <a:pt x="2976" y="1123"/>
                </a:cubicBezTo>
                <a:cubicBezTo>
                  <a:pt x="2976" y="834"/>
                  <a:pt x="2733" y="602"/>
                  <a:pt x="2443" y="602"/>
                </a:cubicBezTo>
                <a:cubicBezTo>
                  <a:pt x="2431" y="602"/>
                  <a:pt x="2409" y="602"/>
                  <a:pt x="2397" y="602"/>
                </a:cubicBezTo>
                <a:cubicBezTo>
                  <a:pt x="2327" y="394"/>
                  <a:pt x="2131" y="232"/>
                  <a:pt x="1888" y="232"/>
                </a:cubicBezTo>
                <a:cubicBezTo>
                  <a:pt x="1829" y="232"/>
                  <a:pt x="1772" y="243"/>
                  <a:pt x="1714" y="267"/>
                </a:cubicBezTo>
                <a:cubicBezTo>
                  <a:pt x="1598" y="104"/>
                  <a:pt x="1425" y="0"/>
                  <a:pt x="1216" y="0"/>
                </a:cubicBezTo>
                <a:lnTo>
                  <a:pt x="1216" y="139"/>
                </a:lnTo>
              </a:path>
            </a:pathLst>
          </a:custGeom>
          <a:solidFill>
            <a:schemeClr val="accent3">
              <a:lumMod val="60000"/>
              <a:lumOff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sp>
        <p:nvSpPr>
          <p:cNvPr id="71" name="TextBox 70"/>
          <p:cNvSpPr txBox="1"/>
          <p:nvPr/>
        </p:nvSpPr>
        <p:spPr>
          <a:xfrm>
            <a:off x="7393141" y="3465068"/>
            <a:ext cx="551626" cy="19909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12D2A"/>
                </a:solidFill>
                <a:effectLst/>
                <a:uLnTx/>
                <a:uFillTx/>
                <a:latin typeface="Oracle Sans"/>
                <a:cs typeface="Arial"/>
              </a:rPr>
              <a:t>Assess</a:t>
            </a:r>
          </a:p>
        </p:txBody>
      </p:sp>
      <p:sp>
        <p:nvSpPr>
          <p:cNvPr id="72" name="TextBox 71"/>
          <p:cNvSpPr txBox="1"/>
          <p:nvPr/>
        </p:nvSpPr>
        <p:spPr>
          <a:xfrm>
            <a:off x="10641479" y="3461891"/>
            <a:ext cx="434413" cy="392993"/>
          </a:xfrm>
          <a:prstGeom prst="rect">
            <a:avLst/>
          </a:prstGeom>
          <a:noFill/>
        </p:spPr>
        <p:txBody>
          <a:bodyPr wrap="none" lIns="0" tIns="0" rIns="0" bIns="0" rtlCol="0">
            <a:spAutoFit/>
          </a:bodyPr>
          <a:lstStyle>
            <a:defPPr>
              <a:defRPr lang="en-US"/>
            </a:defPPr>
            <a:lvl1pPr algn="ctr">
              <a:lnSpc>
                <a:spcPct val="90000"/>
              </a:lnSpc>
              <a:defRPr>
                <a:solidFill>
                  <a:srgbClr val="5F5F5F"/>
                </a:solidFill>
              </a:defRPr>
            </a:lvl1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12D2A"/>
                </a:solidFill>
                <a:effectLst/>
                <a:uLnTx/>
                <a:uFillTx/>
                <a:latin typeface="Oracle Sans"/>
                <a:cs typeface="Arial"/>
              </a:rPr>
              <a:t>Mask</a:t>
            </a:r>
          </a:p>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CFBFA"/>
              </a:solidFill>
              <a:effectLst/>
              <a:uLnTx/>
              <a:uFillTx/>
              <a:latin typeface="Oracle Sans"/>
              <a:cs typeface="Arial"/>
            </a:endParaRPr>
          </a:p>
        </p:txBody>
      </p:sp>
      <p:grpSp>
        <p:nvGrpSpPr>
          <p:cNvPr id="73" name="Group 72"/>
          <p:cNvGrpSpPr/>
          <p:nvPr/>
        </p:nvGrpSpPr>
        <p:grpSpPr>
          <a:xfrm>
            <a:off x="7284155" y="2828653"/>
            <a:ext cx="619257" cy="619256"/>
            <a:chOff x="1545380" y="1806944"/>
            <a:chExt cx="715068" cy="715067"/>
          </a:xfrm>
        </p:grpSpPr>
        <p:sp>
          <p:nvSpPr>
            <p:cNvPr id="74" name="Oval 73">
              <a:extLst>
                <a:ext uri="{FF2B5EF4-FFF2-40B4-BE49-F238E27FC236}">
                  <a16:creationId xmlns:a16="http://schemas.microsoft.com/office/drawing/2014/main" id="{A27B8A9A-5F5C-0446-9FB5-31BB92E7142B}"/>
                </a:ext>
              </a:extLst>
            </p:cNvPr>
            <p:cNvSpPr/>
            <p:nvPr/>
          </p:nvSpPr>
          <p:spPr bwMode="gray">
            <a:xfrm>
              <a:off x="1545380" y="1806944"/>
              <a:ext cx="715068" cy="715067"/>
            </a:xfrm>
            <a:prstGeom prst="ellipse">
              <a:avLst/>
            </a:prstGeom>
            <a:solidFill>
              <a:schemeClr val="accent4"/>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grpSp>
          <p:nvGrpSpPr>
            <p:cNvPr id="75" name="Group 74">
              <a:extLst>
                <a:ext uri="{FF2B5EF4-FFF2-40B4-BE49-F238E27FC236}">
                  <a16:creationId xmlns:a16="http://schemas.microsoft.com/office/drawing/2014/main" id="{58752DAD-82DB-9C41-8D54-0D24682B3C86}"/>
                </a:ext>
              </a:extLst>
            </p:cNvPr>
            <p:cNvGrpSpPr/>
            <p:nvPr/>
          </p:nvGrpSpPr>
          <p:grpSpPr>
            <a:xfrm>
              <a:off x="1670644" y="1934078"/>
              <a:ext cx="506067" cy="506687"/>
              <a:chOff x="5592672" y="1723752"/>
              <a:chExt cx="906262" cy="907374"/>
            </a:xfrm>
            <a:solidFill>
              <a:schemeClr val="bg1"/>
            </a:solidFill>
          </p:grpSpPr>
          <p:sp>
            <p:nvSpPr>
              <p:cNvPr id="76" name="Freeform 3">
                <a:extLst>
                  <a:ext uri="{FF2B5EF4-FFF2-40B4-BE49-F238E27FC236}">
                    <a16:creationId xmlns:a16="http://schemas.microsoft.com/office/drawing/2014/main" id="{7B5E8AE4-098D-914F-B902-08D45E00A09D}"/>
                  </a:ext>
                </a:extLst>
              </p:cNvPr>
              <p:cNvSpPr>
                <a:spLocks noChangeAspect="1" noChangeArrowheads="1"/>
              </p:cNvSpPr>
              <p:nvPr/>
            </p:nvSpPr>
            <p:spPr bwMode="auto">
              <a:xfrm>
                <a:off x="5592672" y="1723752"/>
                <a:ext cx="906262" cy="907374"/>
              </a:xfrm>
              <a:custGeom>
                <a:avLst/>
                <a:gdLst>
                  <a:gd name="T0" fmla="*/ 2824 w 2987"/>
                  <a:gd name="T1" fmla="*/ 394 h 2964"/>
                  <a:gd name="T2" fmla="*/ 2893 w 2987"/>
                  <a:gd name="T3" fmla="*/ 255 h 2964"/>
                  <a:gd name="T4" fmla="*/ 2870 w 2987"/>
                  <a:gd name="T5" fmla="*/ 209 h 2964"/>
                  <a:gd name="T6" fmla="*/ 2812 w 2987"/>
                  <a:gd name="T7" fmla="*/ 209 h 2964"/>
                  <a:gd name="T8" fmla="*/ 2708 w 2987"/>
                  <a:gd name="T9" fmla="*/ 347 h 2964"/>
                  <a:gd name="T10" fmla="*/ 2268 w 2987"/>
                  <a:gd name="T11" fmla="*/ 961 h 2964"/>
                  <a:gd name="T12" fmla="*/ 2176 w 2987"/>
                  <a:gd name="T13" fmla="*/ 0 h 2964"/>
                  <a:gd name="T14" fmla="*/ 370 w 2987"/>
                  <a:gd name="T15" fmla="*/ 370 h 2964"/>
                  <a:gd name="T16" fmla="*/ 0 w 2987"/>
                  <a:gd name="T17" fmla="*/ 2338 h 2964"/>
                  <a:gd name="T18" fmla="*/ 1250 w 2987"/>
                  <a:gd name="T19" fmla="*/ 2338 h 2964"/>
                  <a:gd name="T20" fmla="*/ 2176 w 2987"/>
                  <a:gd name="T21" fmla="*/ 2314 h 2964"/>
                  <a:gd name="T22" fmla="*/ 1864 w 2987"/>
                  <a:gd name="T23" fmla="*/ 2038 h 2964"/>
                  <a:gd name="T24" fmla="*/ 1783 w 2987"/>
                  <a:gd name="T25" fmla="*/ 1980 h 2964"/>
                  <a:gd name="T26" fmla="*/ 2291 w 2987"/>
                  <a:gd name="T27" fmla="*/ 1204 h 2964"/>
                  <a:gd name="T28" fmla="*/ 2511 w 2987"/>
                  <a:gd name="T29" fmla="*/ 1100 h 2964"/>
                  <a:gd name="T30" fmla="*/ 2824 w 2987"/>
                  <a:gd name="T31" fmla="*/ 498 h 2964"/>
                  <a:gd name="T32" fmla="*/ 2627 w 2987"/>
                  <a:gd name="T33" fmla="*/ 1088 h 2964"/>
                  <a:gd name="T34" fmla="*/ 2940 w 2987"/>
                  <a:gd name="T35" fmla="*/ 660 h 2964"/>
                  <a:gd name="T36" fmla="*/ 625 w 2987"/>
                  <a:gd name="T37" fmla="*/ 2870 h 2964"/>
                  <a:gd name="T38" fmla="*/ 625 w 2987"/>
                  <a:gd name="T39" fmla="*/ 1806 h 2964"/>
                  <a:gd name="T40" fmla="*/ 625 w 2987"/>
                  <a:gd name="T41" fmla="*/ 2870 h 2964"/>
                  <a:gd name="T42" fmla="*/ 741 w 2987"/>
                  <a:gd name="T43" fmla="*/ 1621 h 2964"/>
                  <a:gd name="T44" fmla="*/ 1574 w 2987"/>
                  <a:gd name="T45" fmla="*/ 1528 h 2964"/>
                  <a:gd name="T46" fmla="*/ 1806 w 2987"/>
                  <a:gd name="T47" fmla="*/ 1297 h 2964"/>
                  <a:gd name="T48" fmla="*/ 741 w 2987"/>
                  <a:gd name="T49" fmla="*/ 1204 h 2964"/>
                  <a:gd name="T50" fmla="*/ 1806 w 2987"/>
                  <a:gd name="T51" fmla="*/ 1297 h 2964"/>
                  <a:gd name="T52" fmla="*/ 741 w 2987"/>
                  <a:gd name="T53" fmla="*/ 972 h 2964"/>
                  <a:gd name="T54" fmla="*/ 1806 w 2987"/>
                  <a:gd name="T55" fmla="*/ 880 h 2964"/>
                  <a:gd name="T56" fmla="*/ 1806 w 2987"/>
                  <a:gd name="T57" fmla="*/ 648 h 2964"/>
                  <a:gd name="T58" fmla="*/ 741 w 2987"/>
                  <a:gd name="T59" fmla="*/ 556 h 2964"/>
                  <a:gd name="T60" fmla="*/ 1806 w 2987"/>
                  <a:gd name="T61" fmla="*/ 648 h 2964"/>
                  <a:gd name="T62" fmla="*/ 811 w 2987"/>
                  <a:gd name="T63" fmla="*/ 2119 h 2964"/>
                  <a:gd name="T64" fmla="*/ 440 w 2987"/>
                  <a:gd name="T65" fmla="*/ 2268 h 2964"/>
                  <a:gd name="T66" fmla="*/ 336 w 2987"/>
                  <a:gd name="T67" fmla="*/ 2291 h 2964"/>
                  <a:gd name="T68" fmla="*/ 556 w 2987"/>
                  <a:gd name="T69" fmla="*/ 2569 h 2964"/>
                  <a:gd name="T70" fmla="*/ 915 w 2987"/>
                  <a:gd name="T71" fmla="*/ 2211 h 2964"/>
                  <a:gd name="T72" fmla="*/ 880 w 2987"/>
                  <a:gd name="T73" fmla="*/ 2119 h 2964"/>
                  <a:gd name="connsiteX0" fmla="*/ 9694 w 10000"/>
                  <a:gd name="connsiteY0" fmla="*/ 1407 h 10000"/>
                  <a:gd name="connsiteX1" fmla="*/ 9539 w 10000"/>
                  <a:gd name="connsiteY1" fmla="*/ 1329 h 10000"/>
                  <a:gd name="connsiteX2" fmla="*/ 9617 w 10000"/>
                  <a:gd name="connsiteY2" fmla="*/ 1211 h 10000"/>
                  <a:gd name="connsiteX3" fmla="*/ 9772 w 10000"/>
                  <a:gd name="connsiteY3" fmla="*/ 860 h 10000"/>
                  <a:gd name="connsiteX4" fmla="*/ 9735 w 10000"/>
                  <a:gd name="connsiteY4" fmla="*/ 705 h 10000"/>
                  <a:gd name="connsiteX5" fmla="*/ 9694 w 10000"/>
                  <a:gd name="connsiteY5" fmla="*/ 705 h 10000"/>
                  <a:gd name="connsiteX6" fmla="*/ 9617 w 10000"/>
                  <a:gd name="connsiteY6" fmla="*/ 665 h 10000"/>
                  <a:gd name="connsiteX7" fmla="*/ 9499 w 10000"/>
                  <a:gd name="connsiteY7" fmla="*/ 705 h 10000"/>
                  <a:gd name="connsiteX8" fmla="*/ 9265 w 10000"/>
                  <a:gd name="connsiteY8" fmla="*/ 975 h 10000"/>
                  <a:gd name="connsiteX9" fmla="*/ 9147 w 10000"/>
                  <a:gd name="connsiteY9" fmla="*/ 1171 h 10000"/>
                  <a:gd name="connsiteX10" fmla="*/ 8914 w 10000"/>
                  <a:gd name="connsiteY10" fmla="*/ 1289 h 10000"/>
                  <a:gd name="connsiteX11" fmla="*/ 7661 w 10000"/>
                  <a:gd name="connsiteY11" fmla="*/ 3243 h 10000"/>
                  <a:gd name="connsiteX12" fmla="*/ 7350 w 10000"/>
                  <a:gd name="connsiteY12" fmla="*/ 3790 h 10000"/>
                  <a:gd name="connsiteX13" fmla="*/ 7350 w 10000"/>
                  <a:gd name="connsiteY13" fmla="*/ 0 h 10000"/>
                  <a:gd name="connsiteX14" fmla="*/ 2503 w 10000"/>
                  <a:gd name="connsiteY14" fmla="*/ 0 h 10000"/>
                  <a:gd name="connsiteX15" fmla="*/ 1250 w 10000"/>
                  <a:gd name="connsiteY15" fmla="*/ 1248 h 10000"/>
                  <a:gd name="connsiteX16" fmla="*/ 1250 w 10000"/>
                  <a:gd name="connsiteY16" fmla="*/ 5977 h 10000"/>
                  <a:gd name="connsiteX17" fmla="*/ 0 w 10000"/>
                  <a:gd name="connsiteY17" fmla="*/ 7890 h 10000"/>
                  <a:gd name="connsiteX18" fmla="*/ 2111 w 10000"/>
                  <a:gd name="connsiteY18" fmla="*/ 10000 h 10000"/>
                  <a:gd name="connsiteX19" fmla="*/ 4223 w 10000"/>
                  <a:gd name="connsiteY19" fmla="*/ 7890 h 10000"/>
                  <a:gd name="connsiteX20" fmla="*/ 4223 w 10000"/>
                  <a:gd name="connsiteY20" fmla="*/ 7809 h 10000"/>
                  <a:gd name="connsiteX21" fmla="*/ 7350 w 10000"/>
                  <a:gd name="connsiteY21" fmla="*/ 7809 h 10000"/>
                  <a:gd name="connsiteX22" fmla="*/ 7350 w 10000"/>
                  <a:gd name="connsiteY22" fmla="*/ 5508 h 10000"/>
                  <a:gd name="connsiteX23" fmla="*/ 6296 w 10000"/>
                  <a:gd name="connsiteY23" fmla="*/ 6878 h 10000"/>
                  <a:gd name="connsiteX24" fmla="*/ 5945 w 10000"/>
                  <a:gd name="connsiteY24" fmla="*/ 7188 h 10000"/>
                  <a:gd name="connsiteX25" fmla="*/ 6023 w 10000"/>
                  <a:gd name="connsiteY25" fmla="*/ 6682 h 10000"/>
                  <a:gd name="connsiteX26" fmla="*/ 7313 w 10000"/>
                  <a:gd name="connsiteY26" fmla="*/ 3830 h 10000"/>
                  <a:gd name="connsiteX27" fmla="*/ 7739 w 10000"/>
                  <a:gd name="connsiteY27" fmla="*/ 4063 h 10000"/>
                  <a:gd name="connsiteX28" fmla="*/ 8130 w 10000"/>
                  <a:gd name="connsiteY28" fmla="*/ 4299 h 10000"/>
                  <a:gd name="connsiteX29" fmla="*/ 8481 w 10000"/>
                  <a:gd name="connsiteY29" fmla="*/ 3712 h 10000"/>
                  <a:gd name="connsiteX30" fmla="*/ 9499 w 10000"/>
                  <a:gd name="connsiteY30" fmla="*/ 1681 h 10000"/>
                  <a:gd name="connsiteX31" fmla="*/ 9539 w 10000"/>
                  <a:gd name="connsiteY31" fmla="*/ 1681 h 10000"/>
                  <a:gd name="connsiteX32" fmla="*/ 9657 w 10000"/>
                  <a:gd name="connsiteY32" fmla="*/ 2110 h 10000"/>
                  <a:gd name="connsiteX33" fmla="*/ 8874 w 10000"/>
                  <a:gd name="connsiteY33" fmla="*/ 3672 h 10000"/>
                  <a:gd name="connsiteX34" fmla="*/ 8992 w 10000"/>
                  <a:gd name="connsiteY34" fmla="*/ 4100 h 10000"/>
                  <a:gd name="connsiteX35" fmla="*/ 9931 w 10000"/>
                  <a:gd name="connsiteY35" fmla="*/ 2228 h 10000"/>
                  <a:gd name="connsiteX36" fmla="*/ 9694 w 10000"/>
                  <a:gd name="connsiteY36" fmla="*/ 1407 h 10000"/>
                  <a:gd name="connsiteX37" fmla="*/ 2111 w 10000"/>
                  <a:gd name="connsiteY37" fmla="*/ 9686 h 10000"/>
                  <a:gd name="connsiteX38" fmla="*/ 314 w 10000"/>
                  <a:gd name="connsiteY38" fmla="*/ 7890 h 10000"/>
                  <a:gd name="connsiteX39" fmla="*/ 2111 w 10000"/>
                  <a:gd name="connsiteY39" fmla="*/ 6095 h 10000"/>
                  <a:gd name="connsiteX40" fmla="*/ 3912 w 10000"/>
                  <a:gd name="connsiteY40" fmla="*/ 7890 h 10000"/>
                  <a:gd name="connsiteX41" fmla="*/ 2111 w 10000"/>
                  <a:gd name="connsiteY41" fmla="*/ 9686 h 10000"/>
                  <a:gd name="connsiteX42" fmla="*/ 5317 w 10000"/>
                  <a:gd name="connsiteY42" fmla="*/ 5471 h 10000"/>
                  <a:gd name="connsiteX43" fmla="*/ 2503 w 10000"/>
                  <a:gd name="connsiteY43" fmla="*/ 5471 h 10000"/>
                  <a:gd name="connsiteX44" fmla="*/ 2503 w 10000"/>
                  <a:gd name="connsiteY44" fmla="*/ 5157 h 10000"/>
                  <a:gd name="connsiteX45" fmla="*/ 5317 w 10000"/>
                  <a:gd name="connsiteY45" fmla="*/ 5157 h 10000"/>
                  <a:gd name="connsiteX46" fmla="*/ 5317 w 10000"/>
                  <a:gd name="connsiteY46" fmla="*/ 5471 h 10000"/>
                  <a:gd name="connsiteX47" fmla="*/ 6100 w 10000"/>
                  <a:gd name="connsiteY47" fmla="*/ 4377 h 10000"/>
                  <a:gd name="connsiteX48" fmla="*/ 2503 w 10000"/>
                  <a:gd name="connsiteY48" fmla="*/ 4377 h 10000"/>
                  <a:gd name="connsiteX49" fmla="*/ 2503 w 10000"/>
                  <a:gd name="connsiteY49" fmla="*/ 4063 h 10000"/>
                  <a:gd name="connsiteX50" fmla="*/ 6100 w 10000"/>
                  <a:gd name="connsiteY50" fmla="*/ 4063 h 10000"/>
                  <a:gd name="connsiteX51" fmla="*/ 6100 w 10000"/>
                  <a:gd name="connsiteY51" fmla="*/ 4377 h 10000"/>
                  <a:gd name="connsiteX52" fmla="*/ 6100 w 10000"/>
                  <a:gd name="connsiteY52" fmla="*/ 3280 h 10000"/>
                  <a:gd name="connsiteX53" fmla="*/ 2503 w 10000"/>
                  <a:gd name="connsiteY53" fmla="*/ 3280 h 10000"/>
                  <a:gd name="connsiteX54" fmla="*/ 2503 w 10000"/>
                  <a:gd name="connsiteY54" fmla="*/ 2970 h 10000"/>
                  <a:gd name="connsiteX55" fmla="*/ 6100 w 10000"/>
                  <a:gd name="connsiteY55" fmla="*/ 2970 h 10000"/>
                  <a:gd name="connsiteX56" fmla="*/ 6100 w 10000"/>
                  <a:gd name="connsiteY56" fmla="*/ 3280 h 10000"/>
                  <a:gd name="connsiteX57" fmla="*/ 6100 w 10000"/>
                  <a:gd name="connsiteY57" fmla="*/ 2187 h 10000"/>
                  <a:gd name="connsiteX58" fmla="*/ 2503 w 10000"/>
                  <a:gd name="connsiteY58" fmla="*/ 2187 h 10000"/>
                  <a:gd name="connsiteX59" fmla="*/ 2503 w 10000"/>
                  <a:gd name="connsiteY59" fmla="*/ 1877 h 10000"/>
                  <a:gd name="connsiteX60" fmla="*/ 6100 w 10000"/>
                  <a:gd name="connsiteY60" fmla="*/ 1877 h 10000"/>
                  <a:gd name="connsiteX61" fmla="*/ 6100 w 10000"/>
                  <a:gd name="connsiteY61" fmla="*/ 2187 h 10000"/>
                  <a:gd name="connsiteX62" fmla="*/ 3091 w 10000"/>
                  <a:gd name="connsiteY62" fmla="*/ 7266 h 10000"/>
                  <a:gd name="connsiteX63" fmla="*/ 3091 w 10000"/>
                  <a:gd name="connsiteY63" fmla="*/ 7462 h 10000"/>
                  <a:gd name="connsiteX64" fmla="*/ 3091 w 10000"/>
                  <a:gd name="connsiteY64" fmla="*/ 7266 h 10000"/>
                  <a:gd name="connsiteX65" fmla="*/ 2972 w 10000"/>
                  <a:gd name="connsiteY65" fmla="*/ 7151 h 10000"/>
                  <a:gd name="connsiteX66" fmla="*/ 2972 w 10000"/>
                  <a:gd name="connsiteY66" fmla="*/ 7151 h 10000"/>
                  <a:gd name="connsiteX67" fmla="*/ 2972 w 10000"/>
                  <a:gd name="connsiteY67" fmla="*/ 7151 h 10000"/>
                  <a:gd name="connsiteX68" fmla="*/ 2972 w 10000"/>
                  <a:gd name="connsiteY68" fmla="*/ 7151 h 10000"/>
                  <a:gd name="connsiteX69" fmla="*/ 2972 w 10000"/>
                  <a:gd name="connsiteY69" fmla="*/ 7151 h 10000"/>
                  <a:gd name="connsiteX70" fmla="*/ 2972 w 10000"/>
                  <a:gd name="connsiteY70" fmla="*/ 7151 h 10000"/>
                  <a:gd name="connsiteX71" fmla="*/ 2972 w 10000"/>
                  <a:gd name="connsiteY71" fmla="*/ 7151 h 10000"/>
                  <a:gd name="connsiteX72" fmla="*/ 2946 w 9911"/>
                  <a:gd name="connsiteY72" fmla="*/ 7149 h 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000" h="10000">
                    <a:moveTo>
                      <a:pt x="9694" y="1407"/>
                    </a:moveTo>
                    <a:lnTo>
                      <a:pt x="9539" y="1329"/>
                    </a:lnTo>
                    <a:cubicBezTo>
                      <a:pt x="9565" y="1290"/>
                      <a:pt x="9590" y="1250"/>
                      <a:pt x="9617" y="1211"/>
                    </a:cubicBezTo>
                    <a:cubicBezTo>
                      <a:pt x="9668" y="1094"/>
                      <a:pt x="9721" y="977"/>
                      <a:pt x="9772" y="860"/>
                    </a:cubicBezTo>
                    <a:cubicBezTo>
                      <a:pt x="9772" y="820"/>
                      <a:pt x="9772" y="742"/>
                      <a:pt x="9735" y="705"/>
                    </a:cubicBezTo>
                    <a:lnTo>
                      <a:pt x="9694" y="705"/>
                    </a:lnTo>
                    <a:cubicBezTo>
                      <a:pt x="9617" y="665"/>
                      <a:pt x="9644" y="678"/>
                      <a:pt x="9617" y="665"/>
                    </a:cubicBezTo>
                    <a:cubicBezTo>
                      <a:pt x="9576" y="624"/>
                      <a:pt x="9499" y="665"/>
                      <a:pt x="9499" y="705"/>
                    </a:cubicBezTo>
                    <a:lnTo>
                      <a:pt x="9265" y="975"/>
                    </a:lnTo>
                    <a:lnTo>
                      <a:pt x="9147" y="1171"/>
                    </a:lnTo>
                    <a:cubicBezTo>
                      <a:pt x="9070" y="1171"/>
                      <a:pt x="8992" y="1248"/>
                      <a:pt x="8914" y="1289"/>
                    </a:cubicBezTo>
                    <a:cubicBezTo>
                      <a:pt x="8637" y="1681"/>
                      <a:pt x="8093" y="2538"/>
                      <a:pt x="7661" y="3243"/>
                    </a:cubicBezTo>
                    <a:cubicBezTo>
                      <a:pt x="7543" y="3439"/>
                      <a:pt x="7468" y="3594"/>
                      <a:pt x="7350" y="3790"/>
                    </a:cubicBezTo>
                    <a:lnTo>
                      <a:pt x="7350" y="0"/>
                    </a:lnTo>
                    <a:lnTo>
                      <a:pt x="2503" y="0"/>
                    </a:lnTo>
                    <a:lnTo>
                      <a:pt x="1250" y="1248"/>
                    </a:lnTo>
                    <a:lnTo>
                      <a:pt x="1250" y="5977"/>
                    </a:lnTo>
                    <a:cubicBezTo>
                      <a:pt x="507" y="6291"/>
                      <a:pt x="0" y="7033"/>
                      <a:pt x="0" y="7890"/>
                    </a:cubicBezTo>
                    <a:cubicBezTo>
                      <a:pt x="0" y="9062"/>
                      <a:pt x="939" y="10000"/>
                      <a:pt x="2111" y="10000"/>
                    </a:cubicBezTo>
                    <a:cubicBezTo>
                      <a:pt x="3283" y="10000"/>
                      <a:pt x="4223" y="9062"/>
                      <a:pt x="4223" y="7890"/>
                    </a:cubicBezTo>
                    <a:lnTo>
                      <a:pt x="4223" y="7809"/>
                    </a:lnTo>
                    <a:lnTo>
                      <a:pt x="7350" y="7809"/>
                    </a:lnTo>
                    <a:lnTo>
                      <a:pt x="7350" y="5508"/>
                    </a:lnTo>
                    <a:cubicBezTo>
                      <a:pt x="6922" y="6095"/>
                      <a:pt x="6570" y="6564"/>
                      <a:pt x="6296" y="6878"/>
                    </a:cubicBezTo>
                    <a:cubicBezTo>
                      <a:pt x="6100" y="7111"/>
                      <a:pt x="5982" y="7229"/>
                      <a:pt x="5945" y="7188"/>
                    </a:cubicBezTo>
                    <a:cubicBezTo>
                      <a:pt x="5867" y="7151"/>
                      <a:pt x="5905" y="6993"/>
                      <a:pt x="6023" y="6682"/>
                    </a:cubicBezTo>
                    <a:cubicBezTo>
                      <a:pt x="6218" y="6095"/>
                      <a:pt x="6689" y="5039"/>
                      <a:pt x="7313" y="3830"/>
                    </a:cubicBezTo>
                    <a:lnTo>
                      <a:pt x="7739" y="4063"/>
                    </a:lnTo>
                    <a:cubicBezTo>
                      <a:pt x="8130" y="4299"/>
                      <a:pt x="8002" y="4218"/>
                      <a:pt x="8130" y="4299"/>
                    </a:cubicBezTo>
                    <a:cubicBezTo>
                      <a:pt x="8248" y="4100"/>
                      <a:pt x="8367" y="3908"/>
                      <a:pt x="8481" y="3712"/>
                    </a:cubicBezTo>
                    <a:cubicBezTo>
                      <a:pt x="8874" y="3007"/>
                      <a:pt x="9303" y="2110"/>
                      <a:pt x="9499" y="1681"/>
                    </a:cubicBezTo>
                    <a:lnTo>
                      <a:pt x="9539" y="1681"/>
                    </a:lnTo>
                    <a:cubicBezTo>
                      <a:pt x="9694" y="1759"/>
                      <a:pt x="9735" y="1954"/>
                      <a:pt x="9657" y="2110"/>
                    </a:cubicBezTo>
                    <a:cubicBezTo>
                      <a:pt x="9461" y="2538"/>
                      <a:pt x="9147" y="3125"/>
                      <a:pt x="8874" y="3672"/>
                    </a:cubicBezTo>
                    <a:cubicBezTo>
                      <a:pt x="8756" y="3830"/>
                      <a:pt x="8837" y="4023"/>
                      <a:pt x="8992" y="4100"/>
                    </a:cubicBezTo>
                    <a:cubicBezTo>
                      <a:pt x="9343" y="3476"/>
                      <a:pt x="9694" y="2737"/>
                      <a:pt x="9931" y="2228"/>
                    </a:cubicBezTo>
                    <a:cubicBezTo>
                      <a:pt x="10087" y="1954"/>
                      <a:pt x="9968" y="1603"/>
                      <a:pt x="9694" y="1407"/>
                    </a:cubicBezTo>
                    <a:close/>
                    <a:moveTo>
                      <a:pt x="2111" y="9686"/>
                    </a:moveTo>
                    <a:cubicBezTo>
                      <a:pt x="1135" y="9686"/>
                      <a:pt x="314" y="8866"/>
                      <a:pt x="314" y="7890"/>
                    </a:cubicBezTo>
                    <a:cubicBezTo>
                      <a:pt x="314" y="6915"/>
                      <a:pt x="1135" y="6095"/>
                      <a:pt x="2111" y="6095"/>
                    </a:cubicBezTo>
                    <a:cubicBezTo>
                      <a:pt x="3091" y="6095"/>
                      <a:pt x="3912" y="6915"/>
                      <a:pt x="3912" y="7890"/>
                    </a:cubicBezTo>
                    <a:cubicBezTo>
                      <a:pt x="3912" y="8866"/>
                      <a:pt x="3091" y="9686"/>
                      <a:pt x="2111" y="9686"/>
                    </a:cubicBezTo>
                    <a:close/>
                    <a:moveTo>
                      <a:pt x="5317" y="5471"/>
                    </a:moveTo>
                    <a:lnTo>
                      <a:pt x="2503" y="5471"/>
                    </a:lnTo>
                    <a:lnTo>
                      <a:pt x="2503" y="5157"/>
                    </a:lnTo>
                    <a:lnTo>
                      <a:pt x="5317" y="5157"/>
                    </a:lnTo>
                    <a:lnTo>
                      <a:pt x="5317" y="5471"/>
                    </a:lnTo>
                    <a:close/>
                    <a:moveTo>
                      <a:pt x="6100" y="4377"/>
                    </a:moveTo>
                    <a:lnTo>
                      <a:pt x="2503" y="4377"/>
                    </a:lnTo>
                    <a:lnTo>
                      <a:pt x="2503" y="4063"/>
                    </a:lnTo>
                    <a:lnTo>
                      <a:pt x="6100" y="4063"/>
                    </a:lnTo>
                    <a:lnTo>
                      <a:pt x="6100" y="4377"/>
                    </a:lnTo>
                    <a:close/>
                    <a:moveTo>
                      <a:pt x="6100" y="3280"/>
                    </a:moveTo>
                    <a:lnTo>
                      <a:pt x="2503" y="3280"/>
                    </a:lnTo>
                    <a:lnTo>
                      <a:pt x="2503" y="2970"/>
                    </a:lnTo>
                    <a:lnTo>
                      <a:pt x="6100" y="2970"/>
                    </a:lnTo>
                    <a:lnTo>
                      <a:pt x="6100" y="3280"/>
                    </a:lnTo>
                    <a:close/>
                    <a:moveTo>
                      <a:pt x="6100" y="2187"/>
                    </a:moveTo>
                    <a:lnTo>
                      <a:pt x="2503" y="2187"/>
                    </a:lnTo>
                    <a:lnTo>
                      <a:pt x="2503" y="1877"/>
                    </a:lnTo>
                    <a:lnTo>
                      <a:pt x="6100" y="1877"/>
                    </a:lnTo>
                    <a:lnTo>
                      <a:pt x="6100" y="2187"/>
                    </a:lnTo>
                    <a:close/>
                  </a:path>
                </a:pathLst>
              </a:custGeom>
              <a:grpFill/>
              <a:ln>
                <a:noFill/>
              </a:ln>
              <a:effectLst/>
              <a:extLst>
                <a:ext uri="{91240B29-F687-4f45-9708-019B960494DF}">
                  <a14:hiddenLine xmlns:a14="http://schemas.microsoft.com/office/drawing/2010/main" xmlns="" xmlns:p15="http://schemas.microsoft.com/office/powerpoint/2012/main" xmlns:p14="http://schemas.microsoft.com/office/powerpoint/2010/main" w="9525" cap="flat">
                    <a:solidFill>
                      <a:srgbClr val="808080"/>
                    </a:solidFill>
                    <a:bevel/>
                    <a:headEnd/>
                    <a:tailEnd/>
                  </a14:hiddenLine>
                </a:ext>
                <a:ext uri="{AF507438-7753-43e0-B8FC-AC1667EBCBE1}">
                  <a14:hiddenEffects xmlns:a14="http://schemas.microsoft.com/office/drawing/2010/main" xmlns=""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sp>
            <p:nvSpPr>
              <p:cNvPr id="77" name="Freeform 11">
                <a:extLst>
                  <a:ext uri="{FF2B5EF4-FFF2-40B4-BE49-F238E27FC236}">
                    <a16:creationId xmlns:a16="http://schemas.microsoft.com/office/drawing/2014/main" id="{412A1667-648C-A64F-B0EC-E4BA060DF150}"/>
                  </a:ext>
                </a:extLst>
              </p:cNvPr>
              <p:cNvSpPr>
                <a:spLocks noChangeAspect="1" noChangeArrowheads="1"/>
              </p:cNvSpPr>
              <p:nvPr/>
            </p:nvSpPr>
            <p:spPr bwMode="auto">
              <a:xfrm>
                <a:off x="5658252" y="2269614"/>
                <a:ext cx="167874" cy="238502"/>
              </a:xfrm>
              <a:custGeom>
                <a:avLst/>
                <a:gdLst>
                  <a:gd name="T0" fmla="*/ 1760 w 2085"/>
                  <a:gd name="T1" fmla="*/ 1111 h 2964"/>
                  <a:gd name="T2" fmla="*/ 1760 w 2085"/>
                  <a:gd name="T3" fmla="*/ 718 h 2964"/>
                  <a:gd name="T4" fmla="*/ 1042 w 2085"/>
                  <a:gd name="T5" fmla="*/ 0 h 2964"/>
                  <a:gd name="T6" fmla="*/ 324 w 2085"/>
                  <a:gd name="T7" fmla="*/ 718 h 2964"/>
                  <a:gd name="T8" fmla="*/ 324 w 2085"/>
                  <a:gd name="T9" fmla="*/ 1111 h 2964"/>
                  <a:gd name="T10" fmla="*/ 0 w 2085"/>
                  <a:gd name="T11" fmla="*/ 1111 h 2964"/>
                  <a:gd name="T12" fmla="*/ 0 w 2085"/>
                  <a:gd name="T13" fmla="*/ 2523 h 2964"/>
                  <a:gd name="T14" fmla="*/ 1042 w 2085"/>
                  <a:gd name="T15" fmla="*/ 2963 h 2964"/>
                  <a:gd name="T16" fmla="*/ 2084 w 2085"/>
                  <a:gd name="T17" fmla="*/ 2523 h 2964"/>
                  <a:gd name="T18" fmla="*/ 2084 w 2085"/>
                  <a:gd name="T19" fmla="*/ 1111 h 2964"/>
                  <a:gd name="T20" fmla="*/ 1760 w 2085"/>
                  <a:gd name="T21" fmla="*/ 1111 h 2964"/>
                  <a:gd name="T22" fmla="*/ 1158 w 2085"/>
                  <a:gd name="T23" fmla="*/ 1956 h 2964"/>
                  <a:gd name="T24" fmla="*/ 1158 w 2085"/>
                  <a:gd name="T25" fmla="*/ 2223 h 2964"/>
                  <a:gd name="T26" fmla="*/ 1042 w 2085"/>
                  <a:gd name="T27" fmla="*/ 2338 h 2964"/>
                  <a:gd name="T28" fmla="*/ 926 w 2085"/>
                  <a:gd name="T29" fmla="*/ 2223 h 2964"/>
                  <a:gd name="T30" fmla="*/ 926 w 2085"/>
                  <a:gd name="T31" fmla="*/ 1956 h 2964"/>
                  <a:gd name="T32" fmla="*/ 810 w 2085"/>
                  <a:gd name="T33" fmla="*/ 1760 h 2964"/>
                  <a:gd name="T34" fmla="*/ 1042 w 2085"/>
                  <a:gd name="T35" fmla="*/ 1528 h 2964"/>
                  <a:gd name="T36" fmla="*/ 1273 w 2085"/>
                  <a:gd name="T37" fmla="*/ 1760 h 2964"/>
                  <a:gd name="T38" fmla="*/ 1158 w 2085"/>
                  <a:gd name="T39" fmla="*/ 1956 h 2964"/>
                  <a:gd name="T40" fmla="*/ 1436 w 2085"/>
                  <a:gd name="T41" fmla="*/ 1111 h 2964"/>
                  <a:gd name="T42" fmla="*/ 648 w 2085"/>
                  <a:gd name="T43" fmla="*/ 1111 h 2964"/>
                  <a:gd name="T44" fmla="*/ 648 w 2085"/>
                  <a:gd name="T45" fmla="*/ 718 h 2964"/>
                  <a:gd name="T46" fmla="*/ 1042 w 2085"/>
                  <a:gd name="T47" fmla="*/ 324 h 2964"/>
                  <a:gd name="T48" fmla="*/ 1436 w 2085"/>
                  <a:gd name="T49" fmla="*/ 718 h 2964"/>
                  <a:gd name="T50" fmla="*/ 1436 w 2085"/>
                  <a:gd name="T51" fmla="*/ 1111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5" h="2964">
                    <a:moveTo>
                      <a:pt x="1760" y="1111"/>
                    </a:moveTo>
                    <a:cubicBezTo>
                      <a:pt x="1760" y="718"/>
                      <a:pt x="1760" y="718"/>
                      <a:pt x="1760" y="718"/>
                    </a:cubicBezTo>
                    <a:cubicBezTo>
                      <a:pt x="1760" y="324"/>
                      <a:pt x="1436" y="0"/>
                      <a:pt x="1042" y="0"/>
                    </a:cubicBezTo>
                    <a:cubicBezTo>
                      <a:pt x="648" y="0"/>
                      <a:pt x="324" y="324"/>
                      <a:pt x="324" y="718"/>
                    </a:cubicBezTo>
                    <a:cubicBezTo>
                      <a:pt x="324" y="1111"/>
                      <a:pt x="324" y="1111"/>
                      <a:pt x="324" y="1111"/>
                    </a:cubicBezTo>
                    <a:cubicBezTo>
                      <a:pt x="0" y="1111"/>
                      <a:pt x="0" y="1111"/>
                      <a:pt x="0" y="1111"/>
                    </a:cubicBezTo>
                    <a:cubicBezTo>
                      <a:pt x="0" y="2523"/>
                      <a:pt x="0" y="2523"/>
                      <a:pt x="0" y="2523"/>
                    </a:cubicBezTo>
                    <a:cubicBezTo>
                      <a:pt x="1042" y="2963"/>
                      <a:pt x="1042" y="2963"/>
                      <a:pt x="1042" y="2963"/>
                    </a:cubicBezTo>
                    <a:cubicBezTo>
                      <a:pt x="2084" y="2523"/>
                      <a:pt x="2084" y="2523"/>
                      <a:pt x="2084" y="2523"/>
                    </a:cubicBezTo>
                    <a:cubicBezTo>
                      <a:pt x="2084" y="1111"/>
                      <a:pt x="2084" y="1111"/>
                      <a:pt x="2084" y="1111"/>
                    </a:cubicBezTo>
                    <a:lnTo>
                      <a:pt x="1760" y="1111"/>
                    </a:lnTo>
                    <a:close/>
                    <a:moveTo>
                      <a:pt x="1158" y="1956"/>
                    </a:moveTo>
                    <a:cubicBezTo>
                      <a:pt x="1158" y="2222"/>
                      <a:pt x="1158" y="2223"/>
                      <a:pt x="1158" y="2223"/>
                    </a:cubicBezTo>
                    <a:cubicBezTo>
                      <a:pt x="1158" y="2291"/>
                      <a:pt x="1111" y="2338"/>
                      <a:pt x="1042" y="2338"/>
                    </a:cubicBezTo>
                    <a:cubicBezTo>
                      <a:pt x="973" y="2338"/>
                      <a:pt x="926" y="2291"/>
                      <a:pt x="926" y="2223"/>
                    </a:cubicBezTo>
                    <a:cubicBezTo>
                      <a:pt x="926" y="1956"/>
                      <a:pt x="926" y="1956"/>
                      <a:pt x="926" y="1956"/>
                    </a:cubicBezTo>
                    <a:cubicBezTo>
                      <a:pt x="857" y="1922"/>
                      <a:pt x="810" y="1841"/>
                      <a:pt x="810" y="1760"/>
                    </a:cubicBezTo>
                    <a:cubicBezTo>
                      <a:pt x="810" y="1632"/>
                      <a:pt x="914" y="1528"/>
                      <a:pt x="1042" y="1528"/>
                    </a:cubicBezTo>
                    <a:cubicBezTo>
                      <a:pt x="1169" y="1528"/>
                      <a:pt x="1273" y="1632"/>
                      <a:pt x="1273" y="1760"/>
                    </a:cubicBezTo>
                    <a:cubicBezTo>
                      <a:pt x="1273" y="1841"/>
                      <a:pt x="1227" y="1922"/>
                      <a:pt x="1158" y="1956"/>
                    </a:cubicBezTo>
                    <a:close/>
                    <a:moveTo>
                      <a:pt x="1436" y="1111"/>
                    </a:moveTo>
                    <a:cubicBezTo>
                      <a:pt x="648" y="1111"/>
                      <a:pt x="648" y="1111"/>
                      <a:pt x="648" y="1111"/>
                    </a:cubicBezTo>
                    <a:cubicBezTo>
                      <a:pt x="648" y="718"/>
                      <a:pt x="648" y="718"/>
                      <a:pt x="648" y="718"/>
                    </a:cubicBezTo>
                    <a:cubicBezTo>
                      <a:pt x="648" y="498"/>
                      <a:pt x="822" y="324"/>
                      <a:pt x="1042" y="324"/>
                    </a:cubicBezTo>
                    <a:cubicBezTo>
                      <a:pt x="1262" y="324"/>
                      <a:pt x="1436" y="498"/>
                      <a:pt x="1436" y="718"/>
                    </a:cubicBezTo>
                    <a:lnTo>
                      <a:pt x="1436" y="1111"/>
                    </a:lnTo>
                    <a:close/>
                  </a:path>
                </a:pathLst>
              </a:custGeom>
              <a:grpFill/>
              <a:ln>
                <a:noFill/>
              </a:ln>
              <a:effectLst/>
              <a:extLst>
                <a:ext uri="{91240B29-F687-4f45-9708-019B960494DF}">
                  <a14:hiddenLine xmlns:a14="http://schemas.microsoft.com/office/drawing/2010/main" xmlns="" xmlns:p15="http://schemas.microsoft.com/office/powerpoint/2012/main" xmlns:p14="http://schemas.microsoft.com/office/powerpoint/2010/main" w="9525" cap="flat">
                    <a:solidFill>
                      <a:srgbClr val="808080"/>
                    </a:solidFill>
                    <a:bevel/>
                    <a:headEnd/>
                    <a:tailEnd/>
                  </a14:hiddenLine>
                </a:ext>
                <a:ext uri="{AF507438-7753-43e0-B8FC-AC1667EBCBE1}">
                  <a14:hiddenEffects xmlns:a14="http://schemas.microsoft.com/office/drawing/2010/main" xmlns=""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grpSp>
      </p:grpSp>
      <p:grpSp>
        <p:nvGrpSpPr>
          <p:cNvPr id="78" name="Group 77"/>
          <p:cNvGrpSpPr/>
          <p:nvPr/>
        </p:nvGrpSpPr>
        <p:grpSpPr>
          <a:xfrm>
            <a:off x="8110754" y="2825294"/>
            <a:ext cx="619257" cy="619256"/>
            <a:chOff x="6096000" y="2988411"/>
            <a:chExt cx="715068" cy="715067"/>
          </a:xfrm>
        </p:grpSpPr>
        <p:sp>
          <p:nvSpPr>
            <p:cNvPr id="79" name="Oval 78">
              <a:extLst>
                <a:ext uri="{FF2B5EF4-FFF2-40B4-BE49-F238E27FC236}">
                  <a16:creationId xmlns:a16="http://schemas.microsoft.com/office/drawing/2014/main" id="{3AFE3FD0-E1A5-EA43-A3BE-24C6C858A0B4}"/>
                </a:ext>
              </a:extLst>
            </p:cNvPr>
            <p:cNvSpPr/>
            <p:nvPr/>
          </p:nvSpPr>
          <p:spPr bwMode="gray">
            <a:xfrm>
              <a:off x="6096000" y="2988411"/>
              <a:ext cx="715068" cy="715067"/>
            </a:xfrm>
            <a:prstGeom prst="ellipse">
              <a:avLst/>
            </a:prstGeom>
            <a:solidFill>
              <a:schemeClr val="accent4"/>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sng" strike="noStrike" kern="1200" cap="none" spc="0" normalizeH="0" baseline="0" noProof="0">
                <a:ln>
                  <a:noFill/>
                </a:ln>
                <a:solidFill>
                  <a:srgbClr val="FFFFFF"/>
                </a:solidFill>
                <a:effectLst/>
                <a:uLnTx/>
                <a:uFillTx/>
                <a:latin typeface="Oracle Sans"/>
                <a:cs typeface="Arial"/>
              </a:endParaRPr>
            </a:p>
          </p:txBody>
        </p:sp>
        <p:sp>
          <p:nvSpPr>
            <p:cNvPr id="80" name="Freeform 79">
              <a:extLst>
                <a:ext uri="{FF2B5EF4-FFF2-40B4-BE49-F238E27FC236}">
                  <a16:creationId xmlns:a16="http://schemas.microsoft.com/office/drawing/2014/main" id="{9858AE1E-D0DA-654A-96B1-2F76F1138E55}"/>
                </a:ext>
              </a:extLst>
            </p:cNvPr>
            <p:cNvSpPr>
              <a:spLocks noChangeAspect="1" noChangeArrowheads="1"/>
            </p:cNvSpPr>
            <p:nvPr/>
          </p:nvSpPr>
          <p:spPr bwMode="auto">
            <a:xfrm>
              <a:off x="6247816" y="3100397"/>
              <a:ext cx="400590" cy="470669"/>
            </a:xfrm>
            <a:custGeom>
              <a:avLst/>
              <a:gdLst>
                <a:gd name="connsiteX0" fmla="*/ 351485 w 780636"/>
                <a:gd name="connsiteY0" fmla="*/ 653140 h 917202"/>
                <a:gd name="connsiteX1" fmla="*/ 401199 w 780636"/>
                <a:gd name="connsiteY1" fmla="*/ 673284 h 917202"/>
                <a:gd name="connsiteX2" fmla="*/ 401199 w 780636"/>
                <a:gd name="connsiteY2" fmla="*/ 772816 h 917202"/>
                <a:gd name="connsiteX3" fmla="*/ 351485 w 780636"/>
                <a:gd name="connsiteY3" fmla="*/ 792961 h 917202"/>
                <a:gd name="connsiteX4" fmla="*/ 301679 w 780636"/>
                <a:gd name="connsiteY4" fmla="*/ 772816 h 917202"/>
                <a:gd name="connsiteX5" fmla="*/ 301679 w 780636"/>
                <a:gd name="connsiteY5" fmla="*/ 673284 h 917202"/>
                <a:gd name="connsiteX6" fmla="*/ 351485 w 780636"/>
                <a:gd name="connsiteY6" fmla="*/ 653140 h 917202"/>
                <a:gd name="connsiteX7" fmla="*/ 351485 w 780636"/>
                <a:gd name="connsiteY7" fmla="*/ 636200 h 917202"/>
                <a:gd name="connsiteX8" fmla="*/ 290051 w 780636"/>
                <a:gd name="connsiteY8" fmla="*/ 661656 h 917202"/>
                <a:gd name="connsiteX9" fmla="*/ 290051 w 780636"/>
                <a:gd name="connsiteY9" fmla="*/ 784537 h 917202"/>
                <a:gd name="connsiteX10" fmla="*/ 351485 w 780636"/>
                <a:gd name="connsiteY10" fmla="*/ 809992 h 917202"/>
                <a:gd name="connsiteX11" fmla="*/ 404404 w 780636"/>
                <a:gd name="connsiteY11" fmla="*/ 791954 h 917202"/>
                <a:gd name="connsiteX12" fmla="*/ 429856 w 780636"/>
                <a:gd name="connsiteY12" fmla="*/ 816310 h 917202"/>
                <a:gd name="connsiteX13" fmla="*/ 431962 w 780636"/>
                <a:gd name="connsiteY13" fmla="*/ 829038 h 917202"/>
                <a:gd name="connsiteX14" fmla="*/ 498706 w 780636"/>
                <a:gd name="connsiteY14" fmla="*/ 902199 h 917202"/>
                <a:gd name="connsiteX15" fmla="*/ 523151 w 780636"/>
                <a:gd name="connsiteY15" fmla="*/ 902199 h 917202"/>
                <a:gd name="connsiteX16" fmla="*/ 530567 w 780636"/>
                <a:gd name="connsiteY16" fmla="*/ 894782 h 917202"/>
                <a:gd name="connsiteX17" fmla="*/ 530567 w 780636"/>
                <a:gd name="connsiteY17" fmla="*/ 870334 h 917202"/>
                <a:gd name="connsiteX18" fmla="*/ 457415 w 780636"/>
                <a:gd name="connsiteY18" fmla="*/ 803582 h 917202"/>
                <a:gd name="connsiteX19" fmla="*/ 444688 w 780636"/>
                <a:gd name="connsiteY19" fmla="*/ 801476 h 917202"/>
                <a:gd name="connsiteX20" fmla="*/ 420335 w 780636"/>
                <a:gd name="connsiteY20" fmla="*/ 776021 h 917202"/>
                <a:gd name="connsiteX21" fmla="*/ 412919 w 780636"/>
                <a:gd name="connsiteY21" fmla="*/ 661656 h 917202"/>
                <a:gd name="connsiteX22" fmla="*/ 351485 w 780636"/>
                <a:gd name="connsiteY22" fmla="*/ 636200 h 917202"/>
                <a:gd name="connsiteX23" fmla="*/ 175409 w 780636"/>
                <a:gd name="connsiteY23" fmla="*/ 602052 h 917202"/>
                <a:gd name="connsiteX24" fmla="*/ 605227 w 780636"/>
                <a:gd name="connsiteY24" fmla="*/ 602052 h 917202"/>
                <a:gd name="connsiteX25" fmla="*/ 619747 w 780636"/>
                <a:gd name="connsiteY25" fmla="*/ 616268 h 917202"/>
                <a:gd name="connsiteX26" fmla="*/ 619747 w 780636"/>
                <a:gd name="connsiteY26" fmla="*/ 902619 h 917202"/>
                <a:gd name="connsiteX27" fmla="*/ 605227 w 780636"/>
                <a:gd name="connsiteY27" fmla="*/ 917202 h 917202"/>
                <a:gd name="connsiteX28" fmla="*/ 175409 w 780636"/>
                <a:gd name="connsiteY28" fmla="*/ 917202 h 917202"/>
                <a:gd name="connsiteX29" fmla="*/ 161201 w 780636"/>
                <a:gd name="connsiteY29" fmla="*/ 902619 h 917202"/>
                <a:gd name="connsiteX30" fmla="*/ 161201 w 780636"/>
                <a:gd name="connsiteY30" fmla="*/ 616268 h 917202"/>
                <a:gd name="connsiteX31" fmla="*/ 175409 w 780636"/>
                <a:gd name="connsiteY31" fmla="*/ 602052 h 917202"/>
                <a:gd name="connsiteX32" fmla="*/ 279390 w 780636"/>
                <a:gd name="connsiteY32" fmla="*/ 455024 h 917202"/>
                <a:gd name="connsiteX33" fmla="*/ 390474 w 780636"/>
                <a:gd name="connsiteY33" fmla="*/ 490978 h 917202"/>
                <a:gd name="connsiteX34" fmla="*/ 501559 w 780636"/>
                <a:gd name="connsiteY34" fmla="*/ 455024 h 917202"/>
                <a:gd name="connsiteX35" fmla="*/ 690941 w 780636"/>
                <a:gd name="connsiteY35" fmla="*/ 544818 h 917202"/>
                <a:gd name="connsiteX36" fmla="*/ 755578 w 780636"/>
                <a:gd name="connsiteY36" fmla="*/ 637914 h 917202"/>
                <a:gd name="connsiteX37" fmla="*/ 780636 w 780636"/>
                <a:gd name="connsiteY37" fmla="*/ 816952 h 917202"/>
                <a:gd name="connsiteX38" fmla="*/ 648162 w 780636"/>
                <a:gd name="connsiteY38" fmla="*/ 816952 h 917202"/>
                <a:gd name="connsiteX39" fmla="*/ 648162 w 780636"/>
                <a:gd name="connsiteY39" fmla="*/ 616268 h 917202"/>
                <a:gd name="connsiteX40" fmla="*/ 605227 w 780636"/>
                <a:gd name="connsiteY40" fmla="*/ 573251 h 917202"/>
                <a:gd name="connsiteX41" fmla="*/ 175409 w 780636"/>
                <a:gd name="connsiteY41" fmla="*/ 573251 h 917202"/>
                <a:gd name="connsiteX42" fmla="*/ 132474 w 780636"/>
                <a:gd name="connsiteY42" fmla="*/ 616268 h 917202"/>
                <a:gd name="connsiteX43" fmla="*/ 132474 w 780636"/>
                <a:gd name="connsiteY43" fmla="*/ 816952 h 917202"/>
                <a:gd name="connsiteX44" fmla="*/ 0 w 780636"/>
                <a:gd name="connsiteY44" fmla="*/ 816952 h 917202"/>
                <a:gd name="connsiteX45" fmla="*/ 25058 w 780636"/>
                <a:gd name="connsiteY45" fmla="*/ 637914 h 917202"/>
                <a:gd name="connsiteX46" fmla="*/ 89383 w 780636"/>
                <a:gd name="connsiteY46" fmla="*/ 544818 h 917202"/>
                <a:gd name="connsiteX47" fmla="*/ 401325 w 780636"/>
                <a:gd name="connsiteY47" fmla="*/ 0 h 917202"/>
                <a:gd name="connsiteX48" fmla="*/ 422636 w 780636"/>
                <a:gd name="connsiteY48" fmla="*/ 28800 h 917202"/>
                <a:gd name="connsiteX49" fmla="*/ 530052 w 780636"/>
                <a:gd name="connsiteY49" fmla="*/ 136113 h 917202"/>
                <a:gd name="connsiteX50" fmla="*/ 519513 w 780636"/>
                <a:gd name="connsiteY50" fmla="*/ 218569 h 917202"/>
                <a:gd name="connsiteX51" fmla="*/ 533721 w 780636"/>
                <a:gd name="connsiteY51" fmla="*/ 247370 h 917202"/>
                <a:gd name="connsiteX52" fmla="*/ 526617 w 780636"/>
                <a:gd name="connsiteY52" fmla="*/ 290386 h 917202"/>
                <a:gd name="connsiteX53" fmla="*/ 497890 w 780636"/>
                <a:gd name="connsiteY53" fmla="*/ 315426 h 917202"/>
                <a:gd name="connsiteX54" fmla="*/ 393909 w 780636"/>
                <a:gd name="connsiteY54" fmla="*/ 426499 h 917202"/>
                <a:gd name="connsiteX55" fmla="*/ 390474 w 780636"/>
                <a:gd name="connsiteY55" fmla="*/ 426499 h 917202"/>
                <a:gd name="connsiteX56" fmla="*/ 283059 w 780636"/>
                <a:gd name="connsiteY56" fmla="*/ 315426 h 917202"/>
                <a:gd name="connsiteX57" fmla="*/ 254331 w 780636"/>
                <a:gd name="connsiteY57" fmla="*/ 290386 h 917202"/>
                <a:gd name="connsiteX58" fmla="*/ 247227 w 780636"/>
                <a:gd name="connsiteY58" fmla="*/ 247370 h 917202"/>
                <a:gd name="connsiteX59" fmla="*/ 261435 w 780636"/>
                <a:gd name="connsiteY59" fmla="*/ 218569 h 917202"/>
                <a:gd name="connsiteX60" fmla="*/ 254331 w 780636"/>
                <a:gd name="connsiteY60" fmla="*/ 143267 h 917202"/>
                <a:gd name="connsiteX61" fmla="*/ 254331 w 780636"/>
                <a:gd name="connsiteY61" fmla="*/ 129051 h 917202"/>
                <a:gd name="connsiteX62" fmla="*/ 401325 w 780636"/>
                <a:gd name="connsiteY62" fmla="*/ 0 h 9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780636" h="917202">
                  <a:moveTo>
                    <a:pt x="351485" y="653140"/>
                  </a:moveTo>
                  <a:cubicBezTo>
                    <a:pt x="370620" y="653140"/>
                    <a:pt x="387558" y="660557"/>
                    <a:pt x="401199" y="673284"/>
                  </a:cubicBezTo>
                  <a:cubicBezTo>
                    <a:pt x="427751" y="700846"/>
                    <a:pt x="427751" y="745347"/>
                    <a:pt x="401199" y="772816"/>
                  </a:cubicBezTo>
                  <a:cubicBezTo>
                    <a:pt x="387558" y="785544"/>
                    <a:pt x="370620" y="792961"/>
                    <a:pt x="351485" y="792961"/>
                  </a:cubicBezTo>
                  <a:cubicBezTo>
                    <a:pt x="332441" y="792961"/>
                    <a:pt x="315504" y="785544"/>
                    <a:pt x="301679" y="772816"/>
                  </a:cubicBezTo>
                  <a:cubicBezTo>
                    <a:pt x="275219" y="745347"/>
                    <a:pt x="275219" y="700846"/>
                    <a:pt x="301679" y="673284"/>
                  </a:cubicBezTo>
                  <a:cubicBezTo>
                    <a:pt x="315504" y="660557"/>
                    <a:pt x="332441" y="653140"/>
                    <a:pt x="351485" y="653140"/>
                  </a:cubicBezTo>
                  <a:close/>
                  <a:moveTo>
                    <a:pt x="351485" y="636200"/>
                  </a:moveTo>
                  <a:cubicBezTo>
                    <a:pt x="329237" y="636200"/>
                    <a:pt x="306989" y="644716"/>
                    <a:pt x="290051" y="661656"/>
                  </a:cubicBezTo>
                  <a:cubicBezTo>
                    <a:pt x="256084" y="695535"/>
                    <a:pt x="256084" y="750657"/>
                    <a:pt x="290051" y="784537"/>
                  </a:cubicBezTo>
                  <a:cubicBezTo>
                    <a:pt x="306989" y="801476"/>
                    <a:pt x="329237" y="809992"/>
                    <a:pt x="351485" y="809992"/>
                  </a:cubicBezTo>
                  <a:cubicBezTo>
                    <a:pt x="370620" y="809992"/>
                    <a:pt x="389663" y="803582"/>
                    <a:pt x="404404" y="791954"/>
                  </a:cubicBezTo>
                  <a:cubicBezTo>
                    <a:pt x="429856" y="816310"/>
                    <a:pt x="429856" y="816310"/>
                    <a:pt x="429856" y="816310"/>
                  </a:cubicBezTo>
                  <a:cubicBezTo>
                    <a:pt x="428758" y="820614"/>
                    <a:pt x="428758" y="825833"/>
                    <a:pt x="431962" y="829038"/>
                  </a:cubicBezTo>
                  <a:cubicBezTo>
                    <a:pt x="498706" y="902199"/>
                    <a:pt x="498706" y="902199"/>
                    <a:pt x="498706" y="902199"/>
                  </a:cubicBezTo>
                  <a:cubicBezTo>
                    <a:pt x="505115" y="909616"/>
                    <a:pt x="516743" y="909616"/>
                    <a:pt x="523151" y="902199"/>
                  </a:cubicBezTo>
                  <a:cubicBezTo>
                    <a:pt x="530567" y="894782"/>
                    <a:pt x="530567" y="894782"/>
                    <a:pt x="530567" y="894782"/>
                  </a:cubicBezTo>
                  <a:cubicBezTo>
                    <a:pt x="537983" y="888372"/>
                    <a:pt x="537983" y="876744"/>
                    <a:pt x="530567" y="870334"/>
                  </a:cubicBezTo>
                  <a:cubicBezTo>
                    <a:pt x="457415" y="803582"/>
                    <a:pt x="457415" y="803582"/>
                    <a:pt x="457415" y="803582"/>
                  </a:cubicBezTo>
                  <a:cubicBezTo>
                    <a:pt x="454210" y="800378"/>
                    <a:pt x="448991" y="800378"/>
                    <a:pt x="444688" y="801476"/>
                  </a:cubicBezTo>
                  <a:cubicBezTo>
                    <a:pt x="420335" y="776021"/>
                    <a:pt x="420335" y="776021"/>
                    <a:pt x="420335" y="776021"/>
                  </a:cubicBezTo>
                  <a:cubicBezTo>
                    <a:pt x="446794" y="742233"/>
                    <a:pt x="444688" y="693429"/>
                    <a:pt x="412919" y="661656"/>
                  </a:cubicBezTo>
                  <a:cubicBezTo>
                    <a:pt x="396072" y="644716"/>
                    <a:pt x="373733" y="636200"/>
                    <a:pt x="351485" y="636200"/>
                  </a:cubicBezTo>
                  <a:close/>
                  <a:moveTo>
                    <a:pt x="175409" y="602052"/>
                  </a:moveTo>
                  <a:lnTo>
                    <a:pt x="605227" y="602052"/>
                  </a:lnTo>
                  <a:cubicBezTo>
                    <a:pt x="612643" y="602052"/>
                    <a:pt x="619747" y="609206"/>
                    <a:pt x="619747" y="616268"/>
                  </a:cubicBezTo>
                  <a:lnTo>
                    <a:pt x="619747" y="902619"/>
                  </a:lnTo>
                  <a:cubicBezTo>
                    <a:pt x="619747" y="910048"/>
                    <a:pt x="612643" y="917202"/>
                    <a:pt x="605227" y="917202"/>
                  </a:cubicBezTo>
                  <a:lnTo>
                    <a:pt x="175409" y="917202"/>
                  </a:lnTo>
                  <a:cubicBezTo>
                    <a:pt x="168305" y="917202"/>
                    <a:pt x="161201" y="910048"/>
                    <a:pt x="161201" y="902619"/>
                  </a:cubicBezTo>
                  <a:lnTo>
                    <a:pt x="161201" y="616268"/>
                  </a:lnTo>
                  <a:cubicBezTo>
                    <a:pt x="161201" y="609206"/>
                    <a:pt x="168305" y="602052"/>
                    <a:pt x="175409" y="602052"/>
                  </a:cubicBezTo>
                  <a:close/>
                  <a:moveTo>
                    <a:pt x="279390" y="455024"/>
                  </a:moveTo>
                  <a:cubicBezTo>
                    <a:pt x="279390" y="458785"/>
                    <a:pt x="311630" y="490978"/>
                    <a:pt x="390474" y="490978"/>
                  </a:cubicBezTo>
                  <a:cubicBezTo>
                    <a:pt x="469318" y="490978"/>
                    <a:pt x="501559" y="458785"/>
                    <a:pt x="501559" y="455024"/>
                  </a:cubicBezTo>
                  <a:lnTo>
                    <a:pt x="690941" y="544818"/>
                  </a:lnTo>
                  <a:cubicBezTo>
                    <a:pt x="726850" y="562428"/>
                    <a:pt x="751909" y="598383"/>
                    <a:pt x="755578" y="637914"/>
                  </a:cubicBezTo>
                  <a:lnTo>
                    <a:pt x="780636" y="816952"/>
                  </a:lnTo>
                  <a:lnTo>
                    <a:pt x="648162" y="816952"/>
                  </a:lnTo>
                  <a:lnTo>
                    <a:pt x="648162" y="616268"/>
                  </a:lnTo>
                  <a:cubicBezTo>
                    <a:pt x="648162" y="591229"/>
                    <a:pt x="630520" y="573251"/>
                    <a:pt x="605227" y="573251"/>
                  </a:cubicBezTo>
                  <a:lnTo>
                    <a:pt x="175409" y="573251"/>
                  </a:lnTo>
                  <a:cubicBezTo>
                    <a:pt x="150429" y="573251"/>
                    <a:pt x="132474" y="591229"/>
                    <a:pt x="132474" y="616268"/>
                  </a:cubicBezTo>
                  <a:lnTo>
                    <a:pt x="132474" y="816952"/>
                  </a:lnTo>
                  <a:lnTo>
                    <a:pt x="0" y="816952"/>
                  </a:lnTo>
                  <a:lnTo>
                    <a:pt x="25058" y="637914"/>
                  </a:lnTo>
                  <a:cubicBezTo>
                    <a:pt x="28727" y="598383"/>
                    <a:pt x="53786" y="562428"/>
                    <a:pt x="89383" y="544818"/>
                  </a:cubicBezTo>
                  <a:close/>
                  <a:moveTo>
                    <a:pt x="401325" y="0"/>
                  </a:moveTo>
                  <a:lnTo>
                    <a:pt x="422636" y="28800"/>
                  </a:lnTo>
                  <a:cubicBezTo>
                    <a:pt x="483604" y="32194"/>
                    <a:pt x="526617" y="86034"/>
                    <a:pt x="530052" y="136113"/>
                  </a:cubicBezTo>
                  <a:cubicBezTo>
                    <a:pt x="530052" y="168399"/>
                    <a:pt x="522948" y="200592"/>
                    <a:pt x="519513" y="218569"/>
                  </a:cubicBezTo>
                  <a:cubicBezTo>
                    <a:pt x="530052" y="225724"/>
                    <a:pt x="537156" y="236547"/>
                    <a:pt x="533721" y="247370"/>
                  </a:cubicBezTo>
                  <a:cubicBezTo>
                    <a:pt x="531379" y="261678"/>
                    <a:pt x="528959" y="276078"/>
                    <a:pt x="526617" y="290386"/>
                  </a:cubicBezTo>
                  <a:cubicBezTo>
                    <a:pt x="526617" y="304603"/>
                    <a:pt x="512409" y="315426"/>
                    <a:pt x="497890" y="315426"/>
                  </a:cubicBezTo>
                  <a:cubicBezTo>
                    <a:pt x="483604" y="422830"/>
                    <a:pt x="404682" y="426499"/>
                    <a:pt x="393909" y="426499"/>
                  </a:cubicBezTo>
                  <a:lnTo>
                    <a:pt x="390474" y="426499"/>
                  </a:lnTo>
                  <a:cubicBezTo>
                    <a:pt x="376267" y="426499"/>
                    <a:pt x="297344" y="422830"/>
                    <a:pt x="283059" y="315426"/>
                  </a:cubicBezTo>
                  <a:cubicBezTo>
                    <a:pt x="268539" y="315426"/>
                    <a:pt x="254331" y="304603"/>
                    <a:pt x="254331" y="290386"/>
                  </a:cubicBezTo>
                  <a:cubicBezTo>
                    <a:pt x="251989" y="276078"/>
                    <a:pt x="249569" y="261678"/>
                    <a:pt x="247227" y="247370"/>
                  </a:cubicBezTo>
                  <a:cubicBezTo>
                    <a:pt x="247227" y="236547"/>
                    <a:pt x="250584" y="225724"/>
                    <a:pt x="261435" y="218569"/>
                  </a:cubicBezTo>
                  <a:cubicBezTo>
                    <a:pt x="258000" y="200592"/>
                    <a:pt x="254331" y="172159"/>
                    <a:pt x="254331" y="143267"/>
                  </a:cubicBezTo>
                  <a:lnTo>
                    <a:pt x="254331" y="129051"/>
                  </a:lnTo>
                  <a:cubicBezTo>
                    <a:pt x="254331" y="129051"/>
                    <a:pt x="250584" y="7154"/>
                    <a:pt x="401325" y="0"/>
                  </a:cubicBezTo>
                  <a:close/>
                </a:path>
              </a:pathLst>
            </a:custGeom>
            <a:solidFill>
              <a:schemeClr val="bg2"/>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square" anchor="ctr">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sng" strike="noStrike" kern="1200" cap="none" spc="0" normalizeH="0" baseline="0" noProof="0">
                <a:ln>
                  <a:noFill/>
                </a:ln>
                <a:solidFill>
                  <a:srgbClr val="58595B"/>
                </a:solidFill>
                <a:effectLst/>
                <a:uLnTx/>
                <a:uFillTx/>
                <a:latin typeface="Oracle Sans"/>
                <a:cs typeface="Arial"/>
              </a:endParaRPr>
            </a:p>
          </p:txBody>
        </p:sp>
      </p:grpSp>
      <p:grpSp>
        <p:nvGrpSpPr>
          <p:cNvPr id="81" name="Group 80"/>
          <p:cNvGrpSpPr/>
          <p:nvPr/>
        </p:nvGrpSpPr>
        <p:grpSpPr>
          <a:xfrm>
            <a:off x="8917834" y="2822495"/>
            <a:ext cx="619257" cy="619256"/>
            <a:chOff x="6096000" y="4045315"/>
            <a:chExt cx="715068" cy="715067"/>
          </a:xfrm>
        </p:grpSpPr>
        <p:sp>
          <p:nvSpPr>
            <p:cNvPr id="82" name="Oval 81">
              <a:extLst>
                <a:ext uri="{FF2B5EF4-FFF2-40B4-BE49-F238E27FC236}">
                  <a16:creationId xmlns:a16="http://schemas.microsoft.com/office/drawing/2014/main" id="{B2AEBEE2-9C33-7F40-B3CD-83908E00A82B}"/>
                </a:ext>
              </a:extLst>
            </p:cNvPr>
            <p:cNvSpPr/>
            <p:nvPr/>
          </p:nvSpPr>
          <p:spPr bwMode="gray">
            <a:xfrm>
              <a:off x="6096000" y="4045315"/>
              <a:ext cx="715068" cy="715067"/>
            </a:xfrm>
            <a:prstGeom prst="ellipse">
              <a:avLst/>
            </a:prstGeom>
            <a:solidFill>
              <a:schemeClr val="accent4"/>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sp>
          <p:nvSpPr>
            <p:cNvPr id="83" name="Freeform 82">
              <a:extLst>
                <a:ext uri="{FF2B5EF4-FFF2-40B4-BE49-F238E27FC236}">
                  <a16:creationId xmlns:a16="http://schemas.microsoft.com/office/drawing/2014/main" id="{592196BF-6EE3-9B48-9DAB-0D9130FDC66C}"/>
                </a:ext>
              </a:extLst>
            </p:cNvPr>
            <p:cNvSpPr>
              <a:spLocks noChangeAspect="1" noChangeArrowheads="1"/>
            </p:cNvSpPr>
            <p:nvPr/>
          </p:nvSpPr>
          <p:spPr bwMode="auto">
            <a:xfrm>
              <a:off x="6286891" y="4172201"/>
              <a:ext cx="346190" cy="470931"/>
            </a:xfrm>
            <a:custGeom>
              <a:avLst/>
              <a:gdLst>
                <a:gd name="T0" fmla="*/ 1621 w 2177"/>
                <a:gd name="T1" fmla="*/ 324 h 2964"/>
                <a:gd name="T2" fmla="*/ 1296 w 2177"/>
                <a:gd name="T3" fmla="*/ 185 h 2964"/>
                <a:gd name="T4" fmla="*/ 880 w 2177"/>
                <a:gd name="T5" fmla="*/ 185 h 2964"/>
                <a:gd name="T6" fmla="*/ 555 w 2177"/>
                <a:gd name="T7" fmla="*/ 324 h 2964"/>
                <a:gd name="T8" fmla="*/ 1621 w 2177"/>
                <a:gd name="T9" fmla="*/ 556 h 2964"/>
                <a:gd name="T10" fmla="*/ 1088 w 2177"/>
                <a:gd name="T11" fmla="*/ 278 h 2964"/>
                <a:gd name="T12" fmla="*/ 1088 w 2177"/>
                <a:gd name="T13" fmla="*/ 139 h 2964"/>
                <a:gd name="T14" fmla="*/ 1088 w 2177"/>
                <a:gd name="T15" fmla="*/ 278 h 2964"/>
                <a:gd name="T16" fmla="*/ 1713 w 2177"/>
                <a:gd name="T17" fmla="*/ 278 h 2964"/>
                <a:gd name="T18" fmla="*/ 1991 w 2177"/>
                <a:gd name="T19" fmla="*/ 463 h 2964"/>
                <a:gd name="T20" fmla="*/ 555 w 2177"/>
                <a:gd name="T21" fmla="*/ 2777 h 2964"/>
                <a:gd name="T22" fmla="*/ 185 w 2177"/>
                <a:gd name="T23" fmla="*/ 463 h 2964"/>
                <a:gd name="T24" fmla="*/ 463 w 2177"/>
                <a:gd name="T25" fmla="*/ 278 h 2964"/>
                <a:gd name="T26" fmla="*/ 0 w 2177"/>
                <a:gd name="T27" fmla="*/ 370 h 2964"/>
                <a:gd name="T28" fmla="*/ 92 w 2177"/>
                <a:gd name="T29" fmla="*/ 2963 h 2964"/>
                <a:gd name="T30" fmla="*/ 2176 w 2177"/>
                <a:gd name="T31" fmla="*/ 2870 h 2964"/>
                <a:gd name="T32" fmla="*/ 2084 w 2177"/>
                <a:gd name="T33" fmla="*/ 278 h 2964"/>
                <a:gd name="T34" fmla="*/ 555 w 2177"/>
                <a:gd name="T35" fmla="*/ 1621 h 2964"/>
                <a:gd name="T36" fmla="*/ 1065 w 2177"/>
                <a:gd name="T37" fmla="*/ 1713 h 2964"/>
                <a:gd name="T38" fmla="*/ 1065 w 2177"/>
                <a:gd name="T39" fmla="*/ 2176 h 2964"/>
                <a:gd name="T40" fmla="*/ 555 w 2177"/>
                <a:gd name="T41" fmla="*/ 2268 h 2964"/>
                <a:gd name="T42" fmla="*/ 1065 w 2177"/>
                <a:gd name="T43" fmla="*/ 2176 h 2964"/>
                <a:gd name="T44" fmla="*/ 555 w 2177"/>
                <a:gd name="T45" fmla="*/ 1065 h 2964"/>
                <a:gd name="T46" fmla="*/ 1065 w 2177"/>
                <a:gd name="T47" fmla="*/ 1158 h 2964"/>
                <a:gd name="T48" fmla="*/ 1250 w 2177"/>
                <a:gd name="T49" fmla="*/ 1817 h 2964"/>
                <a:gd name="T50" fmla="*/ 1319 w 2177"/>
                <a:gd name="T51" fmla="*/ 1841 h 2964"/>
                <a:gd name="T52" fmla="*/ 1528 w 2177"/>
                <a:gd name="T53" fmla="*/ 1841 h 2964"/>
                <a:gd name="T54" fmla="*/ 1597 w 2177"/>
                <a:gd name="T55" fmla="*/ 1817 h 2964"/>
                <a:gd name="T56" fmla="*/ 1493 w 2177"/>
                <a:gd name="T57" fmla="*/ 1667 h 2964"/>
                <a:gd name="T58" fmla="*/ 1597 w 2177"/>
                <a:gd name="T59" fmla="*/ 1517 h 2964"/>
                <a:gd name="T60" fmla="*/ 1528 w 2177"/>
                <a:gd name="T61" fmla="*/ 1493 h 2964"/>
                <a:gd name="T62" fmla="*/ 1319 w 2177"/>
                <a:gd name="T63" fmla="*/ 1493 h 2964"/>
                <a:gd name="T64" fmla="*/ 1250 w 2177"/>
                <a:gd name="T65" fmla="*/ 1517 h 2964"/>
                <a:gd name="T66" fmla="*/ 1354 w 2177"/>
                <a:gd name="T67" fmla="*/ 1667 h 2964"/>
                <a:gd name="T68" fmla="*/ 1250 w 2177"/>
                <a:gd name="T69" fmla="*/ 1817 h 2964"/>
                <a:gd name="T70" fmla="*/ 1366 w 2177"/>
                <a:gd name="T71" fmla="*/ 2384 h 2964"/>
                <a:gd name="T72" fmla="*/ 1609 w 2177"/>
                <a:gd name="T73" fmla="*/ 2142 h 2964"/>
                <a:gd name="T74" fmla="*/ 1586 w 2177"/>
                <a:gd name="T75" fmla="*/ 2072 h 2964"/>
                <a:gd name="T76" fmla="*/ 1366 w 2177"/>
                <a:gd name="T77" fmla="*/ 2245 h 2964"/>
                <a:gd name="T78" fmla="*/ 1250 w 2177"/>
                <a:gd name="T79" fmla="*/ 2176 h 2964"/>
                <a:gd name="T80" fmla="*/ 1227 w 2177"/>
                <a:gd name="T81" fmla="*/ 2233 h 2964"/>
                <a:gd name="T82" fmla="*/ 1586 w 2177"/>
                <a:gd name="T83" fmla="*/ 961 h 2964"/>
                <a:gd name="T84" fmla="*/ 1366 w 2177"/>
                <a:gd name="T85" fmla="*/ 1135 h 2964"/>
                <a:gd name="T86" fmla="*/ 1250 w 2177"/>
                <a:gd name="T87" fmla="*/ 1065 h 2964"/>
                <a:gd name="T88" fmla="*/ 1227 w 2177"/>
                <a:gd name="T89" fmla="*/ 1123 h 2964"/>
                <a:gd name="T90" fmla="*/ 1435 w 2177"/>
                <a:gd name="T91" fmla="*/ 1204 h 2964"/>
                <a:gd name="T92" fmla="*/ 1609 w 2177"/>
                <a:gd name="T93" fmla="*/ 984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77" h="2964">
                  <a:moveTo>
                    <a:pt x="1621" y="463"/>
                  </a:moveTo>
                  <a:cubicBezTo>
                    <a:pt x="1621" y="324"/>
                    <a:pt x="1621" y="324"/>
                    <a:pt x="1621" y="324"/>
                  </a:cubicBezTo>
                  <a:cubicBezTo>
                    <a:pt x="1621" y="243"/>
                    <a:pt x="1562" y="185"/>
                    <a:pt x="1482" y="185"/>
                  </a:cubicBezTo>
                  <a:cubicBezTo>
                    <a:pt x="1296" y="185"/>
                    <a:pt x="1296" y="185"/>
                    <a:pt x="1296" y="185"/>
                  </a:cubicBezTo>
                  <a:cubicBezTo>
                    <a:pt x="1285" y="81"/>
                    <a:pt x="1192" y="0"/>
                    <a:pt x="1088" y="0"/>
                  </a:cubicBezTo>
                  <a:cubicBezTo>
                    <a:pt x="984" y="0"/>
                    <a:pt x="891" y="81"/>
                    <a:pt x="880" y="185"/>
                  </a:cubicBezTo>
                  <a:cubicBezTo>
                    <a:pt x="694" y="185"/>
                    <a:pt x="694" y="185"/>
                    <a:pt x="694" y="185"/>
                  </a:cubicBezTo>
                  <a:cubicBezTo>
                    <a:pt x="613" y="185"/>
                    <a:pt x="555" y="243"/>
                    <a:pt x="555" y="324"/>
                  </a:cubicBezTo>
                  <a:cubicBezTo>
                    <a:pt x="555" y="556"/>
                    <a:pt x="555" y="556"/>
                    <a:pt x="555" y="556"/>
                  </a:cubicBezTo>
                  <a:cubicBezTo>
                    <a:pt x="1621" y="556"/>
                    <a:pt x="1621" y="556"/>
                    <a:pt x="1621" y="556"/>
                  </a:cubicBezTo>
                  <a:lnTo>
                    <a:pt x="1621" y="463"/>
                  </a:lnTo>
                  <a:close/>
                  <a:moveTo>
                    <a:pt x="1088" y="278"/>
                  </a:moveTo>
                  <a:cubicBezTo>
                    <a:pt x="1053" y="278"/>
                    <a:pt x="1019" y="243"/>
                    <a:pt x="1019" y="209"/>
                  </a:cubicBezTo>
                  <a:cubicBezTo>
                    <a:pt x="1019" y="174"/>
                    <a:pt x="1053" y="139"/>
                    <a:pt x="1088" y="139"/>
                  </a:cubicBezTo>
                  <a:cubicBezTo>
                    <a:pt x="1123" y="139"/>
                    <a:pt x="1157" y="174"/>
                    <a:pt x="1157" y="209"/>
                  </a:cubicBezTo>
                  <a:cubicBezTo>
                    <a:pt x="1157" y="243"/>
                    <a:pt x="1123" y="278"/>
                    <a:pt x="1088" y="278"/>
                  </a:cubicBezTo>
                  <a:close/>
                  <a:moveTo>
                    <a:pt x="2084" y="278"/>
                  </a:moveTo>
                  <a:cubicBezTo>
                    <a:pt x="1713" y="278"/>
                    <a:pt x="1713" y="278"/>
                    <a:pt x="1713" y="278"/>
                  </a:cubicBezTo>
                  <a:cubicBezTo>
                    <a:pt x="1713" y="463"/>
                    <a:pt x="1713" y="463"/>
                    <a:pt x="1713" y="463"/>
                  </a:cubicBezTo>
                  <a:cubicBezTo>
                    <a:pt x="1991" y="463"/>
                    <a:pt x="1991" y="463"/>
                    <a:pt x="1991" y="463"/>
                  </a:cubicBezTo>
                  <a:cubicBezTo>
                    <a:pt x="1991" y="2777"/>
                    <a:pt x="1991" y="2777"/>
                    <a:pt x="1991" y="2777"/>
                  </a:cubicBezTo>
                  <a:cubicBezTo>
                    <a:pt x="555" y="2777"/>
                    <a:pt x="555" y="2777"/>
                    <a:pt x="555" y="2777"/>
                  </a:cubicBezTo>
                  <a:cubicBezTo>
                    <a:pt x="185" y="2407"/>
                    <a:pt x="185" y="2407"/>
                    <a:pt x="185" y="2407"/>
                  </a:cubicBezTo>
                  <a:cubicBezTo>
                    <a:pt x="185" y="463"/>
                    <a:pt x="185" y="463"/>
                    <a:pt x="185" y="463"/>
                  </a:cubicBezTo>
                  <a:cubicBezTo>
                    <a:pt x="463" y="463"/>
                    <a:pt x="463" y="463"/>
                    <a:pt x="463" y="463"/>
                  </a:cubicBezTo>
                  <a:cubicBezTo>
                    <a:pt x="463" y="278"/>
                    <a:pt x="463" y="278"/>
                    <a:pt x="463" y="278"/>
                  </a:cubicBezTo>
                  <a:cubicBezTo>
                    <a:pt x="92" y="278"/>
                    <a:pt x="92" y="278"/>
                    <a:pt x="92" y="278"/>
                  </a:cubicBezTo>
                  <a:cubicBezTo>
                    <a:pt x="46" y="278"/>
                    <a:pt x="0" y="324"/>
                    <a:pt x="0" y="370"/>
                  </a:cubicBezTo>
                  <a:cubicBezTo>
                    <a:pt x="0" y="2870"/>
                    <a:pt x="0" y="2870"/>
                    <a:pt x="0" y="2870"/>
                  </a:cubicBezTo>
                  <a:cubicBezTo>
                    <a:pt x="0" y="2916"/>
                    <a:pt x="46" y="2963"/>
                    <a:pt x="92" y="2963"/>
                  </a:cubicBezTo>
                  <a:cubicBezTo>
                    <a:pt x="2084" y="2963"/>
                    <a:pt x="2084" y="2963"/>
                    <a:pt x="2084" y="2963"/>
                  </a:cubicBezTo>
                  <a:cubicBezTo>
                    <a:pt x="2130" y="2963"/>
                    <a:pt x="2176" y="2916"/>
                    <a:pt x="2176" y="2870"/>
                  </a:cubicBezTo>
                  <a:cubicBezTo>
                    <a:pt x="2176" y="370"/>
                    <a:pt x="2176" y="370"/>
                    <a:pt x="2176" y="370"/>
                  </a:cubicBezTo>
                  <a:cubicBezTo>
                    <a:pt x="2176" y="324"/>
                    <a:pt x="2130" y="278"/>
                    <a:pt x="2084" y="278"/>
                  </a:cubicBezTo>
                  <a:close/>
                  <a:moveTo>
                    <a:pt x="1065" y="1621"/>
                  </a:moveTo>
                  <a:cubicBezTo>
                    <a:pt x="555" y="1621"/>
                    <a:pt x="555" y="1621"/>
                    <a:pt x="555" y="1621"/>
                  </a:cubicBezTo>
                  <a:cubicBezTo>
                    <a:pt x="555" y="1713"/>
                    <a:pt x="555" y="1713"/>
                    <a:pt x="555" y="1713"/>
                  </a:cubicBezTo>
                  <a:cubicBezTo>
                    <a:pt x="1065" y="1713"/>
                    <a:pt x="1065" y="1713"/>
                    <a:pt x="1065" y="1713"/>
                  </a:cubicBezTo>
                  <a:lnTo>
                    <a:pt x="1065" y="1621"/>
                  </a:lnTo>
                  <a:close/>
                  <a:moveTo>
                    <a:pt x="1065" y="2176"/>
                  </a:moveTo>
                  <a:cubicBezTo>
                    <a:pt x="555" y="2176"/>
                    <a:pt x="555" y="2176"/>
                    <a:pt x="555" y="2176"/>
                  </a:cubicBezTo>
                  <a:cubicBezTo>
                    <a:pt x="555" y="2268"/>
                    <a:pt x="555" y="2268"/>
                    <a:pt x="555" y="2268"/>
                  </a:cubicBezTo>
                  <a:cubicBezTo>
                    <a:pt x="1065" y="2268"/>
                    <a:pt x="1065" y="2268"/>
                    <a:pt x="1065" y="2268"/>
                  </a:cubicBezTo>
                  <a:lnTo>
                    <a:pt x="1065" y="2176"/>
                  </a:lnTo>
                  <a:close/>
                  <a:moveTo>
                    <a:pt x="1065" y="1065"/>
                  </a:moveTo>
                  <a:cubicBezTo>
                    <a:pt x="555" y="1065"/>
                    <a:pt x="555" y="1065"/>
                    <a:pt x="555" y="1065"/>
                  </a:cubicBezTo>
                  <a:cubicBezTo>
                    <a:pt x="555" y="1158"/>
                    <a:pt x="555" y="1158"/>
                    <a:pt x="555" y="1158"/>
                  </a:cubicBezTo>
                  <a:cubicBezTo>
                    <a:pt x="1065" y="1158"/>
                    <a:pt x="1065" y="1158"/>
                    <a:pt x="1065" y="1158"/>
                  </a:cubicBezTo>
                  <a:lnTo>
                    <a:pt x="1065" y="1065"/>
                  </a:lnTo>
                  <a:close/>
                  <a:moveTo>
                    <a:pt x="1250" y="1817"/>
                  </a:moveTo>
                  <a:cubicBezTo>
                    <a:pt x="1273" y="1841"/>
                    <a:pt x="1273" y="1841"/>
                    <a:pt x="1273" y="1841"/>
                  </a:cubicBezTo>
                  <a:cubicBezTo>
                    <a:pt x="1285" y="1852"/>
                    <a:pt x="1308" y="1852"/>
                    <a:pt x="1319" y="1841"/>
                  </a:cubicBezTo>
                  <a:cubicBezTo>
                    <a:pt x="1423" y="1737"/>
                    <a:pt x="1423" y="1737"/>
                    <a:pt x="1423" y="1737"/>
                  </a:cubicBezTo>
                  <a:cubicBezTo>
                    <a:pt x="1528" y="1841"/>
                    <a:pt x="1528" y="1841"/>
                    <a:pt x="1528" y="1841"/>
                  </a:cubicBezTo>
                  <a:cubicBezTo>
                    <a:pt x="1539" y="1852"/>
                    <a:pt x="1562" y="1852"/>
                    <a:pt x="1574" y="1841"/>
                  </a:cubicBezTo>
                  <a:cubicBezTo>
                    <a:pt x="1597" y="1817"/>
                    <a:pt x="1597" y="1817"/>
                    <a:pt x="1597" y="1817"/>
                  </a:cubicBezTo>
                  <a:cubicBezTo>
                    <a:pt x="1609" y="1806"/>
                    <a:pt x="1609" y="1783"/>
                    <a:pt x="1597" y="1771"/>
                  </a:cubicBezTo>
                  <a:cubicBezTo>
                    <a:pt x="1493" y="1667"/>
                    <a:pt x="1493" y="1667"/>
                    <a:pt x="1493" y="1667"/>
                  </a:cubicBezTo>
                  <a:cubicBezTo>
                    <a:pt x="1597" y="1563"/>
                    <a:pt x="1597" y="1563"/>
                    <a:pt x="1597" y="1563"/>
                  </a:cubicBezTo>
                  <a:cubicBezTo>
                    <a:pt x="1609" y="1551"/>
                    <a:pt x="1609" y="1528"/>
                    <a:pt x="1597" y="1517"/>
                  </a:cubicBezTo>
                  <a:cubicBezTo>
                    <a:pt x="1574" y="1493"/>
                    <a:pt x="1574" y="1493"/>
                    <a:pt x="1574" y="1493"/>
                  </a:cubicBezTo>
                  <a:cubicBezTo>
                    <a:pt x="1562" y="1482"/>
                    <a:pt x="1539" y="1482"/>
                    <a:pt x="1528" y="1493"/>
                  </a:cubicBezTo>
                  <a:cubicBezTo>
                    <a:pt x="1423" y="1598"/>
                    <a:pt x="1423" y="1598"/>
                    <a:pt x="1423" y="1598"/>
                  </a:cubicBezTo>
                  <a:cubicBezTo>
                    <a:pt x="1319" y="1493"/>
                    <a:pt x="1319" y="1493"/>
                    <a:pt x="1319" y="1493"/>
                  </a:cubicBezTo>
                  <a:cubicBezTo>
                    <a:pt x="1308" y="1482"/>
                    <a:pt x="1285" y="1482"/>
                    <a:pt x="1273" y="1493"/>
                  </a:cubicBezTo>
                  <a:cubicBezTo>
                    <a:pt x="1250" y="1517"/>
                    <a:pt x="1250" y="1517"/>
                    <a:pt x="1250" y="1517"/>
                  </a:cubicBezTo>
                  <a:cubicBezTo>
                    <a:pt x="1238" y="1528"/>
                    <a:pt x="1238" y="1551"/>
                    <a:pt x="1250" y="1563"/>
                  </a:cubicBezTo>
                  <a:cubicBezTo>
                    <a:pt x="1354" y="1667"/>
                    <a:pt x="1354" y="1667"/>
                    <a:pt x="1354" y="1667"/>
                  </a:cubicBezTo>
                  <a:cubicBezTo>
                    <a:pt x="1250" y="1771"/>
                    <a:pt x="1250" y="1771"/>
                    <a:pt x="1250" y="1771"/>
                  </a:cubicBezTo>
                  <a:cubicBezTo>
                    <a:pt x="1238" y="1783"/>
                    <a:pt x="1238" y="1806"/>
                    <a:pt x="1250" y="1817"/>
                  </a:cubicBezTo>
                  <a:close/>
                  <a:moveTo>
                    <a:pt x="1227" y="2233"/>
                  </a:moveTo>
                  <a:cubicBezTo>
                    <a:pt x="1366" y="2384"/>
                    <a:pt x="1366" y="2384"/>
                    <a:pt x="1366" y="2384"/>
                  </a:cubicBezTo>
                  <a:cubicBezTo>
                    <a:pt x="1435" y="2314"/>
                    <a:pt x="1435" y="2314"/>
                    <a:pt x="1435" y="2314"/>
                  </a:cubicBezTo>
                  <a:cubicBezTo>
                    <a:pt x="1609" y="2142"/>
                    <a:pt x="1609" y="2142"/>
                    <a:pt x="1609" y="2142"/>
                  </a:cubicBezTo>
                  <a:cubicBezTo>
                    <a:pt x="1621" y="2130"/>
                    <a:pt x="1621" y="2107"/>
                    <a:pt x="1609" y="2095"/>
                  </a:cubicBezTo>
                  <a:cubicBezTo>
                    <a:pt x="1586" y="2072"/>
                    <a:pt x="1586" y="2072"/>
                    <a:pt x="1586" y="2072"/>
                  </a:cubicBezTo>
                  <a:cubicBezTo>
                    <a:pt x="1574" y="2061"/>
                    <a:pt x="1562" y="2061"/>
                    <a:pt x="1551" y="2072"/>
                  </a:cubicBezTo>
                  <a:cubicBezTo>
                    <a:pt x="1366" y="2245"/>
                    <a:pt x="1366" y="2245"/>
                    <a:pt x="1366" y="2245"/>
                  </a:cubicBezTo>
                  <a:cubicBezTo>
                    <a:pt x="1296" y="2176"/>
                    <a:pt x="1296" y="2176"/>
                    <a:pt x="1296" y="2176"/>
                  </a:cubicBezTo>
                  <a:cubicBezTo>
                    <a:pt x="1285" y="2165"/>
                    <a:pt x="1262" y="2165"/>
                    <a:pt x="1250" y="2176"/>
                  </a:cubicBezTo>
                  <a:cubicBezTo>
                    <a:pt x="1227" y="2200"/>
                    <a:pt x="1227" y="2200"/>
                    <a:pt x="1227" y="2200"/>
                  </a:cubicBezTo>
                  <a:cubicBezTo>
                    <a:pt x="1215" y="2211"/>
                    <a:pt x="1215" y="2223"/>
                    <a:pt x="1227" y="2233"/>
                  </a:cubicBezTo>
                  <a:close/>
                  <a:moveTo>
                    <a:pt x="1609" y="984"/>
                  </a:moveTo>
                  <a:cubicBezTo>
                    <a:pt x="1586" y="961"/>
                    <a:pt x="1586" y="961"/>
                    <a:pt x="1586" y="961"/>
                  </a:cubicBezTo>
                  <a:cubicBezTo>
                    <a:pt x="1574" y="949"/>
                    <a:pt x="1562" y="949"/>
                    <a:pt x="1551" y="961"/>
                  </a:cubicBezTo>
                  <a:cubicBezTo>
                    <a:pt x="1366" y="1135"/>
                    <a:pt x="1366" y="1135"/>
                    <a:pt x="1366" y="1135"/>
                  </a:cubicBezTo>
                  <a:cubicBezTo>
                    <a:pt x="1296" y="1065"/>
                    <a:pt x="1296" y="1065"/>
                    <a:pt x="1296" y="1065"/>
                  </a:cubicBezTo>
                  <a:cubicBezTo>
                    <a:pt x="1285" y="1054"/>
                    <a:pt x="1262" y="1054"/>
                    <a:pt x="1250" y="1065"/>
                  </a:cubicBezTo>
                  <a:cubicBezTo>
                    <a:pt x="1227" y="1088"/>
                    <a:pt x="1227" y="1088"/>
                    <a:pt x="1227" y="1088"/>
                  </a:cubicBezTo>
                  <a:cubicBezTo>
                    <a:pt x="1215" y="1100"/>
                    <a:pt x="1215" y="1111"/>
                    <a:pt x="1227" y="1123"/>
                  </a:cubicBezTo>
                  <a:cubicBezTo>
                    <a:pt x="1366" y="1274"/>
                    <a:pt x="1366" y="1274"/>
                    <a:pt x="1366" y="1274"/>
                  </a:cubicBezTo>
                  <a:cubicBezTo>
                    <a:pt x="1435" y="1204"/>
                    <a:pt x="1435" y="1204"/>
                    <a:pt x="1435" y="1204"/>
                  </a:cubicBezTo>
                  <a:cubicBezTo>
                    <a:pt x="1609" y="1030"/>
                    <a:pt x="1609" y="1030"/>
                    <a:pt x="1609" y="1030"/>
                  </a:cubicBezTo>
                  <a:cubicBezTo>
                    <a:pt x="1621" y="1019"/>
                    <a:pt x="1621" y="996"/>
                    <a:pt x="1609" y="984"/>
                  </a:cubicBezTo>
                  <a:close/>
                </a:path>
              </a:pathLst>
            </a:custGeom>
            <a:solidFill>
              <a:schemeClr val="bg2"/>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grpSp>
      <p:grpSp>
        <p:nvGrpSpPr>
          <p:cNvPr id="84" name="Group 83">
            <a:extLst>
              <a:ext uri="{FF2B5EF4-FFF2-40B4-BE49-F238E27FC236}">
                <a16:creationId xmlns:a16="http://schemas.microsoft.com/office/drawing/2014/main" id="{36175790-A178-C64F-BEFB-7EC73F00147D}"/>
              </a:ext>
            </a:extLst>
          </p:cNvPr>
          <p:cNvGrpSpPr/>
          <p:nvPr/>
        </p:nvGrpSpPr>
        <p:grpSpPr>
          <a:xfrm>
            <a:off x="9722210" y="2831524"/>
            <a:ext cx="619257" cy="619256"/>
            <a:chOff x="568863" y="4045314"/>
            <a:chExt cx="715068" cy="715067"/>
          </a:xfrm>
        </p:grpSpPr>
        <p:sp>
          <p:nvSpPr>
            <p:cNvPr id="85" name="Oval 84">
              <a:extLst>
                <a:ext uri="{FF2B5EF4-FFF2-40B4-BE49-F238E27FC236}">
                  <a16:creationId xmlns:a16="http://schemas.microsoft.com/office/drawing/2014/main" id="{9A9863D9-7FF0-5449-A66C-12C9BAA8D017}"/>
                </a:ext>
              </a:extLst>
            </p:cNvPr>
            <p:cNvSpPr/>
            <p:nvPr/>
          </p:nvSpPr>
          <p:spPr bwMode="gray">
            <a:xfrm>
              <a:off x="568863" y="4045314"/>
              <a:ext cx="715068" cy="715067"/>
            </a:xfrm>
            <a:prstGeom prst="ellipse">
              <a:avLst/>
            </a:prstGeom>
            <a:solidFill>
              <a:schemeClr val="accent4"/>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sp>
          <p:nvSpPr>
            <p:cNvPr id="86" name="Freeform 85">
              <a:extLst>
                <a:ext uri="{FF2B5EF4-FFF2-40B4-BE49-F238E27FC236}">
                  <a16:creationId xmlns:a16="http://schemas.microsoft.com/office/drawing/2014/main" id="{045A5B5D-D904-D045-9347-B48979F0E0D6}"/>
                </a:ext>
              </a:extLst>
            </p:cNvPr>
            <p:cNvSpPr>
              <a:spLocks noChangeAspect="1" noChangeArrowheads="1"/>
            </p:cNvSpPr>
            <p:nvPr/>
          </p:nvSpPr>
          <p:spPr bwMode="auto">
            <a:xfrm>
              <a:off x="667180" y="4227617"/>
              <a:ext cx="515721" cy="346993"/>
            </a:xfrm>
            <a:custGeom>
              <a:avLst/>
              <a:gdLst>
                <a:gd name="T0" fmla="*/ 2198 w 3102"/>
                <a:gd name="T1" fmla="*/ 150 h 2085"/>
                <a:gd name="T2" fmla="*/ 2326 w 3102"/>
                <a:gd name="T3" fmla="*/ 150 h 2085"/>
                <a:gd name="T4" fmla="*/ 2302 w 3102"/>
                <a:gd name="T5" fmla="*/ 116 h 2085"/>
                <a:gd name="T6" fmla="*/ 1862 w 3102"/>
                <a:gd name="T7" fmla="*/ 243 h 2085"/>
                <a:gd name="T8" fmla="*/ 1862 w 3102"/>
                <a:gd name="T9" fmla="*/ 278 h 2085"/>
                <a:gd name="T10" fmla="*/ 2083 w 3102"/>
                <a:gd name="T11" fmla="*/ 162 h 2085"/>
                <a:gd name="T12" fmla="*/ 1237 w 3102"/>
                <a:gd name="T13" fmla="*/ 301 h 2085"/>
                <a:gd name="T14" fmla="*/ 1237 w 3102"/>
                <a:gd name="T15" fmla="*/ 243 h 2085"/>
                <a:gd name="T16" fmla="*/ 798 w 3102"/>
                <a:gd name="T17" fmla="*/ 116 h 2085"/>
                <a:gd name="T18" fmla="*/ 775 w 3102"/>
                <a:gd name="T19" fmla="*/ 150 h 2085"/>
                <a:gd name="T20" fmla="*/ 901 w 3102"/>
                <a:gd name="T21" fmla="*/ 150 h 2085"/>
                <a:gd name="T22" fmla="*/ 856 w 3102"/>
                <a:gd name="T23" fmla="*/ 787 h 2085"/>
                <a:gd name="T24" fmla="*/ 532 w 3102"/>
                <a:gd name="T25" fmla="*/ 1991 h 2085"/>
                <a:gd name="T26" fmla="*/ 856 w 3102"/>
                <a:gd name="T27" fmla="*/ 787 h 2085"/>
                <a:gd name="T28" fmla="*/ 231 w 3102"/>
                <a:gd name="T29" fmla="*/ 1389 h 2085"/>
                <a:gd name="T30" fmla="*/ 1156 w 3102"/>
                <a:gd name="T31" fmla="*/ 1389 h 2085"/>
                <a:gd name="T32" fmla="*/ 3009 w 3102"/>
                <a:gd name="T33" fmla="*/ 1227 h 2085"/>
                <a:gd name="T34" fmla="*/ 1805 w 3102"/>
                <a:gd name="T35" fmla="*/ 1552 h 2085"/>
                <a:gd name="T36" fmla="*/ 3009 w 3102"/>
                <a:gd name="T37" fmla="*/ 1227 h 2085"/>
                <a:gd name="T38" fmla="*/ 1944 w 3102"/>
                <a:gd name="T39" fmla="*/ 1389 h 2085"/>
                <a:gd name="T40" fmla="*/ 2870 w 3102"/>
                <a:gd name="T41" fmla="*/ 1389 h 2085"/>
                <a:gd name="T42" fmla="*/ 2233 w 3102"/>
                <a:gd name="T43" fmla="*/ 741 h 2085"/>
                <a:gd name="T44" fmla="*/ 2823 w 3102"/>
                <a:gd name="T45" fmla="*/ 868 h 2085"/>
                <a:gd name="T46" fmla="*/ 2557 w 3102"/>
                <a:gd name="T47" fmla="*/ 394 h 2085"/>
                <a:gd name="T48" fmla="*/ 2094 w 3102"/>
                <a:gd name="T49" fmla="*/ 209 h 2085"/>
                <a:gd name="T50" fmla="*/ 1781 w 3102"/>
                <a:gd name="T51" fmla="*/ 602 h 2085"/>
                <a:gd name="T52" fmla="*/ 1781 w 3102"/>
                <a:gd name="T53" fmla="*/ 672 h 2085"/>
                <a:gd name="T54" fmla="*/ 1689 w 3102"/>
                <a:gd name="T55" fmla="*/ 718 h 2085"/>
                <a:gd name="T56" fmla="*/ 1411 w 3102"/>
                <a:gd name="T57" fmla="*/ 718 h 2085"/>
                <a:gd name="T58" fmla="*/ 1318 w 3102"/>
                <a:gd name="T59" fmla="*/ 672 h 2085"/>
                <a:gd name="T60" fmla="*/ 1318 w 3102"/>
                <a:gd name="T61" fmla="*/ 602 h 2085"/>
                <a:gd name="T62" fmla="*/ 1006 w 3102"/>
                <a:gd name="T63" fmla="*/ 209 h 2085"/>
                <a:gd name="T64" fmla="*/ 544 w 3102"/>
                <a:gd name="T65" fmla="*/ 394 h 2085"/>
                <a:gd name="T66" fmla="*/ 278 w 3102"/>
                <a:gd name="T67" fmla="*/ 868 h 2085"/>
                <a:gd name="T68" fmla="*/ 868 w 3102"/>
                <a:gd name="T69" fmla="*/ 741 h 2085"/>
                <a:gd name="T70" fmla="*/ 1330 w 3102"/>
                <a:gd name="T71" fmla="*/ 1169 h 2085"/>
                <a:gd name="T72" fmla="*/ 1550 w 3102"/>
                <a:gd name="T73" fmla="*/ 1135 h 2085"/>
                <a:gd name="T74" fmla="*/ 1770 w 3102"/>
                <a:gd name="T75" fmla="*/ 1169 h 2085"/>
                <a:gd name="T76" fmla="*/ 2233 w 3102"/>
                <a:gd name="T77" fmla="*/ 741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2" h="2085">
                  <a:moveTo>
                    <a:pt x="2083" y="162"/>
                  </a:moveTo>
                  <a:cubicBezTo>
                    <a:pt x="2117" y="150"/>
                    <a:pt x="2163" y="150"/>
                    <a:pt x="2198" y="150"/>
                  </a:cubicBezTo>
                  <a:cubicBezTo>
                    <a:pt x="2244" y="150"/>
                    <a:pt x="2291" y="150"/>
                    <a:pt x="2326" y="162"/>
                  </a:cubicBezTo>
                  <a:cubicBezTo>
                    <a:pt x="2326" y="150"/>
                    <a:pt x="2326" y="150"/>
                    <a:pt x="2326" y="150"/>
                  </a:cubicBezTo>
                  <a:cubicBezTo>
                    <a:pt x="2314" y="139"/>
                    <a:pt x="2314" y="139"/>
                    <a:pt x="2314" y="139"/>
                  </a:cubicBezTo>
                  <a:cubicBezTo>
                    <a:pt x="2314" y="139"/>
                    <a:pt x="2302" y="127"/>
                    <a:pt x="2302" y="116"/>
                  </a:cubicBezTo>
                  <a:cubicBezTo>
                    <a:pt x="2244" y="46"/>
                    <a:pt x="2140" y="0"/>
                    <a:pt x="2036" y="35"/>
                  </a:cubicBezTo>
                  <a:cubicBezTo>
                    <a:pt x="1944" y="58"/>
                    <a:pt x="1874" y="139"/>
                    <a:pt x="1862" y="243"/>
                  </a:cubicBezTo>
                  <a:cubicBezTo>
                    <a:pt x="1862" y="243"/>
                    <a:pt x="1862" y="255"/>
                    <a:pt x="1862" y="266"/>
                  </a:cubicBezTo>
                  <a:cubicBezTo>
                    <a:pt x="1862" y="278"/>
                    <a:pt x="1862" y="278"/>
                    <a:pt x="1862" y="278"/>
                  </a:cubicBezTo>
                  <a:cubicBezTo>
                    <a:pt x="1862" y="301"/>
                    <a:pt x="1862" y="301"/>
                    <a:pt x="1862" y="301"/>
                  </a:cubicBezTo>
                  <a:cubicBezTo>
                    <a:pt x="1920" y="232"/>
                    <a:pt x="1990" y="185"/>
                    <a:pt x="2083" y="162"/>
                  </a:cubicBezTo>
                  <a:close/>
                  <a:moveTo>
                    <a:pt x="1017" y="162"/>
                  </a:moveTo>
                  <a:cubicBezTo>
                    <a:pt x="1110" y="185"/>
                    <a:pt x="1179" y="232"/>
                    <a:pt x="1237" y="301"/>
                  </a:cubicBezTo>
                  <a:cubicBezTo>
                    <a:pt x="1237" y="266"/>
                    <a:pt x="1237" y="266"/>
                    <a:pt x="1237" y="266"/>
                  </a:cubicBezTo>
                  <a:cubicBezTo>
                    <a:pt x="1237" y="255"/>
                    <a:pt x="1237" y="243"/>
                    <a:pt x="1237" y="243"/>
                  </a:cubicBezTo>
                  <a:cubicBezTo>
                    <a:pt x="1226" y="139"/>
                    <a:pt x="1156" y="58"/>
                    <a:pt x="1064" y="35"/>
                  </a:cubicBezTo>
                  <a:cubicBezTo>
                    <a:pt x="959" y="0"/>
                    <a:pt x="856" y="46"/>
                    <a:pt x="798" y="116"/>
                  </a:cubicBezTo>
                  <a:cubicBezTo>
                    <a:pt x="798" y="127"/>
                    <a:pt x="787" y="127"/>
                    <a:pt x="787" y="139"/>
                  </a:cubicBezTo>
                  <a:cubicBezTo>
                    <a:pt x="775" y="150"/>
                    <a:pt x="775" y="150"/>
                    <a:pt x="775" y="150"/>
                  </a:cubicBezTo>
                  <a:cubicBezTo>
                    <a:pt x="775" y="162"/>
                    <a:pt x="775" y="162"/>
                    <a:pt x="775" y="162"/>
                  </a:cubicBezTo>
                  <a:cubicBezTo>
                    <a:pt x="810" y="150"/>
                    <a:pt x="856" y="150"/>
                    <a:pt x="901" y="150"/>
                  </a:cubicBezTo>
                  <a:cubicBezTo>
                    <a:pt x="936" y="150"/>
                    <a:pt x="983" y="150"/>
                    <a:pt x="1017" y="162"/>
                  </a:cubicBezTo>
                  <a:close/>
                  <a:moveTo>
                    <a:pt x="856" y="787"/>
                  </a:moveTo>
                  <a:cubicBezTo>
                    <a:pt x="521" y="695"/>
                    <a:pt x="185" y="891"/>
                    <a:pt x="92" y="1227"/>
                  </a:cubicBezTo>
                  <a:cubicBezTo>
                    <a:pt x="0" y="1563"/>
                    <a:pt x="196" y="1899"/>
                    <a:pt x="532" y="1991"/>
                  </a:cubicBezTo>
                  <a:cubicBezTo>
                    <a:pt x="868" y="2084"/>
                    <a:pt x="1203" y="1887"/>
                    <a:pt x="1295" y="1552"/>
                  </a:cubicBezTo>
                  <a:cubicBezTo>
                    <a:pt x="1388" y="1216"/>
                    <a:pt x="1191" y="880"/>
                    <a:pt x="856" y="787"/>
                  </a:cubicBezTo>
                  <a:close/>
                  <a:moveTo>
                    <a:pt x="694" y="1852"/>
                  </a:moveTo>
                  <a:cubicBezTo>
                    <a:pt x="439" y="1852"/>
                    <a:pt x="231" y="1644"/>
                    <a:pt x="231" y="1389"/>
                  </a:cubicBezTo>
                  <a:cubicBezTo>
                    <a:pt x="231" y="1135"/>
                    <a:pt x="439" y="926"/>
                    <a:pt x="694" y="926"/>
                  </a:cubicBezTo>
                  <a:cubicBezTo>
                    <a:pt x="948" y="926"/>
                    <a:pt x="1156" y="1135"/>
                    <a:pt x="1156" y="1389"/>
                  </a:cubicBezTo>
                  <a:cubicBezTo>
                    <a:pt x="1156" y="1644"/>
                    <a:pt x="948" y="1852"/>
                    <a:pt x="694" y="1852"/>
                  </a:cubicBezTo>
                  <a:close/>
                  <a:moveTo>
                    <a:pt x="3009" y="1227"/>
                  </a:moveTo>
                  <a:cubicBezTo>
                    <a:pt x="2916" y="891"/>
                    <a:pt x="2580" y="695"/>
                    <a:pt x="2244" y="787"/>
                  </a:cubicBezTo>
                  <a:cubicBezTo>
                    <a:pt x="1909" y="880"/>
                    <a:pt x="1712" y="1216"/>
                    <a:pt x="1805" y="1552"/>
                  </a:cubicBezTo>
                  <a:cubicBezTo>
                    <a:pt x="1897" y="1887"/>
                    <a:pt x="2233" y="2084"/>
                    <a:pt x="2569" y="1991"/>
                  </a:cubicBezTo>
                  <a:cubicBezTo>
                    <a:pt x="2904" y="1899"/>
                    <a:pt x="3101" y="1563"/>
                    <a:pt x="3009" y="1227"/>
                  </a:cubicBezTo>
                  <a:close/>
                  <a:moveTo>
                    <a:pt x="2407" y="1852"/>
                  </a:moveTo>
                  <a:cubicBezTo>
                    <a:pt x="2152" y="1852"/>
                    <a:pt x="1944" y="1644"/>
                    <a:pt x="1944" y="1389"/>
                  </a:cubicBezTo>
                  <a:cubicBezTo>
                    <a:pt x="1944" y="1135"/>
                    <a:pt x="2152" y="926"/>
                    <a:pt x="2407" y="926"/>
                  </a:cubicBezTo>
                  <a:cubicBezTo>
                    <a:pt x="2661" y="926"/>
                    <a:pt x="2870" y="1135"/>
                    <a:pt x="2870" y="1389"/>
                  </a:cubicBezTo>
                  <a:cubicBezTo>
                    <a:pt x="2870" y="1644"/>
                    <a:pt x="2661" y="1852"/>
                    <a:pt x="2407" y="1852"/>
                  </a:cubicBezTo>
                  <a:close/>
                  <a:moveTo>
                    <a:pt x="2233" y="741"/>
                  </a:moveTo>
                  <a:cubicBezTo>
                    <a:pt x="2291" y="729"/>
                    <a:pt x="2349" y="718"/>
                    <a:pt x="2407" y="718"/>
                  </a:cubicBezTo>
                  <a:cubicBezTo>
                    <a:pt x="2569" y="718"/>
                    <a:pt x="2708" y="776"/>
                    <a:pt x="2823" y="868"/>
                  </a:cubicBezTo>
                  <a:cubicBezTo>
                    <a:pt x="2569" y="417"/>
                    <a:pt x="2569" y="417"/>
                    <a:pt x="2569" y="417"/>
                  </a:cubicBezTo>
                  <a:cubicBezTo>
                    <a:pt x="2557" y="394"/>
                    <a:pt x="2557" y="394"/>
                    <a:pt x="2557" y="394"/>
                  </a:cubicBezTo>
                  <a:cubicBezTo>
                    <a:pt x="2546" y="382"/>
                    <a:pt x="2534" y="370"/>
                    <a:pt x="2534" y="359"/>
                  </a:cubicBezTo>
                  <a:cubicBezTo>
                    <a:pt x="2430" y="232"/>
                    <a:pt x="2256" y="162"/>
                    <a:pt x="2094" y="209"/>
                  </a:cubicBezTo>
                  <a:cubicBezTo>
                    <a:pt x="1920" y="255"/>
                    <a:pt x="1805" y="394"/>
                    <a:pt x="1781" y="556"/>
                  </a:cubicBezTo>
                  <a:cubicBezTo>
                    <a:pt x="1781" y="567"/>
                    <a:pt x="1781" y="579"/>
                    <a:pt x="1781" y="602"/>
                  </a:cubicBezTo>
                  <a:cubicBezTo>
                    <a:pt x="1781" y="625"/>
                    <a:pt x="1781" y="625"/>
                    <a:pt x="1781" y="625"/>
                  </a:cubicBezTo>
                  <a:cubicBezTo>
                    <a:pt x="1781" y="672"/>
                    <a:pt x="1781" y="672"/>
                    <a:pt x="1781" y="672"/>
                  </a:cubicBezTo>
                  <a:cubicBezTo>
                    <a:pt x="1781" y="695"/>
                    <a:pt x="1758" y="718"/>
                    <a:pt x="1735" y="718"/>
                  </a:cubicBezTo>
                  <a:cubicBezTo>
                    <a:pt x="1689" y="718"/>
                    <a:pt x="1689" y="718"/>
                    <a:pt x="1689" y="718"/>
                  </a:cubicBezTo>
                  <a:cubicBezTo>
                    <a:pt x="1654" y="683"/>
                    <a:pt x="1608" y="672"/>
                    <a:pt x="1550" y="672"/>
                  </a:cubicBezTo>
                  <a:cubicBezTo>
                    <a:pt x="1492" y="672"/>
                    <a:pt x="1446" y="683"/>
                    <a:pt x="1411" y="718"/>
                  </a:cubicBezTo>
                  <a:cubicBezTo>
                    <a:pt x="1365" y="718"/>
                    <a:pt x="1365" y="718"/>
                    <a:pt x="1365" y="718"/>
                  </a:cubicBezTo>
                  <a:cubicBezTo>
                    <a:pt x="1342" y="718"/>
                    <a:pt x="1318" y="695"/>
                    <a:pt x="1318" y="672"/>
                  </a:cubicBezTo>
                  <a:cubicBezTo>
                    <a:pt x="1318" y="625"/>
                    <a:pt x="1318" y="625"/>
                    <a:pt x="1318" y="625"/>
                  </a:cubicBezTo>
                  <a:cubicBezTo>
                    <a:pt x="1318" y="602"/>
                    <a:pt x="1318" y="602"/>
                    <a:pt x="1318" y="602"/>
                  </a:cubicBezTo>
                  <a:cubicBezTo>
                    <a:pt x="1318" y="591"/>
                    <a:pt x="1318" y="567"/>
                    <a:pt x="1318" y="556"/>
                  </a:cubicBezTo>
                  <a:cubicBezTo>
                    <a:pt x="1295" y="394"/>
                    <a:pt x="1179" y="255"/>
                    <a:pt x="1006" y="209"/>
                  </a:cubicBezTo>
                  <a:cubicBezTo>
                    <a:pt x="845" y="162"/>
                    <a:pt x="671" y="232"/>
                    <a:pt x="567" y="359"/>
                  </a:cubicBezTo>
                  <a:cubicBezTo>
                    <a:pt x="567" y="370"/>
                    <a:pt x="555" y="382"/>
                    <a:pt x="544" y="394"/>
                  </a:cubicBezTo>
                  <a:cubicBezTo>
                    <a:pt x="532" y="417"/>
                    <a:pt x="532" y="417"/>
                    <a:pt x="532" y="417"/>
                  </a:cubicBezTo>
                  <a:cubicBezTo>
                    <a:pt x="278" y="868"/>
                    <a:pt x="278" y="868"/>
                    <a:pt x="278" y="868"/>
                  </a:cubicBezTo>
                  <a:cubicBezTo>
                    <a:pt x="393" y="776"/>
                    <a:pt x="544" y="718"/>
                    <a:pt x="694" y="718"/>
                  </a:cubicBezTo>
                  <a:cubicBezTo>
                    <a:pt x="752" y="718"/>
                    <a:pt x="810" y="729"/>
                    <a:pt x="868" y="741"/>
                  </a:cubicBezTo>
                  <a:cubicBezTo>
                    <a:pt x="1040" y="787"/>
                    <a:pt x="1179" y="903"/>
                    <a:pt x="1272" y="1054"/>
                  </a:cubicBezTo>
                  <a:cubicBezTo>
                    <a:pt x="1295" y="1088"/>
                    <a:pt x="1318" y="1123"/>
                    <a:pt x="1330" y="1169"/>
                  </a:cubicBezTo>
                  <a:cubicBezTo>
                    <a:pt x="1342" y="1123"/>
                    <a:pt x="1353" y="1088"/>
                    <a:pt x="1388" y="1065"/>
                  </a:cubicBezTo>
                  <a:cubicBezTo>
                    <a:pt x="1422" y="1111"/>
                    <a:pt x="1481" y="1135"/>
                    <a:pt x="1550" y="1135"/>
                  </a:cubicBezTo>
                  <a:cubicBezTo>
                    <a:pt x="1619" y="1135"/>
                    <a:pt x="1677" y="1111"/>
                    <a:pt x="1712" y="1065"/>
                  </a:cubicBezTo>
                  <a:cubicBezTo>
                    <a:pt x="1747" y="1088"/>
                    <a:pt x="1758" y="1123"/>
                    <a:pt x="1770" y="1169"/>
                  </a:cubicBezTo>
                  <a:cubicBezTo>
                    <a:pt x="1781" y="1123"/>
                    <a:pt x="1805" y="1088"/>
                    <a:pt x="1828" y="1054"/>
                  </a:cubicBezTo>
                  <a:cubicBezTo>
                    <a:pt x="1920" y="903"/>
                    <a:pt x="2059" y="787"/>
                    <a:pt x="2233" y="741"/>
                  </a:cubicBezTo>
                  <a:close/>
                </a:path>
              </a:pathLst>
            </a:custGeom>
            <a:solidFill>
              <a:schemeClr val="bg2"/>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grpSp>
      <p:grpSp>
        <p:nvGrpSpPr>
          <p:cNvPr id="87" name="Group 86"/>
          <p:cNvGrpSpPr/>
          <p:nvPr/>
        </p:nvGrpSpPr>
        <p:grpSpPr>
          <a:xfrm>
            <a:off x="10529580" y="2831705"/>
            <a:ext cx="619257" cy="619256"/>
            <a:chOff x="630510" y="5078471"/>
            <a:chExt cx="715068" cy="715067"/>
          </a:xfrm>
        </p:grpSpPr>
        <p:sp>
          <p:nvSpPr>
            <p:cNvPr id="88" name="Oval 87">
              <a:extLst>
                <a:ext uri="{FF2B5EF4-FFF2-40B4-BE49-F238E27FC236}">
                  <a16:creationId xmlns:a16="http://schemas.microsoft.com/office/drawing/2014/main" id="{F5EFA154-BA8E-4345-BE0A-65BBC96E4689}"/>
                </a:ext>
              </a:extLst>
            </p:cNvPr>
            <p:cNvSpPr/>
            <p:nvPr/>
          </p:nvSpPr>
          <p:spPr bwMode="gray">
            <a:xfrm>
              <a:off x="630510" y="5078471"/>
              <a:ext cx="715068" cy="715067"/>
            </a:xfrm>
            <a:prstGeom prst="ellipse">
              <a:avLst/>
            </a:prstGeom>
            <a:solidFill>
              <a:schemeClr val="accent4"/>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sp>
          <p:nvSpPr>
            <p:cNvPr id="89" name="Freeform 228">
              <a:extLst>
                <a:ext uri="{FF2B5EF4-FFF2-40B4-BE49-F238E27FC236}">
                  <a16:creationId xmlns:a16="http://schemas.microsoft.com/office/drawing/2014/main" id="{495900DF-FD03-024E-9714-AF214A122205}"/>
                </a:ext>
              </a:extLst>
            </p:cNvPr>
            <p:cNvSpPr>
              <a:spLocks noChangeArrowheads="1"/>
            </p:cNvSpPr>
            <p:nvPr/>
          </p:nvSpPr>
          <p:spPr bwMode="auto">
            <a:xfrm>
              <a:off x="671125" y="5322341"/>
              <a:ext cx="629611" cy="237084"/>
            </a:xfrm>
            <a:custGeom>
              <a:avLst/>
              <a:gdLst>
                <a:gd name="T0" fmla="*/ 5593 w 5625"/>
                <a:gd name="T1" fmla="*/ 500 h 2095"/>
                <a:gd name="T2" fmla="*/ 5499 w 5625"/>
                <a:gd name="T3" fmla="*/ 469 h 2095"/>
                <a:gd name="T4" fmla="*/ 4218 w 5625"/>
                <a:gd name="T5" fmla="*/ 0 h 2095"/>
                <a:gd name="T6" fmla="*/ 3157 w 5625"/>
                <a:gd name="T7" fmla="*/ 375 h 2095"/>
                <a:gd name="T8" fmla="*/ 2469 w 5625"/>
                <a:gd name="T9" fmla="*/ 375 h 2095"/>
                <a:gd name="T10" fmla="*/ 1375 w 5625"/>
                <a:gd name="T11" fmla="*/ 0 h 2095"/>
                <a:gd name="T12" fmla="*/ 125 w 5625"/>
                <a:gd name="T13" fmla="*/ 469 h 2095"/>
                <a:gd name="T14" fmla="*/ 31 w 5625"/>
                <a:gd name="T15" fmla="*/ 500 h 2095"/>
                <a:gd name="T16" fmla="*/ 31 w 5625"/>
                <a:gd name="T17" fmla="*/ 656 h 2095"/>
                <a:gd name="T18" fmla="*/ 313 w 5625"/>
                <a:gd name="T19" fmla="*/ 1344 h 2095"/>
                <a:gd name="T20" fmla="*/ 1094 w 5625"/>
                <a:gd name="T21" fmla="*/ 2063 h 2095"/>
                <a:gd name="T22" fmla="*/ 2094 w 5625"/>
                <a:gd name="T23" fmla="*/ 1938 h 2095"/>
                <a:gd name="T24" fmla="*/ 2313 w 5625"/>
                <a:gd name="T25" fmla="*/ 1781 h 2095"/>
                <a:gd name="T26" fmla="*/ 3032 w 5625"/>
                <a:gd name="T27" fmla="*/ 1625 h 2095"/>
                <a:gd name="T28" fmla="*/ 3313 w 5625"/>
                <a:gd name="T29" fmla="*/ 1813 h 2095"/>
                <a:gd name="T30" fmla="*/ 4218 w 5625"/>
                <a:gd name="T31" fmla="*/ 2094 h 2095"/>
                <a:gd name="T32" fmla="*/ 4749 w 5625"/>
                <a:gd name="T33" fmla="*/ 1969 h 2095"/>
                <a:gd name="T34" fmla="*/ 5531 w 5625"/>
                <a:gd name="T35" fmla="*/ 875 h 2095"/>
                <a:gd name="T36" fmla="*/ 5593 w 5625"/>
                <a:gd name="T37" fmla="*/ 656 h 2095"/>
                <a:gd name="T38" fmla="*/ 1563 w 5625"/>
                <a:gd name="T39" fmla="*/ 1406 h 2095"/>
                <a:gd name="T40" fmla="*/ 907 w 5625"/>
                <a:gd name="T41" fmla="*/ 1125 h 2095"/>
                <a:gd name="T42" fmla="*/ 719 w 5625"/>
                <a:gd name="T43" fmla="*/ 844 h 2095"/>
                <a:gd name="T44" fmla="*/ 1063 w 5625"/>
                <a:gd name="T45" fmla="*/ 781 h 2095"/>
                <a:gd name="T46" fmla="*/ 1625 w 5625"/>
                <a:gd name="T47" fmla="*/ 656 h 2095"/>
                <a:gd name="T48" fmla="*/ 2313 w 5625"/>
                <a:gd name="T49" fmla="*/ 1219 h 2095"/>
                <a:gd name="T50" fmla="*/ 1563 w 5625"/>
                <a:gd name="T51" fmla="*/ 1406 h 2095"/>
                <a:gd name="T52" fmla="*/ 4062 w 5625"/>
                <a:gd name="T53" fmla="*/ 1406 h 2095"/>
                <a:gd name="T54" fmla="*/ 3313 w 5625"/>
                <a:gd name="T55" fmla="*/ 1219 h 2095"/>
                <a:gd name="T56" fmla="*/ 3999 w 5625"/>
                <a:gd name="T57" fmla="*/ 656 h 2095"/>
                <a:gd name="T58" fmla="*/ 4531 w 5625"/>
                <a:gd name="T59" fmla="*/ 781 h 2095"/>
                <a:gd name="T60" fmla="*/ 4906 w 5625"/>
                <a:gd name="T61" fmla="*/ 844 h 2095"/>
                <a:gd name="T62" fmla="*/ 4718 w 5625"/>
                <a:gd name="T63" fmla="*/ 1125 h 2095"/>
                <a:gd name="connsiteX0" fmla="*/ 10155 w 10155"/>
                <a:gd name="connsiteY0" fmla="*/ 2403 h 10188"/>
                <a:gd name="connsiteX1" fmla="*/ 10155 w 10155"/>
                <a:gd name="connsiteY1" fmla="*/ 2403 h 10188"/>
                <a:gd name="connsiteX2" fmla="*/ 8935 w 10155"/>
                <a:gd name="connsiteY2" fmla="*/ 864 h 10188"/>
                <a:gd name="connsiteX3" fmla="*/ 7690 w 10155"/>
                <a:gd name="connsiteY3" fmla="*/ 15 h 10188"/>
                <a:gd name="connsiteX4" fmla="*/ 6269 w 10155"/>
                <a:gd name="connsiteY4" fmla="*/ 1329 h 10188"/>
                <a:gd name="connsiteX5" fmla="*/ 5295 w 10155"/>
                <a:gd name="connsiteY5" fmla="*/ 2193 h 10188"/>
                <a:gd name="connsiteX6" fmla="*/ 4194 w 10155"/>
                <a:gd name="connsiteY6" fmla="*/ 1472 h 10188"/>
                <a:gd name="connsiteX7" fmla="*/ 2590 w 10155"/>
                <a:gd name="connsiteY7" fmla="*/ 15 h 10188"/>
                <a:gd name="connsiteX8" fmla="*/ 0 w 10155"/>
                <a:gd name="connsiteY8" fmla="*/ 2499 h 10188"/>
                <a:gd name="connsiteX9" fmla="*/ 722 w 10155"/>
                <a:gd name="connsiteY9" fmla="*/ 6433 h 10188"/>
                <a:gd name="connsiteX10" fmla="*/ 2142 w 10155"/>
                <a:gd name="connsiteY10" fmla="*/ 9919 h 10188"/>
                <a:gd name="connsiteX11" fmla="*/ 3665 w 10155"/>
                <a:gd name="connsiteY11" fmla="*/ 9653 h 10188"/>
                <a:gd name="connsiteX12" fmla="*/ 4777 w 10155"/>
                <a:gd name="connsiteY12" fmla="*/ 7776 h 10188"/>
                <a:gd name="connsiteX13" fmla="*/ 5562 w 10155"/>
                <a:gd name="connsiteY13" fmla="*/ 7776 h 10188"/>
                <a:gd name="connsiteX14" fmla="*/ 7332 w 10155"/>
                <a:gd name="connsiteY14" fmla="*/ 9967 h 10188"/>
                <a:gd name="connsiteX15" fmla="*/ 8678 w 10155"/>
                <a:gd name="connsiteY15" fmla="*/ 9419 h 10188"/>
                <a:gd name="connsiteX16" fmla="*/ 9652 w 10155"/>
                <a:gd name="connsiteY16" fmla="*/ 6433 h 10188"/>
                <a:gd name="connsiteX17" fmla="*/ 10155 w 10155"/>
                <a:gd name="connsiteY17" fmla="*/ 2403 h 10188"/>
                <a:gd name="connsiteX18" fmla="*/ 4273 w 10155"/>
                <a:gd name="connsiteY18" fmla="*/ 5599 h 10188"/>
                <a:gd name="connsiteX19" fmla="*/ 2928 w 10155"/>
                <a:gd name="connsiteY19" fmla="*/ 6729 h 10188"/>
                <a:gd name="connsiteX20" fmla="*/ 1751 w 10155"/>
                <a:gd name="connsiteY20" fmla="*/ 5388 h 10188"/>
                <a:gd name="connsiteX21" fmla="*/ 1337 w 10155"/>
                <a:gd name="connsiteY21" fmla="*/ 4064 h 10188"/>
                <a:gd name="connsiteX22" fmla="*/ 2502 w 10155"/>
                <a:gd name="connsiteY22" fmla="*/ 3291 h 10188"/>
                <a:gd name="connsiteX23" fmla="*/ 3215 w 10155"/>
                <a:gd name="connsiteY23" fmla="*/ 3301 h 10188"/>
                <a:gd name="connsiteX24" fmla="*/ 4273 w 10155"/>
                <a:gd name="connsiteY24" fmla="*/ 5599 h 10188"/>
                <a:gd name="connsiteX25" fmla="*/ 8371 w 10155"/>
                <a:gd name="connsiteY25" fmla="*/ 5818 h 10188"/>
                <a:gd name="connsiteX26" fmla="*/ 7409 w 10155"/>
                <a:gd name="connsiteY26" fmla="*/ 6729 h 10188"/>
                <a:gd name="connsiteX27" fmla="*/ 6030 w 10155"/>
                <a:gd name="connsiteY27" fmla="*/ 5646 h 10188"/>
                <a:gd name="connsiteX28" fmla="*/ 6961 w 10155"/>
                <a:gd name="connsiteY28" fmla="*/ 3301 h 10188"/>
                <a:gd name="connsiteX29" fmla="*/ 7826 w 10155"/>
                <a:gd name="connsiteY29" fmla="*/ 3211 h 10188"/>
                <a:gd name="connsiteX30" fmla="*/ 8979 w 10155"/>
                <a:gd name="connsiteY30" fmla="*/ 4046 h 10188"/>
                <a:gd name="connsiteX31" fmla="*/ 8371 w 10155"/>
                <a:gd name="connsiteY31" fmla="*/ 5818 h 10188"/>
                <a:gd name="connsiteX32" fmla="*/ 8371 w 10155"/>
                <a:gd name="connsiteY32" fmla="*/ 5818 h 10188"/>
                <a:gd name="connsiteX33" fmla="*/ 8371 w 10155"/>
                <a:gd name="connsiteY33" fmla="*/ 5818 h 10188"/>
                <a:gd name="connsiteX34" fmla="*/ 8586 w 10155"/>
                <a:gd name="connsiteY34" fmla="*/ 5388 h 10188"/>
                <a:gd name="connsiteX35" fmla="*/ 7409 w 10155"/>
                <a:gd name="connsiteY35" fmla="*/ 6729 h 10188"/>
                <a:gd name="connsiteX36" fmla="*/ 7409 w 10155"/>
                <a:gd name="connsiteY36" fmla="*/ 6729 h 10188"/>
                <a:gd name="connsiteX37" fmla="*/ 7409 w 10155"/>
                <a:gd name="connsiteY37" fmla="*/ 6729 h 10188"/>
                <a:gd name="connsiteX38" fmla="*/ 7409 w 10155"/>
                <a:gd name="connsiteY38" fmla="*/ 6729 h 10188"/>
                <a:gd name="connsiteX39" fmla="*/ 7409 w 10155"/>
                <a:gd name="connsiteY39" fmla="*/ 6729 h 10188"/>
                <a:gd name="connsiteX40" fmla="*/ 7409 w 10155"/>
                <a:gd name="connsiteY40" fmla="*/ 6729 h 10188"/>
                <a:gd name="connsiteX41" fmla="*/ 7409 w 10155"/>
                <a:gd name="connsiteY41" fmla="*/ 6729 h 10188"/>
                <a:gd name="connsiteX42" fmla="*/ 7409 w 10155"/>
                <a:gd name="connsiteY42" fmla="*/ 6729 h 10188"/>
                <a:gd name="connsiteX43" fmla="*/ 7409 w 10155"/>
                <a:gd name="connsiteY43" fmla="*/ 6729 h 10188"/>
                <a:gd name="connsiteX44" fmla="*/ 7409 w 10155"/>
                <a:gd name="connsiteY44" fmla="*/ 6729 h 10082"/>
                <a:gd name="connsiteX45" fmla="*/ 7409 w 10155"/>
                <a:gd name="connsiteY45" fmla="*/ 6729 h 10082"/>
                <a:gd name="connsiteX46" fmla="*/ 7409 w 10155"/>
                <a:gd name="connsiteY46" fmla="*/ 6729 h 10082"/>
                <a:gd name="connsiteX47" fmla="*/ 7409 w 10155"/>
                <a:gd name="connsiteY47" fmla="*/ 6729 h 10082"/>
                <a:gd name="connsiteX48" fmla="*/ 7409 w 10155"/>
                <a:gd name="connsiteY48" fmla="*/ 6729 h 10082"/>
                <a:gd name="connsiteX49" fmla="*/ 7307 w 10053"/>
                <a:gd name="connsiteY49" fmla="*/ 6727 h 10080"/>
                <a:gd name="connsiteX50" fmla="*/ 7254 w 10000"/>
                <a:gd name="connsiteY50" fmla="*/ 6727 h 10080"/>
                <a:gd name="connsiteX51" fmla="*/ 7254 w 10000"/>
                <a:gd name="connsiteY51" fmla="*/ 6727 h 10080"/>
                <a:gd name="connsiteX52" fmla="*/ 7254 w 10000"/>
                <a:gd name="connsiteY52" fmla="*/ 6727 h 10080"/>
                <a:gd name="connsiteX53" fmla="*/ 7254 w 10000"/>
                <a:gd name="connsiteY53" fmla="*/ 6727 h 10080"/>
                <a:gd name="connsiteX54" fmla="*/ 7254 w 10000"/>
                <a:gd name="connsiteY54" fmla="*/ 6714 h 10067"/>
                <a:gd name="connsiteX55" fmla="*/ 7254 w 10000"/>
                <a:gd name="connsiteY55" fmla="*/ 6714 h 10067"/>
                <a:gd name="connsiteX56" fmla="*/ 7254 w 10000"/>
                <a:gd name="connsiteY56" fmla="*/ 6714 h 10054"/>
                <a:gd name="connsiteX57" fmla="*/ 7254 w 10000"/>
                <a:gd name="connsiteY57" fmla="*/ 6714 h 10043"/>
                <a:gd name="connsiteX58" fmla="*/ 7254 w 10000"/>
                <a:gd name="connsiteY58" fmla="*/ 6714 h 10006"/>
                <a:gd name="connsiteX59" fmla="*/ 7254 w 10000"/>
                <a:gd name="connsiteY59" fmla="*/ 6714 h 10000"/>
                <a:gd name="connsiteX60" fmla="*/ 7254 w 10000"/>
                <a:gd name="connsiteY60" fmla="*/ 6714 h 10000"/>
                <a:gd name="connsiteX61" fmla="*/ 7254 w 10000"/>
                <a:gd name="connsiteY61" fmla="*/ 6714 h 10000"/>
                <a:gd name="connsiteX62" fmla="*/ 7254 w 10000"/>
                <a:gd name="connsiteY62" fmla="*/ 6714 h 10000"/>
                <a:gd name="connsiteX63" fmla="*/ 7191 w 9913"/>
                <a:gd name="connsiteY63" fmla="*/ 6711 h 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55" h="10188">
                  <a:moveTo>
                    <a:pt x="10155" y="2403"/>
                  </a:moveTo>
                  <a:lnTo>
                    <a:pt x="10155" y="2403"/>
                  </a:lnTo>
                  <a:cubicBezTo>
                    <a:pt x="9931" y="2155"/>
                    <a:pt x="9418" y="1548"/>
                    <a:pt x="8935" y="864"/>
                  </a:cubicBezTo>
                  <a:cubicBezTo>
                    <a:pt x="8601" y="459"/>
                    <a:pt x="8134" y="-63"/>
                    <a:pt x="7690" y="15"/>
                  </a:cubicBezTo>
                  <a:cubicBezTo>
                    <a:pt x="7246" y="93"/>
                    <a:pt x="6668" y="966"/>
                    <a:pt x="6269" y="1329"/>
                  </a:cubicBezTo>
                  <a:cubicBezTo>
                    <a:pt x="5870" y="1692"/>
                    <a:pt x="5641" y="2169"/>
                    <a:pt x="5295" y="2193"/>
                  </a:cubicBezTo>
                  <a:cubicBezTo>
                    <a:pt x="4949" y="2217"/>
                    <a:pt x="4363" y="1620"/>
                    <a:pt x="4194" y="1472"/>
                  </a:cubicBezTo>
                  <a:cubicBezTo>
                    <a:pt x="3764" y="1149"/>
                    <a:pt x="3289" y="-156"/>
                    <a:pt x="2590" y="15"/>
                  </a:cubicBezTo>
                  <a:cubicBezTo>
                    <a:pt x="1891" y="186"/>
                    <a:pt x="383" y="1803"/>
                    <a:pt x="0" y="2499"/>
                  </a:cubicBezTo>
                  <a:cubicBezTo>
                    <a:pt x="399" y="4571"/>
                    <a:pt x="440" y="5232"/>
                    <a:pt x="722" y="6433"/>
                  </a:cubicBezTo>
                  <a:cubicBezTo>
                    <a:pt x="1047" y="7877"/>
                    <a:pt x="1652" y="9383"/>
                    <a:pt x="2142" y="9919"/>
                  </a:cubicBezTo>
                  <a:cubicBezTo>
                    <a:pt x="2632" y="10455"/>
                    <a:pt x="3272" y="10097"/>
                    <a:pt x="3665" y="9653"/>
                  </a:cubicBezTo>
                  <a:cubicBezTo>
                    <a:pt x="4029" y="9280"/>
                    <a:pt x="4497" y="8025"/>
                    <a:pt x="4777" y="7776"/>
                  </a:cubicBezTo>
                  <a:cubicBezTo>
                    <a:pt x="5001" y="7628"/>
                    <a:pt x="5338" y="7628"/>
                    <a:pt x="5562" y="7776"/>
                  </a:cubicBezTo>
                  <a:cubicBezTo>
                    <a:pt x="7015" y="9675"/>
                    <a:pt x="6813" y="9693"/>
                    <a:pt x="7332" y="9967"/>
                  </a:cubicBezTo>
                  <a:cubicBezTo>
                    <a:pt x="7851" y="10241"/>
                    <a:pt x="8351" y="10016"/>
                    <a:pt x="8678" y="9419"/>
                  </a:cubicBezTo>
                  <a:cubicBezTo>
                    <a:pt x="9093" y="8630"/>
                    <a:pt x="9427" y="7480"/>
                    <a:pt x="9652" y="6433"/>
                  </a:cubicBezTo>
                  <a:cubicBezTo>
                    <a:pt x="9904" y="5264"/>
                    <a:pt x="10071" y="3075"/>
                    <a:pt x="10155" y="2403"/>
                  </a:cubicBezTo>
                  <a:close/>
                  <a:moveTo>
                    <a:pt x="4273" y="5599"/>
                  </a:moveTo>
                  <a:cubicBezTo>
                    <a:pt x="4225" y="6170"/>
                    <a:pt x="3348" y="6804"/>
                    <a:pt x="2928" y="6729"/>
                  </a:cubicBezTo>
                  <a:cubicBezTo>
                    <a:pt x="2590" y="6729"/>
                    <a:pt x="2142" y="6581"/>
                    <a:pt x="1751" y="5388"/>
                  </a:cubicBezTo>
                  <a:cubicBezTo>
                    <a:pt x="1638" y="5092"/>
                    <a:pt x="1448" y="4512"/>
                    <a:pt x="1337" y="4064"/>
                  </a:cubicBezTo>
                  <a:cubicBezTo>
                    <a:pt x="1508" y="3870"/>
                    <a:pt x="2189" y="3418"/>
                    <a:pt x="2502" y="3291"/>
                  </a:cubicBezTo>
                  <a:cubicBezTo>
                    <a:pt x="2815" y="3164"/>
                    <a:pt x="3102" y="3148"/>
                    <a:pt x="3215" y="3301"/>
                  </a:cubicBezTo>
                  <a:cubicBezTo>
                    <a:pt x="3664" y="3745"/>
                    <a:pt x="4104" y="4700"/>
                    <a:pt x="4273" y="5599"/>
                  </a:cubicBezTo>
                  <a:close/>
                  <a:moveTo>
                    <a:pt x="8371" y="5818"/>
                  </a:moveTo>
                  <a:cubicBezTo>
                    <a:pt x="8109" y="6265"/>
                    <a:pt x="7835" y="6686"/>
                    <a:pt x="7409" y="6729"/>
                  </a:cubicBezTo>
                  <a:cubicBezTo>
                    <a:pt x="6983" y="6772"/>
                    <a:pt x="6105" y="6217"/>
                    <a:pt x="6030" y="5646"/>
                  </a:cubicBezTo>
                  <a:cubicBezTo>
                    <a:pt x="6199" y="4747"/>
                    <a:pt x="6514" y="3745"/>
                    <a:pt x="6961" y="3301"/>
                  </a:cubicBezTo>
                  <a:cubicBezTo>
                    <a:pt x="7284" y="2935"/>
                    <a:pt x="7611" y="3137"/>
                    <a:pt x="7826" y="3211"/>
                  </a:cubicBezTo>
                  <a:cubicBezTo>
                    <a:pt x="8162" y="3335"/>
                    <a:pt x="8743" y="3801"/>
                    <a:pt x="8979" y="4046"/>
                  </a:cubicBezTo>
                  <a:cubicBezTo>
                    <a:pt x="8866" y="4494"/>
                    <a:pt x="8484" y="5522"/>
                    <a:pt x="8371" y="5818"/>
                  </a:cubicBezTo>
                  <a:close/>
                </a:path>
              </a:pathLst>
            </a:custGeom>
            <a:solidFill>
              <a:schemeClr val="bg2"/>
            </a:solidFill>
            <a:ln w="19050">
              <a:noFill/>
            </a:ln>
            <a:effec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grpSp>
      <p:sp>
        <p:nvSpPr>
          <p:cNvPr id="90" name="TextBox 89"/>
          <p:cNvSpPr txBox="1"/>
          <p:nvPr/>
        </p:nvSpPr>
        <p:spPr>
          <a:xfrm>
            <a:off x="8011429" y="1971596"/>
            <a:ext cx="2189919" cy="646317"/>
          </a:xfrm>
          <a:prstGeom prst="rect">
            <a:avLst/>
          </a:prstGeom>
          <a:noFill/>
        </p:spPr>
        <p:txBody>
          <a:bodyPr wrap="square" lIns="0" tIns="0" rIns="0" bIns="0" rtlCol="0" anchor="b">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2800" b="1" i="0" u="none" strike="noStrike" kern="1200" cap="none" spc="0" normalizeH="0" baseline="0" noProof="0">
                <a:ln>
                  <a:noFill/>
                </a:ln>
                <a:solidFill>
                  <a:srgbClr val="312D2A"/>
                </a:solidFill>
                <a:effectLst/>
                <a:uLnTx/>
                <a:uFillTx/>
                <a:latin typeface="Oracle Sans"/>
                <a:cs typeface="Arial"/>
              </a:rPr>
              <a:t>Data Safe</a:t>
            </a:r>
          </a:p>
        </p:txBody>
      </p:sp>
      <p:grpSp>
        <p:nvGrpSpPr>
          <p:cNvPr id="91" name="Group 90"/>
          <p:cNvGrpSpPr/>
          <p:nvPr/>
        </p:nvGrpSpPr>
        <p:grpSpPr>
          <a:xfrm>
            <a:off x="7285492" y="2818415"/>
            <a:ext cx="619257" cy="619256"/>
            <a:chOff x="1522829" y="1777129"/>
            <a:chExt cx="715068" cy="715067"/>
          </a:xfrm>
        </p:grpSpPr>
        <p:sp>
          <p:nvSpPr>
            <p:cNvPr id="92" name="Oval 91">
              <a:extLst>
                <a:ext uri="{FF2B5EF4-FFF2-40B4-BE49-F238E27FC236}">
                  <a16:creationId xmlns:a16="http://schemas.microsoft.com/office/drawing/2014/main" id="{A27B8A9A-5F5C-0446-9FB5-31BB92E7142B}"/>
                </a:ext>
              </a:extLst>
            </p:cNvPr>
            <p:cNvSpPr/>
            <p:nvPr/>
          </p:nvSpPr>
          <p:spPr bwMode="gray">
            <a:xfrm>
              <a:off x="1522829" y="1777129"/>
              <a:ext cx="715068" cy="715067"/>
            </a:xfrm>
            <a:prstGeom prst="ellipse">
              <a:avLst/>
            </a:prstGeom>
            <a:solidFill>
              <a:schemeClr val="accent4"/>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grpSp>
          <p:nvGrpSpPr>
            <p:cNvPr id="93" name="Group 92">
              <a:extLst>
                <a:ext uri="{FF2B5EF4-FFF2-40B4-BE49-F238E27FC236}">
                  <a16:creationId xmlns:a16="http://schemas.microsoft.com/office/drawing/2014/main" id="{58752DAD-82DB-9C41-8D54-0D24682B3C86}"/>
                </a:ext>
              </a:extLst>
            </p:cNvPr>
            <p:cNvGrpSpPr/>
            <p:nvPr/>
          </p:nvGrpSpPr>
          <p:grpSpPr>
            <a:xfrm>
              <a:off x="1646894" y="1910328"/>
              <a:ext cx="506067" cy="506687"/>
              <a:chOff x="5550140" y="1681220"/>
              <a:chExt cx="906262" cy="907374"/>
            </a:xfrm>
            <a:solidFill>
              <a:schemeClr val="bg1"/>
            </a:solidFill>
          </p:grpSpPr>
          <p:sp>
            <p:nvSpPr>
              <p:cNvPr id="94" name="Freeform 3">
                <a:extLst>
                  <a:ext uri="{FF2B5EF4-FFF2-40B4-BE49-F238E27FC236}">
                    <a16:creationId xmlns:a16="http://schemas.microsoft.com/office/drawing/2014/main" id="{7B5E8AE4-098D-914F-B902-08D45E00A09D}"/>
                  </a:ext>
                </a:extLst>
              </p:cNvPr>
              <p:cNvSpPr>
                <a:spLocks noChangeAspect="1" noChangeArrowheads="1"/>
              </p:cNvSpPr>
              <p:nvPr/>
            </p:nvSpPr>
            <p:spPr bwMode="auto">
              <a:xfrm>
                <a:off x="5550140" y="1681220"/>
                <a:ext cx="906262" cy="907374"/>
              </a:xfrm>
              <a:custGeom>
                <a:avLst/>
                <a:gdLst>
                  <a:gd name="T0" fmla="*/ 2824 w 2987"/>
                  <a:gd name="T1" fmla="*/ 394 h 2964"/>
                  <a:gd name="T2" fmla="*/ 2893 w 2987"/>
                  <a:gd name="T3" fmla="*/ 255 h 2964"/>
                  <a:gd name="T4" fmla="*/ 2870 w 2987"/>
                  <a:gd name="T5" fmla="*/ 209 h 2964"/>
                  <a:gd name="T6" fmla="*/ 2812 w 2987"/>
                  <a:gd name="T7" fmla="*/ 209 h 2964"/>
                  <a:gd name="T8" fmla="*/ 2708 w 2987"/>
                  <a:gd name="T9" fmla="*/ 347 h 2964"/>
                  <a:gd name="T10" fmla="*/ 2268 w 2987"/>
                  <a:gd name="T11" fmla="*/ 961 h 2964"/>
                  <a:gd name="T12" fmla="*/ 2176 w 2987"/>
                  <a:gd name="T13" fmla="*/ 0 h 2964"/>
                  <a:gd name="T14" fmla="*/ 370 w 2987"/>
                  <a:gd name="T15" fmla="*/ 370 h 2964"/>
                  <a:gd name="T16" fmla="*/ 0 w 2987"/>
                  <a:gd name="T17" fmla="*/ 2338 h 2964"/>
                  <a:gd name="T18" fmla="*/ 1250 w 2987"/>
                  <a:gd name="T19" fmla="*/ 2338 h 2964"/>
                  <a:gd name="T20" fmla="*/ 2176 w 2987"/>
                  <a:gd name="T21" fmla="*/ 2314 h 2964"/>
                  <a:gd name="T22" fmla="*/ 1864 w 2987"/>
                  <a:gd name="T23" fmla="*/ 2038 h 2964"/>
                  <a:gd name="T24" fmla="*/ 1783 w 2987"/>
                  <a:gd name="T25" fmla="*/ 1980 h 2964"/>
                  <a:gd name="T26" fmla="*/ 2291 w 2987"/>
                  <a:gd name="T27" fmla="*/ 1204 h 2964"/>
                  <a:gd name="T28" fmla="*/ 2511 w 2987"/>
                  <a:gd name="T29" fmla="*/ 1100 h 2964"/>
                  <a:gd name="T30" fmla="*/ 2824 w 2987"/>
                  <a:gd name="T31" fmla="*/ 498 h 2964"/>
                  <a:gd name="T32" fmla="*/ 2627 w 2987"/>
                  <a:gd name="T33" fmla="*/ 1088 h 2964"/>
                  <a:gd name="T34" fmla="*/ 2940 w 2987"/>
                  <a:gd name="T35" fmla="*/ 660 h 2964"/>
                  <a:gd name="T36" fmla="*/ 625 w 2987"/>
                  <a:gd name="T37" fmla="*/ 2870 h 2964"/>
                  <a:gd name="T38" fmla="*/ 625 w 2987"/>
                  <a:gd name="T39" fmla="*/ 1806 h 2964"/>
                  <a:gd name="T40" fmla="*/ 625 w 2987"/>
                  <a:gd name="T41" fmla="*/ 2870 h 2964"/>
                  <a:gd name="T42" fmla="*/ 741 w 2987"/>
                  <a:gd name="T43" fmla="*/ 1621 h 2964"/>
                  <a:gd name="T44" fmla="*/ 1574 w 2987"/>
                  <a:gd name="T45" fmla="*/ 1528 h 2964"/>
                  <a:gd name="T46" fmla="*/ 1806 w 2987"/>
                  <a:gd name="T47" fmla="*/ 1297 h 2964"/>
                  <a:gd name="T48" fmla="*/ 741 w 2987"/>
                  <a:gd name="T49" fmla="*/ 1204 h 2964"/>
                  <a:gd name="T50" fmla="*/ 1806 w 2987"/>
                  <a:gd name="T51" fmla="*/ 1297 h 2964"/>
                  <a:gd name="T52" fmla="*/ 741 w 2987"/>
                  <a:gd name="T53" fmla="*/ 972 h 2964"/>
                  <a:gd name="T54" fmla="*/ 1806 w 2987"/>
                  <a:gd name="T55" fmla="*/ 880 h 2964"/>
                  <a:gd name="T56" fmla="*/ 1806 w 2987"/>
                  <a:gd name="T57" fmla="*/ 648 h 2964"/>
                  <a:gd name="T58" fmla="*/ 741 w 2987"/>
                  <a:gd name="T59" fmla="*/ 556 h 2964"/>
                  <a:gd name="T60" fmla="*/ 1806 w 2987"/>
                  <a:gd name="T61" fmla="*/ 648 h 2964"/>
                  <a:gd name="T62" fmla="*/ 811 w 2987"/>
                  <a:gd name="T63" fmla="*/ 2119 h 2964"/>
                  <a:gd name="T64" fmla="*/ 440 w 2987"/>
                  <a:gd name="T65" fmla="*/ 2268 h 2964"/>
                  <a:gd name="T66" fmla="*/ 336 w 2987"/>
                  <a:gd name="T67" fmla="*/ 2291 h 2964"/>
                  <a:gd name="T68" fmla="*/ 556 w 2987"/>
                  <a:gd name="T69" fmla="*/ 2569 h 2964"/>
                  <a:gd name="T70" fmla="*/ 915 w 2987"/>
                  <a:gd name="T71" fmla="*/ 2211 h 2964"/>
                  <a:gd name="T72" fmla="*/ 880 w 2987"/>
                  <a:gd name="T73" fmla="*/ 2119 h 2964"/>
                  <a:gd name="connsiteX0" fmla="*/ 9694 w 10000"/>
                  <a:gd name="connsiteY0" fmla="*/ 1407 h 10000"/>
                  <a:gd name="connsiteX1" fmla="*/ 9539 w 10000"/>
                  <a:gd name="connsiteY1" fmla="*/ 1329 h 10000"/>
                  <a:gd name="connsiteX2" fmla="*/ 9617 w 10000"/>
                  <a:gd name="connsiteY2" fmla="*/ 1211 h 10000"/>
                  <a:gd name="connsiteX3" fmla="*/ 9772 w 10000"/>
                  <a:gd name="connsiteY3" fmla="*/ 860 h 10000"/>
                  <a:gd name="connsiteX4" fmla="*/ 9735 w 10000"/>
                  <a:gd name="connsiteY4" fmla="*/ 705 h 10000"/>
                  <a:gd name="connsiteX5" fmla="*/ 9694 w 10000"/>
                  <a:gd name="connsiteY5" fmla="*/ 705 h 10000"/>
                  <a:gd name="connsiteX6" fmla="*/ 9617 w 10000"/>
                  <a:gd name="connsiteY6" fmla="*/ 665 h 10000"/>
                  <a:gd name="connsiteX7" fmla="*/ 9499 w 10000"/>
                  <a:gd name="connsiteY7" fmla="*/ 705 h 10000"/>
                  <a:gd name="connsiteX8" fmla="*/ 9265 w 10000"/>
                  <a:gd name="connsiteY8" fmla="*/ 975 h 10000"/>
                  <a:gd name="connsiteX9" fmla="*/ 9147 w 10000"/>
                  <a:gd name="connsiteY9" fmla="*/ 1171 h 10000"/>
                  <a:gd name="connsiteX10" fmla="*/ 8914 w 10000"/>
                  <a:gd name="connsiteY10" fmla="*/ 1289 h 10000"/>
                  <a:gd name="connsiteX11" fmla="*/ 7661 w 10000"/>
                  <a:gd name="connsiteY11" fmla="*/ 3243 h 10000"/>
                  <a:gd name="connsiteX12" fmla="*/ 7350 w 10000"/>
                  <a:gd name="connsiteY12" fmla="*/ 3790 h 10000"/>
                  <a:gd name="connsiteX13" fmla="*/ 7350 w 10000"/>
                  <a:gd name="connsiteY13" fmla="*/ 0 h 10000"/>
                  <a:gd name="connsiteX14" fmla="*/ 2503 w 10000"/>
                  <a:gd name="connsiteY14" fmla="*/ 0 h 10000"/>
                  <a:gd name="connsiteX15" fmla="*/ 1250 w 10000"/>
                  <a:gd name="connsiteY15" fmla="*/ 1248 h 10000"/>
                  <a:gd name="connsiteX16" fmla="*/ 1250 w 10000"/>
                  <a:gd name="connsiteY16" fmla="*/ 5977 h 10000"/>
                  <a:gd name="connsiteX17" fmla="*/ 0 w 10000"/>
                  <a:gd name="connsiteY17" fmla="*/ 7890 h 10000"/>
                  <a:gd name="connsiteX18" fmla="*/ 2111 w 10000"/>
                  <a:gd name="connsiteY18" fmla="*/ 10000 h 10000"/>
                  <a:gd name="connsiteX19" fmla="*/ 4223 w 10000"/>
                  <a:gd name="connsiteY19" fmla="*/ 7890 h 10000"/>
                  <a:gd name="connsiteX20" fmla="*/ 4223 w 10000"/>
                  <a:gd name="connsiteY20" fmla="*/ 7809 h 10000"/>
                  <a:gd name="connsiteX21" fmla="*/ 7350 w 10000"/>
                  <a:gd name="connsiteY21" fmla="*/ 7809 h 10000"/>
                  <a:gd name="connsiteX22" fmla="*/ 7350 w 10000"/>
                  <a:gd name="connsiteY22" fmla="*/ 5508 h 10000"/>
                  <a:gd name="connsiteX23" fmla="*/ 6296 w 10000"/>
                  <a:gd name="connsiteY23" fmla="*/ 6878 h 10000"/>
                  <a:gd name="connsiteX24" fmla="*/ 5945 w 10000"/>
                  <a:gd name="connsiteY24" fmla="*/ 7188 h 10000"/>
                  <a:gd name="connsiteX25" fmla="*/ 6023 w 10000"/>
                  <a:gd name="connsiteY25" fmla="*/ 6682 h 10000"/>
                  <a:gd name="connsiteX26" fmla="*/ 7313 w 10000"/>
                  <a:gd name="connsiteY26" fmla="*/ 3830 h 10000"/>
                  <a:gd name="connsiteX27" fmla="*/ 7739 w 10000"/>
                  <a:gd name="connsiteY27" fmla="*/ 4063 h 10000"/>
                  <a:gd name="connsiteX28" fmla="*/ 8130 w 10000"/>
                  <a:gd name="connsiteY28" fmla="*/ 4299 h 10000"/>
                  <a:gd name="connsiteX29" fmla="*/ 8481 w 10000"/>
                  <a:gd name="connsiteY29" fmla="*/ 3712 h 10000"/>
                  <a:gd name="connsiteX30" fmla="*/ 9499 w 10000"/>
                  <a:gd name="connsiteY30" fmla="*/ 1681 h 10000"/>
                  <a:gd name="connsiteX31" fmla="*/ 9539 w 10000"/>
                  <a:gd name="connsiteY31" fmla="*/ 1681 h 10000"/>
                  <a:gd name="connsiteX32" fmla="*/ 9657 w 10000"/>
                  <a:gd name="connsiteY32" fmla="*/ 2110 h 10000"/>
                  <a:gd name="connsiteX33" fmla="*/ 8874 w 10000"/>
                  <a:gd name="connsiteY33" fmla="*/ 3672 h 10000"/>
                  <a:gd name="connsiteX34" fmla="*/ 8992 w 10000"/>
                  <a:gd name="connsiteY34" fmla="*/ 4100 h 10000"/>
                  <a:gd name="connsiteX35" fmla="*/ 9931 w 10000"/>
                  <a:gd name="connsiteY35" fmla="*/ 2228 h 10000"/>
                  <a:gd name="connsiteX36" fmla="*/ 9694 w 10000"/>
                  <a:gd name="connsiteY36" fmla="*/ 1407 h 10000"/>
                  <a:gd name="connsiteX37" fmla="*/ 2111 w 10000"/>
                  <a:gd name="connsiteY37" fmla="*/ 9686 h 10000"/>
                  <a:gd name="connsiteX38" fmla="*/ 314 w 10000"/>
                  <a:gd name="connsiteY38" fmla="*/ 7890 h 10000"/>
                  <a:gd name="connsiteX39" fmla="*/ 2111 w 10000"/>
                  <a:gd name="connsiteY39" fmla="*/ 6095 h 10000"/>
                  <a:gd name="connsiteX40" fmla="*/ 3912 w 10000"/>
                  <a:gd name="connsiteY40" fmla="*/ 7890 h 10000"/>
                  <a:gd name="connsiteX41" fmla="*/ 2111 w 10000"/>
                  <a:gd name="connsiteY41" fmla="*/ 9686 h 10000"/>
                  <a:gd name="connsiteX42" fmla="*/ 5317 w 10000"/>
                  <a:gd name="connsiteY42" fmla="*/ 5471 h 10000"/>
                  <a:gd name="connsiteX43" fmla="*/ 2503 w 10000"/>
                  <a:gd name="connsiteY43" fmla="*/ 5471 h 10000"/>
                  <a:gd name="connsiteX44" fmla="*/ 2503 w 10000"/>
                  <a:gd name="connsiteY44" fmla="*/ 5157 h 10000"/>
                  <a:gd name="connsiteX45" fmla="*/ 5317 w 10000"/>
                  <a:gd name="connsiteY45" fmla="*/ 5157 h 10000"/>
                  <a:gd name="connsiteX46" fmla="*/ 5317 w 10000"/>
                  <a:gd name="connsiteY46" fmla="*/ 5471 h 10000"/>
                  <a:gd name="connsiteX47" fmla="*/ 6100 w 10000"/>
                  <a:gd name="connsiteY47" fmla="*/ 4377 h 10000"/>
                  <a:gd name="connsiteX48" fmla="*/ 2503 w 10000"/>
                  <a:gd name="connsiteY48" fmla="*/ 4377 h 10000"/>
                  <a:gd name="connsiteX49" fmla="*/ 2503 w 10000"/>
                  <a:gd name="connsiteY49" fmla="*/ 4063 h 10000"/>
                  <a:gd name="connsiteX50" fmla="*/ 6100 w 10000"/>
                  <a:gd name="connsiteY50" fmla="*/ 4063 h 10000"/>
                  <a:gd name="connsiteX51" fmla="*/ 6100 w 10000"/>
                  <a:gd name="connsiteY51" fmla="*/ 4377 h 10000"/>
                  <a:gd name="connsiteX52" fmla="*/ 6100 w 10000"/>
                  <a:gd name="connsiteY52" fmla="*/ 3280 h 10000"/>
                  <a:gd name="connsiteX53" fmla="*/ 2503 w 10000"/>
                  <a:gd name="connsiteY53" fmla="*/ 3280 h 10000"/>
                  <a:gd name="connsiteX54" fmla="*/ 2503 w 10000"/>
                  <a:gd name="connsiteY54" fmla="*/ 2970 h 10000"/>
                  <a:gd name="connsiteX55" fmla="*/ 6100 w 10000"/>
                  <a:gd name="connsiteY55" fmla="*/ 2970 h 10000"/>
                  <a:gd name="connsiteX56" fmla="*/ 6100 w 10000"/>
                  <a:gd name="connsiteY56" fmla="*/ 3280 h 10000"/>
                  <a:gd name="connsiteX57" fmla="*/ 6100 w 10000"/>
                  <a:gd name="connsiteY57" fmla="*/ 2187 h 10000"/>
                  <a:gd name="connsiteX58" fmla="*/ 2503 w 10000"/>
                  <a:gd name="connsiteY58" fmla="*/ 2187 h 10000"/>
                  <a:gd name="connsiteX59" fmla="*/ 2503 w 10000"/>
                  <a:gd name="connsiteY59" fmla="*/ 1877 h 10000"/>
                  <a:gd name="connsiteX60" fmla="*/ 6100 w 10000"/>
                  <a:gd name="connsiteY60" fmla="*/ 1877 h 10000"/>
                  <a:gd name="connsiteX61" fmla="*/ 6100 w 10000"/>
                  <a:gd name="connsiteY61" fmla="*/ 2187 h 10000"/>
                  <a:gd name="connsiteX62" fmla="*/ 3091 w 10000"/>
                  <a:gd name="connsiteY62" fmla="*/ 7266 h 10000"/>
                  <a:gd name="connsiteX63" fmla="*/ 3091 w 10000"/>
                  <a:gd name="connsiteY63" fmla="*/ 7462 h 10000"/>
                  <a:gd name="connsiteX64" fmla="*/ 3091 w 10000"/>
                  <a:gd name="connsiteY64" fmla="*/ 7266 h 10000"/>
                  <a:gd name="connsiteX65" fmla="*/ 2972 w 10000"/>
                  <a:gd name="connsiteY65" fmla="*/ 7151 h 10000"/>
                  <a:gd name="connsiteX66" fmla="*/ 2972 w 10000"/>
                  <a:gd name="connsiteY66" fmla="*/ 7151 h 10000"/>
                  <a:gd name="connsiteX67" fmla="*/ 2972 w 10000"/>
                  <a:gd name="connsiteY67" fmla="*/ 7151 h 10000"/>
                  <a:gd name="connsiteX68" fmla="*/ 2972 w 10000"/>
                  <a:gd name="connsiteY68" fmla="*/ 7151 h 10000"/>
                  <a:gd name="connsiteX69" fmla="*/ 2972 w 10000"/>
                  <a:gd name="connsiteY69" fmla="*/ 7151 h 10000"/>
                  <a:gd name="connsiteX70" fmla="*/ 2972 w 10000"/>
                  <a:gd name="connsiteY70" fmla="*/ 7151 h 10000"/>
                  <a:gd name="connsiteX71" fmla="*/ 2972 w 10000"/>
                  <a:gd name="connsiteY71" fmla="*/ 7151 h 10000"/>
                  <a:gd name="connsiteX72" fmla="*/ 2946 w 9911"/>
                  <a:gd name="connsiteY72" fmla="*/ 7149 h 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000" h="10000">
                    <a:moveTo>
                      <a:pt x="9694" y="1407"/>
                    </a:moveTo>
                    <a:lnTo>
                      <a:pt x="9539" y="1329"/>
                    </a:lnTo>
                    <a:cubicBezTo>
                      <a:pt x="9565" y="1290"/>
                      <a:pt x="9590" y="1250"/>
                      <a:pt x="9617" y="1211"/>
                    </a:cubicBezTo>
                    <a:cubicBezTo>
                      <a:pt x="9668" y="1094"/>
                      <a:pt x="9721" y="977"/>
                      <a:pt x="9772" y="860"/>
                    </a:cubicBezTo>
                    <a:cubicBezTo>
                      <a:pt x="9772" y="820"/>
                      <a:pt x="9772" y="742"/>
                      <a:pt x="9735" y="705"/>
                    </a:cubicBezTo>
                    <a:lnTo>
                      <a:pt x="9694" y="705"/>
                    </a:lnTo>
                    <a:cubicBezTo>
                      <a:pt x="9617" y="665"/>
                      <a:pt x="9644" y="678"/>
                      <a:pt x="9617" y="665"/>
                    </a:cubicBezTo>
                    <a:cubicBezTo>
                      <a:pt x="9576" y="624"/>
                      <a:pt x="9499" y="665"/>
                      <a:pt x="9499" y="705"/>
                    </a:cubicBezTo>
                    <a:lnTo>
                      <a:pt x="9265" y="975"/>
                    </a:lnTo>
                    <a:lnTo>
                      <a:pt x="9147" y="1171"/>
                    </a:lnTo>
                    <a:cubicBezTo>
                      <a:pt x="9070" y="1171"/>
                      <a:pt x="8992" y="1248"/>
                      <a:pt x="8914" y="1289"/>
                    </a:cubicBezTo>
                    <a:cubicBezTo>
                      <a:pt x="8637" y="1681"/>
                      <a:pt x="8093" y="2538"/>
                      <a:pt x="7661" y="3243"/>
                    </a:cubicBezTo>
                    <a:cubicBezTo>
                      <a:pt x="7543" y="3439"/>
                      <a:pt x="7468" y="3594"/>
                      <a:pt x="7350" y="3790"/>
                    </a:cubicBezTo>
                    <a:lnTo>
                      <a:pt x="7350" y="0"/>
                    </a:lnTo>
                    <a:lnTo>
                      <a:pt x="2503" y="0"/>
                    </a:lnTo>
                    <a:lnTo>
                      <a:pt x="1250" y="1248"/>
                    </a:lnTo>
                    <a:lnTo>
                      <a:pt x="1250" y="5977"/>
                    </a:lnTo>
                    <a:cubicBezTo>
                      <a:pt x="507" y="6291"/>
                      <a:pt x="0" y="7033"/>
                      <a:pt x="0" y="7890"/>
                    </a:cubicBezTo>
                    <a:cubicBezTo>
                      <a:pt x="0" y="9062"/>
                      <a:pt x="939" y="10000"/>
                      <a:pt x="2111" y="10000"/>
                    </a:cubicBezTo>
                    <a:cubicBezTo>
                      <a:pt x="3283" y="10000"/>
                      <a:pt x="4223" y="9062"/>
                      <a:pt x="4223" y="7890"/>
                    </a:cubicBezTo>
                    <a:lnTo>
                      <a:pt x="4223" y="7809"/>
                    </a:lnTo>
                    <a:lnTo>
                      <a:pt x="7350" y="7809"/>
                    </a:lnTo>
                    <a:lnTo>
                      <a:pt x="7350" y="5508"/>
                    </a:lnTo>
                    <a:cubicBezTo>
                      <a:pt x="6922" y="6095"/>
                      <a:pt x="6570" y="6564"/>
                      <a:pt x="6296" y="6878"/>
                    </a:cubicBezTo>
                    <a:cubicBezTo>
                      <a:pt x="6100" y="7111"/>
                      <a:pt x="5982" y="7229"/>
                      <a:pt x="5945" y="7188"/>
                    </a:cubicBezTo>
                    <a:cubicBezTo>
                      <a:pt x="5867" y="7151"/>
                      <a:pt x="5905" y="6993"/>
                      <a:pt x="6023" y="6682"/>
                    </a:cubicBezTo>
                    <a:cubicBezTo>
                      <a:pt x="6218" y="6095"/>
                      <a:pt x="6689" y="5039"/>
                      <a:pt x="7313" y="3830"/>
                    </a:cubicBezTo>
                    <a:lnTo>
                      <a:pt x="7739" y="4063"/>
                    </a:lnTo>
                    <a:cubicBezTo>
                      <a:pt x="8130" y="4299"/>
                      <a:pt x="8002" y="4218"/>
                      <a:pt x="8130" y="4299"/>
                    </a:cubicBezTo>
                    <a:cubicBezTo>
                      <a:pt x="8248" y="4100"/>
                      <a:pt x="8367" y="3908"/>
                      <a:pt x="8481" y="3712"/>
                    </a:cubicBezTo>
                    <a:cubicBezTo>
                      <a:pt x="8874" y="3007"/>
                      <a:pt x="9303" y="2110"/>
                      <a:pt x="9499" y="1681"/>
                    </a:cubicBezTo>
                    <a:lnTo>
                      <a:pt x="9539" y="1681"/>
                    </a:lnTo>
                    <a:cubicBezTo>
                      <a:pt x="9694" y="1759"/>
                      <a:pt x="9735" y="1954"/>
                      <a:pt x="9657" y="2110"/>
                    </a:cubicBezTo>
                    <a:cubicBezTo>
                      <a:pt x="9461" y="2538"/>
                      <a:pt x="9147" y="3125"/>
                      <a:pt x="8874" y="3672"/>
                    </a:cubicBezTo>
                    <a:cubicBezTo>
                      <a:pt x="8756" y="3830"/>
                      <a:pt x="8837" y="4023"/>
                      <a:pt x="8992" y="4100"/>
                    </a:cubicBezTo>
                    <a:cubicBezTo>
                      <a:pt x="9343" y="3476"/>
                      <a:pt x="9694" y="2737"/>
                      <a:pt x="9931" y="2228"/>
                    </a:cubicBezTo>
                    <a:cubicBezTo>
                      <a:pt x="10087" y="1954"/>
                      <a:pt x="9968" y="1603"/>
                      <a:pt x="9694" y="1407"/>
                    </a:cubicBezTo>
                    <a:close/>
                    <a:moveTo>
                      <a:pt x="2111" y="9686"/>
                    </a:moveTo>
                    <a:cubicBezTo>
                      <a:pt x="1135" y="9686"/>
                      <a:pt x="314" y="8866"/>
                      <a:pt x="314" y="7890"/>
                    </a:cubicBezTo>
                    <a:cubicBezTo>
                      <a:pt x="314" y="6915"/>
                      <a:pt x="1135" y="6095"/>
                      <a:pt x="2111" y="6095"/>
                    </a:cubicBezTo>
                    <a:cubicBezTo>
                      <a:pt x="3091" y="6095"/>
                      <a:pt x="3912" y="6915"/>
                      <a:pt x="3912" y="7890"/>
                    </a:cubicBezTo>
                    <a:cubicBezTo>
                      <a:pt x="3912" y="8866"/>
                      <a:pt x="3091" y="9686"/>
                      <a:pt x="2111" y="9686"/>
                    </a:cubicBezTo>
                    <a:close/>
                    <a:moveTo>
                      <a:pt x="5317" y="5471"/>
                    </a:moveTo>
                    <a:lnTo>
                      <a:pt x="2503" y="5471"/>
                    </a:lnTo>
                    <a:lnTo>
                      <a:pt x="2503" y="5157"/>
                    </a:lnTo>
                    <a:lnTo>
                      <a:pt x="5317" y="5157"/>
                    </a:lnTo>
                    <a:lnTo>
                      <a:pt x="5317" y="5471"/>
                    </a:lnTo>
                    <a:close/>
                    <a:moveTo>
                      <a:pt x="6100" y="4377"/>
                    </a:moveTo>
                    <a:lnTo>
                      <a:pt x="2503" y="4377"/>
                    </a:lnTo>
                    <a:lnTo>
                      <a:pt x="2503" y="4063"/>
                    </a:lnTo>
                    <a:lnTo>
                      <a:pt x="6100" y="4063"/>
                    </a:lnTo>
                    <a:lnTo>
                      <a:pt x="6100" y="4377"/>
                    </a:lnTo>
                    <a:close/>
                    <a:moveTo>
                      <a:pt x="6100" y="3280"/>
                    </a:moveTo>
                    <a:lnTo>
                      <a:pt x="2503" y="3280"/>
                    </a:lnTo>
                    <a:lnTo>
                      <a:pt x="2503" y="2970"/>
                    </a:lnTo>
                    <a:lnTo>
                      <a:pt x="6100" y="2970"/>
                    </a:lnTo>
                    <a:lnTo>
                      <a:pt x="6100" y="3280"/>
                    </a:lnTo>
                    <a:close/>
                    <a:moveTo>
                      <a:pt x="6100" y="2187"/>
                    </a:moveTo>
                    <a:lnTo>
                      <a:pt x="2503" y="2187"/>
                    </a:lnTo>
                    <a:lnTo>
                      <a:pt x="2503" y="1877"/>
                    </a:lnTo>
                    <a:lnTo>
                      <a:pt x="6100" y="1877"/>
                    </a:lnTo>
                    <a:lnTo>
                      <a:pt x="6100" y="2187"/>
                    </a:lnTo>
                    <a:close/>
                  </a:path>
                </a:pathLst>
              </a:custGeom>
              <a:solidFill>
                <a:schemeClr val="bg2"/>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sp>
            <p:nvSpPr>
              <p:cNvPr id="95" name="Freeform 11">
                <a:extLst>
                  <a:ext uri="{FF2B5EF4-FFF2-40B4-BE49-F238E27FC236}">
                    <a16:creationId xmlns:a16="http://schemas.microsoft.com/office/drawing/2014/main" id="{412A1667-648C-A64F-B0EC-E4BA060DF150}"/>
                  </a:ext>
                </a:extLst>
              </p:cNvPr>
              <p:cNvSpPr>
                <a:spLocks noChangeAspect="1" noChangeArrowheads="1"/>
              </p:cNvSpPr>
              <p:nvPr/>
            </p:nvSpPr>
            <p:spPr bwMode="auto">
              <a:xfrm>
                <a:off x="5658252" y="2269614"/>
                <a:ext cx="167874" cy="238502"/>
              </a:xfrm>
              <a:custGeom>
                <a:avLst/>
                <a:gdLst>
                  <a:gd name="T0" fmla="*/ 1760 w 2085"/>
                  <a:gd name="T1" fmla="*/ 1111 h 2964"/>
                  <a:gd name="T2" fmla="*/ 1760 w 2085"/>
                  <a:gd name="T3" fmla="*/ 718 h 2964"/>
                  <a:gd name="T4" fmla="*/ 1042 w 2085"/>
                  <a:gd name="T5" fmla="*/ 0 h 2964"/>
                  <a:gd name="T6" fmla="*/ 324 w 2085"/>
                  <a:gd name="T7" fmla="*/ 718 h 2964"/>
                  <a:gd name="T8" fmla="*/ 324 w 2085"/>
                  <a:gd name="T9" fmla="*/ 1111 h 2964"/>
                  <a:gd name="T10" fmla="*/ 0 w 2085"/>
                  <a:gd name="T11" fmla="*/ 1111 h 2964"/>
                  <a:gd name="T12" fmla="*/ 0 w 2085"/>
                  <a:gd name="T13" fmla="*/ 2523 h 2964"/>
                  <a:gd name="T14" fmla="*/ 1042 w 2085"/>
                  <a:gd name="T15" fmla="*/ 2963 h 2964"/>
                  <a:gd name="T16" fmla="*/ 2084 w 2085"/>
                  <a:gd name="T17" fmla="*/ 2523 h 2964"/>
                  <a:gd name="T18" fmla="*/ 2084 w 2085"/>
                  <a:gd name="T19" fmla="*/ 1111 h 2964"/>
                  <a:gd name="T20" fmla="*/ 1760 w 2085"/>
                  <a:gd name="T21" fmla="*/ 1111 h 2964"/>
                  <a:gd name="T22" fmla="*/ 1158 w 2085"/>
                  <a:gd name="T23" fmla="*/ 1956 h 2964"/>
                  <a:gd name="T24" fmla="*/ 1158 w 2085"/>
                  <a:gd name="T25" fmla="*/ 2223 h 2964"/>
                  <a:gd name="T26" fmla="*/ 1042 w 2085"/>
                  <a:gd name="T27" fmla="*/ 2338 h 2964"/>
                  <a:gd name="T28" fmla="*/ 926 w 2085"/>
                  <a:gd name="T29" fmla="*/ 2223 h 2964"/>
                  <a:gd name="T30" fmla="*/ 926 w 2085"/>
                  <a:gd name="T31" fmla="*/ 1956 h 2964"/>
                  <a:gd name="T32" fmla="*/ 810 w 2085"/>
                  <a:gd name="T33" fmla="*/ 1760 h 2964"/>
                  <a:gd name="T34" fmla="*/ 1042 w 2085"/>
                  <a:gd name="T35" fmla="*/ 1528 h 2964"/>
                  <a:gd name="T36" fmla="*/ 1273 w 2085"/>
                  <a:gd name="T37" fmla="*/ 1760 h 2964"/>
                  <a:gd name="T38" fmla="*/ 1158 w 2085"/>
                  <a:gd name="T39" fmla="*/ 1956 h 2964"/>
                  <a:gd name="T40" fmla="*/ 1436 w 2085"/>
                  <a:gd name="T41" fmla="*/ 1111 h 2964"/>
                  <a:gd name="T42" fmla="*/ 648 w 2085"/>
                  <a:gd name="T43" fmla="*/ 1111 h 2964"/>
                  <a:gd name="T44" fmla="*/ 648 w 2085"/>
                  <a:gd name="T45" fmla="*/ 718 h 2964"/>
                  <a:gd name="T46" fmla="*/ 1042 w 2085"/>
                  <a:gd name="T47" fmla="*/ 324 h 2964"/>
                  <a:gd name="T48" fmla="*/ 1436 w 2085"/>
                  <a:gd name="T49" fmla="*/ 718 h 2964"/>
                  <a:gd name="T50" fmla="*/ 1436 w 2085"/>
                  <a:gd name="T51" fmla="*/ 1111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5" h="2964">
                    <a:moveTo>
                      <a:pt x="1760" y="1111"/>
                    </a:moveTo>
                    <a:cubicBezTo>
                      <a:pt x="1760" y="718"/>
                      <a:pt x="1760" y="718"/>
                      <a:pt x="1760" y="718"/>
                    </a:cubicBezTo>
                    <a:cubicBezTo>
                      <a:pt x="1760" y="324"/>
                      <a:pt x="1436" y="0"/>
                      <a:pt x="1042" y="0"/>
                    </a:cubicBezTo>
                    <a:cubicBezTo>
                      <a:pt x="648" y="0"/>
                      <a:pt x="324" y="324"/>
                      <a:pt x="324" y="718"/>
                    </a:cubicBezTo>
                    <a:cubicBezTo>
                      <a:pt x="324" y="1111"/>
                      <a:pt x="324" y="1111"/>
                      <a:pt x="324" y="1111"/>
                    </a:cubicBezTo>
                    <a:cubicBezTo>
                      <a:pt x="0" y="1111"/>
                      <a:pt x="0" y="1111"/>
                      <a:pt x="0" y="1111"/>
                    </a:cubicBezTo>
                    <a:cubicBezTo>
                      <a:pt x="0" y="2523"/>
                      <a:pt x="0" y="2523"/>
                      <a:pt x="0" y="2523"/>
                    </a:cubicBezTo>
                    <a:cubicBezTo>
                      <a:pt x="1042" y="2963"/>
                      <a:pt x="1042" y="2963"/>
                      <a:pt x="1042" y="2963"/>
                    </a:cubicBezTo>
                    <a:cubicBezTo>
                      <a:pt x="2084" y="2523"/>
                      <a:pt x="2084" y="2523"/>
                      <a:pt x="2084" y="2523"/>
                    </a:cubicBezTo>
                    <a:cubicBezTo>
                      <a:pt x="2084" y="1111"/>
                      <a:pt x="2084" y="1111"/>
                      <a:pt x="2084" y="1111"/>
                    </a:cubicBezTo>
                    <a:lnTo>
                      <a:pt x="1760" y="1111"/>
                    </a:lnTo>
                    <a:close/>
                    <a:moveTo>
                      <a:pt x="1158" y="1956"/>
                    </a:moveTo>
                    <a:cubicBezTo>
                      <a:pt x="1158" y="2222"/>
                      <a:pt x="1158" y="2223"/>
                      <a:pt x="1158" y="2223"/>
                    </a:cubicBezTo>
                    <a:cubicBezTo>
                      <a:pt x="1158" y="2291"/>
                      <a:pt x="1111" y="2338"/>
                      <a:pt x="1042" y="2338"/>
                    </a:cubicBezTo>
                    <a:cubicBezTo>
                      <a:pt x="973" y="2338"/>
                      <a:pt x="926" y="2291"/>
                      <a:pt x="926" y="2223"/>
                    </a:cubicBezTo>
                    <a:cubicBezTo>
                      <a:pt x="926" y="1956"/>
                      <a:pt x="926" y="1956"/>
                      <a:pt x="926" y="1956"/>
                    </a:cubicBezTo>
                    <a:cubicBezTo>
                      <a:pt x="857" y="1922"/>
                      <a:pt x="810" y="1841"/>
                      <a:pt x="810" y="1760"/>
                    </a:cubicBezTo>
                    <a:cubicBezTo>
                      <a:pt x="810" y="1632"/>
                      <a:pt x="914" y="1528"/>
                      <a:pt x="1042" y="1528"/>
                    </a:cubicBezTo>
                    <a:cubicBezTo>
                      <a:pt x="1169" y="1528"/>
                      <a:pt x="1273" y="1632"/>
                      <a:pt x="1273" y="1760"/>
                    </a:cubicBezTo>
                    <a:cubicBezTo>
                      <a:pt x="1273" y="1841"/>
                      <a:pt x="1227" y="1922"/>
                      <a:pt x="1158" y="1956"/>
                    </a:cubicBezTo>
                    <a:close/>
                    <a:moveTo>
                      <a:pt x="1436" y="1111"/>
                    </a:moveTo>
                    <a:cubicBezTo>
                      <a:pt x="648" y="1111"/>
                      <a:pt x="648" y="1111"/>
                      <a:pt x="648" y="1111"/>
                    </a:cubicBezTo>
                    <a:cubicBezTo>
                      <a:pt x="648" y="718"/>
                      <a:pt x="648" y="718"/>
                      <a:pt x="648" y="718"/>
                    </a:cubicBezTo>
                    <a:cubicBezTo>
                      <a:pt x="648" y="498"/>
                      <a:pt x="822" y="324"/>
                      <a:pt x="1042" y="324"/>
                    </a:cubicBezTo>
                    <a:cubicBezTo>
                      <a:pt x="1262" y="324"/>
                      <a:pt x="1436" y="498"/>
                      <a:pt x="1436" y="718"/>
                    </a:cubicBezTo>
                    <a:lnTo>
                      <a:pt x="1436" y="1111"/>
                    </a:lnTo>
                    <a:close/>
                  </a:path>
                </a:pathLst>
              </a:custGeom>
              <a:solidFill>
                <a:schemeClr val="bg2"/>
              </a:solidFill>
              <a:ln>
                <a:noFill/>
              </a:ln>
              <a:effectLst/>
              <a:extLst>
                <a:ext uri="{91240B29-F687-4f45-9708-019B960494DF}">
                  <a14:hiddenLine xmlns="" xmlns:a14="http://schemas.microsoft.com/office/drawing/2010/main" xmlns:p15="http://schemas.microsoft.com/office/powerpoint/2012/main" xmlns:p14="http://schemas.microsoft.com/office/powerpoint/2010/main" w="9525" cap="flat">
                    <a:solidFill>
                      <a:srgbClr val="808080"/>
                    </a:solidFill>
                    <a:bevel/>
                    <a:headEnd/>
                    <a:tailEnd/>
                  </a14:hiddenLine>
                </a:ext>
                <a:ext uri="{AF507438-7753-43e0-B8FC-AC1667EBCBE1}">
                  <a14:hiddenEffects xmlns="" xmlns:a14="http://schemas.microsoft.com/office/drawing/2010/main" xmlns:p15="http://schemas.microsoft.com/office/powerpoint/2012/main" xmlns:p14="http://schemas.microsoft.com/office/powerpoint/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grpSp>
      </p:grpSp>
      <p:grpSp>
        <p:nvGrpSpPr>
          <p:cNvPr id="96" name="Group 95"/>
          <p:cNvGrpSpPr/>
          <p:nvPr/>
        </p:nvGrpSpPr>
        <p:grpSpPr>
          <a:xfrm>
            <a:off x="7593783" y="4692162"/>
            <a:ext cx="3488397" cy="1249372"/>
            <a:chOff x="7905108" y="4692086"/>
            <a:chExt cx="3488397" cy="1249372"/>
          </a:xfrm>
        </p:grpSpPr>
        <p:sp>
          <p:nvSpPr>
            <p:cNvPr id="97" name="Freeform 4"/>
            <p:cNvSpPr>
              <a:spLocks noChangeAspect="1" noChangeArrowheads="1"/>
            </p:cNvSpPr>
            <p:nvPr/>
          </p:nvSpPr>
          <p:spPr bwMode="auto">
            <a:xfrm>
              <a:off x="7905108" y="4692087"/>
              <a:ext cx="2231019" cy="1249371"/>
            </a:xfrm>
            <a:custGeom>
              <a:avLst/>
              <a:gdLst>
                <a:gd name="T0" fmla="*/ 1216 w 2977"/>
                <a:gd name="T1" fmla="*/ 139 h 1668"/>
                <a:gd name="T2" fmla="*/ 1598 w 2977"/>
                <a:gd name="T3" fmla="*/ 336 h 1668"/>
                <a:gd name="T4" fmla="*/ 1633 w 2977"/>
                <a:gd name="T5" fmla="*/ 394 h 1668"/>
                <a:gd name="T6" fmla="*/ 1702 w 2977"/>
                <a:gd name="T7" fmla="*/ 417 h 1668"/>
                <a:gd name="T8" fmla="*/ 1749 w 2977"/>
                <a:gd name="T9" fmla="*/ 394 h 1668"/>
                <a:gd name="T10" fmla="*/ 1841 w 2977"/>
                <a:gd name="T11" fmla="*/ 371 h 1668"/>
                <a:gd name="T12" fmla="*/ 2258 w 2977"/>
                <a:gd name="T13" fmla="*/ 649 h 1668"/>
                <a:gd name="T14" fmla="*/ 2281 w 2977"/>
                <a:gd name="T15" fmla="*/ 706 h 1668"/>
                <a:gd name="T16" fmla="*/ 2351 w 2977"/>
                <a:gd name="T17" fmla="*/ 753 h 1668"/>
                <a:gd name="T18" fmla="*/ 2409 w 2977"/>
                <a:gd name="T19" fmla="*/ 741 h 1668"/>
                <a:gd name="T20" fmla="*/ 2466 w 2977"/>
                <a:gd name="T21" fmla="*/ 741 h 1668"/>
                <a:gd name="T22" fmla="*/ 2837 w 2977"/>
                <a:gd name="T23" fmla="*/ 1100 h 1668"/>
                <a:gd name="T24" fmla="*/ 2443 w 2977"/>
                <a:gd name="T25" fmla="*/ 1528 h 1668"/>
                <a:gd name="T26" fmla="*/ 625 w 2977"/>
                <a:gd name="T27" fmla="*/ 1528 h 1668"/>
                <a:gd name="T28" fmla="*/ 151 w 2977"/>
                <a:gd name="T29" fmla="*/ 1077 h 1668"/>
                <a:gd name="T30" fmla="*/ 614 w 2977"/>
                <a:gd name="T31" fmla="*/ 602 h 1668"/>
                <a:gd name="T32" fmla="*/ 625 w 2977"/>
                <a:gd name="T33" fmla="*/ 602 h 1668"/>
                <a:gd name="T34" fmla="*/ 695 w 2977"/>
                <a:gd name="T35" fmla="*/ 602 h 1668"/>
                <a:gd name="T36" fmla="*/ 753 w 2977"/>
                <a:gd name="T37" fmla="*/ 556 h 1668"/>
                <a:gd name="T38" fmla="*/ 764 w 2977"/>
                <a:gd name="T39" fmla="*/ 498 h 1668"/>
                <a:gd name="T40" fmla="*/ 1216 w 2977"/>
                <a:gd name="T41" fmla="*/ 139 h 1668"/>
                <a:gd name="T42" fmla="*/ 1216 w 2977"/>
                <a:gd name="T43" fmla="*/ 0 h 1668"/>
                <a:gd name="T44" fmla="*/ 625 w 2977"/>
                <a:gd name="T45" fmla="*/ 463 h 1668"/>
                <a:gd name="T46" fmla="*/ 614 w 2977"/>
                <a:gd name="T47" fmla="*/ 463 h 1668"/>
                <a:gd name="T48" fmla="*/ 12 w 2977"/>
                <a:gd name="T49" fmla="*/ 1054 h 1668"/>
                <a:gd name="T50" fmla="*/ 625 w 2977"/>
                <a:gd name="T51" fmla="*/ 1667 h 1668"/>
                <a:gd name="T52" fmla="*/ 2431 w 2977"/>
                <a:gd name="T53" fmla="*/ 1667 h 1668"/>
                <a:gd name="T54" fmla="*/ 2976 w 2977"/>
                <a:gd name="T55" fmla="*/ 1123 h 1668"/>
                <a:gd name="T56" fmla="*/ 2443 w 2977"/>
                <a:gd name="T57" fmla="*/ 602 h 1668"/>
                <a:gd name="T58" fmla="*/ 2397 w 2977"/>
                <a:gd name="T59" fmla="*/ 602 h 1668"/>
                <a:gd name="T60" fmla="*/ 1888 w 2977"/>
                <a:gd name="T61" fmla="*/ 232 h 1668"/>
                <a:gd name="T62" fmla="*/ 1714 w 2977"/>
                <a:gd name="T63" fmla="*/ 267 h 1668"/>
                <a:gd name="T64" fmla="*/ 1216 w 2977"/>
                <a:gd name="T65" fmla="*/ 0 h 1668"/>
                <a:gd name="T66" fmla="*/ 1216 w 2977"/>
                <a:gd name="T67" fmla="*/ 139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7" h="1668">
                  <a:moveTo>
                    <a:pt x="1216" y="139"/>
                  </a:moveTo>
                  <a:cubicBezTo>
                    <a:pt x="1366" y="139"/>
                    <a:pt x="1505" y="209"/>
                    <a:pt x="1598" y="336"/>
                  </a:cubicBezTo>
                  <a:cubicBezTo>
                    <a:pt x="1633" y="394"/>
                    <a:pt x="1633" y="394"/>
                    <a:pt x="1633" y="394"/>
                  </a:cubicBezTo>
                  <a:cubicBezTo>
                    <a:pt x="1644" y="417"/>
                    <a:pt x="1679" y="417"/>
                    <a:pt x="1702" y="417"/>
                  </a:cubicBezTo>
                  <a:cubicBezTo>
                    <a:pt x="1749" y="394"/>
                    <a:pt x="1749" y="394"/>
                    <a:pt x="1749" y="394"/>
                  </a:cubicBezTo>
                  <a:cubicBezTo>
                    <a:pt x="1783" y="382"/>
                    <a:pt x="1806" y="382"/>
                    <a:pt x="1841" y="371"/>
                  </a:cubicBezTo>
                  <a:cubicBezTo>
                    <a:pt x="2027" y="348"/>
                    <a:pt x="2212" y="463"/>
                    <a:pt x="2258" y="649"/>
                  </a:cubicBezTo>
                  <a:cubicBezTo>
                    <a:pt x="2281" y="706"/>
                    <a:pt x="2281" y="706"/>
                    <a:pt x="2281" y="706"/>
                  </a:cubicBezTo>
                  <a:cubicBezTo>
                    <a:pt x="2293" y="730"/>
                    <a:pt x="2316" y="753"/>
                    <a:pt x="2351" y="753"/>
                  </a:cubicBezTo>
                  <a:cubicBezTo>
                    <a:pt x="2409" y="741"/>
                    <a:pt x="2409" y="741"/>
                    <a:pt x="2409" y="741"/>
                  </a:cubicBezTo>
                  <a:cubicBezTo>
                    <a:pt x="2431" y="741"/>
                    <a:pt x="2455" y="741"/>
                    <a:pt x="2466" y="741"/>
                  </a:cubicBezTo>
                  <a:cubicBezTo>
                    <a:pt x="2663" y="765"/>
                    <a:pt x="2825" y="915"/>
                    <a:pt x="2837" y="1100"/>
                  </a:cubicBezTo>
                  <a:cubicBezTo>
                    <a:pt x="2848" y="1332"/>
                    <a:pt x="2675" y="1528"/>
                    <a:pt x="2443" y="1528"/>
                  </a:cubicBezTo>
                  <a:cubicBezTo>
                    <a:pt x="625" y="1528"/>
                    <a:pt x="625" y="1528"/>
                    <a:pt x="625" y="1528"/>
                  </a:cubicBezTo>
                  <a:cubicBezTo>
                    <a:pt x="371" y="1528"/>
                    <a:pt x="162" y="1332"/>
                    <a:pt x="151" y="1077"/>
                  </a:cubicBezTo>
                  <a:cubicBezTo>
                    <a:pt x="139" y="822"/>
                    <a:pt x="359" y="602"/>
                    <a:pt x="614" y="602"/>
                  </a:cubicBezTo>
                  <a:lnTo>
                    <a:pt x="625" y="602"/>
                  </a:lnTo>
                  <a:cubicBezTo>
                    <a:pt x="695" y="602"/>
                    <a:pt x="695" y="602"/>
                    <a:pt x="695" y="602"/>
                  </a:cubicBezTo>
                  <a:cubicBezTo>
                    <a:pt x="718" y="602"/>
                    <a:pt x="741" y="591"/>
                    <a:pt x="753" y="556"/>
                  </a:cubicBezTo>
                  <a:cubicBezTo>
                    <a:pt x="764" y="498"/>
                    <a:pt x="764" y="498"/>
                    <a:pt x="764" y="498"/>
                  </a:cubicBezTo>
                  <a:cubicBezTo>
                    <a:pt x="811" y="290"/>
                    <a:pt x="996" y="139"/>
                    <a:pt x="1216" y="139"/>
                  </a:cubicBezTo>
                  <a:lnTo>
                    <a:pt x="1216" y="0"/>
                  </a:lnTo>
                  <a:cubicBezTo>
                    <a:pt x="927" y="0"/>
                    <a:pt x="695" y="197"/>
                    <a:pt x="625" y="463"/>
                  </a:cubicBezTo>
                  <a:lnTo>
                    <a:pt x="614" y="463"/>
                  </a:lnTo>
                  <a:cubicBezTo>
                    <a:pt x="290" y="463"/>
                    <a:pt x="23" y="730"/>
                    <a:pt x="12" y="1054"/>
                  </a:cubicBezTo>
                  <a:cubicBezTo>
                    <a:pt x="0" y="1390"/>
                    <a:pt x="290" y="1667"/>
                    <a:pt x="625" y="1667"/>
                  </a:cubicBezTo>
                  <a:cubicBezTo>
                    <a:pt x="2431" y="1667"/>
                    <a:pt x="2431" y="1667"/>
                    <a:pt x="2431" y="1667"/>
                  </a:cubicBezTo>
                  <a:cubicBezTo>
                    <a:pt x="2733" y="1667"/>
                    <a:pt x="2976" y="1424"/>
                    <a:pt x="2976" y="1123"/>
                  </a:cubicBezTo>
                  <a:cubicBezTo>
                    <a:pt x="2976" y="834"/>
                    <a:pt x="2733" y="602"/>
                    <a:pt x="2443" y="602"/>
                  </a:cubicBezTo>
                  <a:cubicBezTo>
                    <a:pt x="2431" y="602"/>
                    <a:pt x="2409" y="602"/>
                    <a:pt x="2397" y="602"/>
                  </a:cubicBezTo>
                  <a:cubicBezTo>
                    <a:pt x="2327" y="394"/>
                    <a:pt x="2131" y="232"/>
                    <a:pt x="1888" y="232"/>
                  </a:cubicBezTo>
                  <a:cubicBezTo>
                    <a:pt x="1829" y="232"/>
                    <a:pt x="1772" y="243"/>
                    <a:pt x="1714" y="267"/>
                  </a:cubicBezTo>
                  <a:cubicBezTo>
                    <a:pt x="1598" y="104"/>
                    <a:pt x="1425" y="0"/>
                    <a:pt x="1216" y="0"/>
                  </a:cubicBezTo>
                  <a:lnTo>
                    <a:pt x="1216" y="139"/>
                  </a:ln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Oracle Sans"/>
                <a:cs typeface="Arial"/>
              </a:endParaRPr>
            </a:p>
          </p:txBody>
        </p:sp>
        <p:grpSp>
          <p:nvGrpSpPr>
            <p:cNvPr id="98" name="Group 97"/>
            <p:cNvGrpSpPr/>
            <p:nvPr/>
          </p:nvGrpSpPr>
          <p:grpSpPr>
            <a:xfrm>
              <a:off x="8101176" y="4692086"/>
              <a:ext cx="3292329" cy="1249371"/>
              <a:chOff x="8101176" y="4692086"/>
              <a:chExt cx="3292329" cy="1249371"/>
            </a:xfrm>
          </p:grpSpPr>
          <p:pic>
            <p:nvPicPr>
              <p:cNvPr id="99" name="Picture 98"/>
              <p:cNvPicPr>
                <a:picLocks noChangeAspect="1"/>
              </p:cNvPicPr>
              <p:nvPr/>
            </p:nvPicPr>
            <p:blipFill>
              <a:blip r:embed="rId3"/>
              <a:stretch>
                <a:fillRect/>
              </a:stretch>
            </p:blipFill>
            <p:spPr>
              <a:xfrm>
                <a:off x="10144134" y="4692086"/>
                <a:ext cx="1249371" cy="1249371"/>
              </a:xfrm>
              <a:prstGeom prst="rect">
                <a:avLst/>
              </a:prstGeom>
            </p:spPr>
          </p:pic>
          <p:grpSp>
            <p:nvGrpSpPr>
              <p:cNvPr id="100" name="Group 212"/>
              <p:cNvGrpSpPr/>
              <p:nvPr/>
            </p:nvGrpSpPr>
            <p:grpSpPr>
              <a:xfrm>
                <a:off x="8101176" y="5117834"/>
                <a:ext cx="1726874" cy="699574"/>
                <a:chOff x="3596561" y="1269192"/>
                <a:chExt cx="1893780" cy="652049"/>
              </a:xfrm>
            </p:grpSpPr>
            <p:pic>
              <p:nvPicPr>
                <p:cNvPr id="102" name="Picture 101" descr="database-gray-symbol-blank-51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6561" y="1362342"/>
                  <a:ext cx="558899" cy="558899"/>
                </a:xfrm>
                <a:prstGeom prst="rect">
                  <a:avLst/>
                </a:prstGeom>
              </p:spPr>
            </p:pic>
            <p:pic>
              <p:nvPicPr>
                <p:cNvPr id="103" name="Picture 102" descr="database-gray-symbol-blank-51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31442" y="1362341"/>
                  <a:ext cx="558899" cy="558899"/>
                </a:xfrm>
                <a:prstGeom prst="rect">
                  <a:avLst/>
                </a:prstGeom>
              </p:spPr>
            </p:pic>
            <p:pic>
              <p:nvPicPr>
                <p:cNvPr id="104" name="Picture 103" descr="database-gray-symbol-blank-51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34352" y="1269192"/>
                  <a:ext cx="652050" cy="652049"/>
                </a:xfrm>
                <a:prstGeom prst="rect">
                  <a:avLst/>
                </a:prstGeom>
              </p:spPr>
            </p:pic>
          </p:grpSp>
          <p:pic>
            <p:nvPicPr>
              <p:cNvPr id="101" name="Picture 1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51754" y="5486160"/>
                <a:ext cx="290702" cy="290702"/>
              </a:xfrm>
              <a:prstGeom prst="ellipse">
                <a:avLst/>
              </a:prstGeom>
              <a:ln w="63500" cap="rnd">
                <a:noFill/>
              </a:ln>
              <a:effectLst/>
              <a:scene3d>
                <a:camera prst="orthographicFront"/>
                <a:lightRig rig="contrasting" dir="t">
                  <a:rot lat="0" lon="0" rev="3000000"/>
                </a:lightRig>
              </a:scene3d>
              <a:sp3d contourW="7620">
                <a:contourClr>
                  <a:srgbClr val="333333"/>
                </a:contourClr>
              </a:sp3d>
            </p:spPr>
          </p:pic>
        </p:grpSp>
      </p:grpSp>
      <p:sp>
        <p:nvSpPr>
          <p:cNvPr id="105" name="Up-Down Arrow 104"/>
          <p:cNvSpPr/>
          <p:nvPr/>
        </p:nvSpPr>
        <p:spPr>
          <a:xfrm>
            <a:off x="10344167" y="3991495"/>
            <a:ext cx="262536" cy="668276"/>
          </a:xfrm>
          <a:prstGeom prst="upDownArrow">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racle Sans"/>
              <a:cs typeface="Arial"/>
            </a:endParaRPr>
          </a:p>
        </p:txBody>
      </p:sp>
      <p:pic>
        <p:nvPicPr>
          <p:cNvPr id="106" name="Picture 105"/>
          <p:cNvPicPr>
            <a:picLocks noChangeAspect="1"/>
          </p:cNvPicPr>
          <p:nvPr/>
        </p:nvPicPr>
        <p:blipFill>
          <a:blip r:embed="rId7"/>
          <a:stretch>
            <a:fillRect/>
          </a:stretch>
        </p:blipFill>
        <p:spPr>
          <a:xfrm>
            <a:off x="9854713" y="5304059"/>
            <a:ext cx="794989" cy="794989"/>
          </a:xfrm>
          <a:prstGeom prst="rect">
            <a:avLst/>
          </a:prstGeom>
        </p:spPr>
      </p:pic>
      <p:pic>
        <p:nvPicPr>
          <p:cNvPr id="107" name="Picture 106"/>
          <p:cNvPicPr>
            <a:picLocks noChangeAspect="1"/>
          </p:cNvPicPr>
          <p:nvPr/>
        </p:nvPicPr>
        <p:blipFill>
          <a:blip r:embed="rId7"/>
          <a:stretch>
            <a:fillRect/>
          </a:stretch>
        </p:blipFill>
        <p:spPr>
          <a:xfrm>
            <a:off x="10370691" y="5406740"/>
            <a:ext cx="664600" cy="664600"/>
          </a:xfrm>
          <a:prstGeom prst="rect">
            <a:avLst/>
          </a:prstGeom>
        </p:spPr>
      </p:pic>
      <p:sp>
        <p:nvSpPr>
          <p:cNvPr id="50" name="TextBox 49">
            <a:extLst>
              <a:ext uri="{FF2B5EF4-FFF2-40B4-BE49-F238E27FC236}">
                <a16:creationId xmlns:a16="http://schemas.microsoft.com/office/drawing/2014/main" id="{551DA798-C57C-AC4B-AEAF-18605E56DC23}"/>
              </a:ext>
            </a:extLst>
          </p:cNvPr>
          <p:cNvSpPr txBox="1"/>
          <p:nvPr/>
        </p:nvSpPr>
        <p:spPr>
          <a:xfrm>
            <a:off x="9484297" y="6042537"/>
            <a:ext cx="2090565" cy="546599"/>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312D2A"/>
                </a:solidFill>
                <a:effectLst/>
                <a:uLnTx/>
                <a:uFillTx/>
                <a:latin typeface="Oracle Sans"/>
                <a:cs typeface="Arial"/>
              </a:rPr>
              <a:t>Oracle on-Prem </a:t>
            </a:r>
          </a:p>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312D2A"/>
                </a:solidFill>
                <a:effectLst/>
                <a:uLnTx/>
                <a:uFillTx/>
                <a:latin typeface="Oracle Sans"/>
                <a:cs typeface="Arial"/>
              </a:rPr>
              <a:t>Databases</a:t>
            </a:r>
          </a:p>
        </p:txBody>
      </p:sp>
    </p:spTree>
    <p:extLst>
      <p:ext uri="{BB962C8B-B14F-4D97-AF65-F5344CB8AC3E}">
        <p14:creationId xmlns:p14="http://schemas.microsoft.com/office/powerpoint/2010/main" val="81423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pPr marL="342900" indent="-342900">
              <a:buFont typeface="Wingdings" panose="05000000000000000000" pitchFamily="2" charset="2"/>
              <a:buChar char="ü"/>
            </a:pPr>
            <a:endParaRPr lang="fr-FR" sz="2800" dirty="0"/>
          </a:p>
          <a:p>
            <a:pPr marL="342900" indent="-342900">
              <a:buFont typeface="Wingdings" panose="05000000000000000000" pitchFamily="2" charset="2"/>
              <a:buChar char="ü"/>
            </a:pPr>
            <a:r>
              <a:rPr lang="fr-FR" sz="2800" dirty="0"/>
              <a:t> Offre complète autour de la data, modulable</a:t>
            </a:r>
          </a:p>
          <a:p>
            <a:pPr marL="342900" indent="-342900">
              <a:buFont typeface="Wingdings" panose="05000000000000000000" pitchFamily="2" charset="2"/>
              <a:buChar char="ü"/>
            </a:pPr>
            <a:endParaRPr lang="fr-FR" sz="2800" dirty="0"/>
          </a:p>
          <a:p>
            <a:pPr marL="342900" indent="-342900">
              <a:buFont typeface="Wingdings" panose="05000000000000000000" pitchFamily="2" charset="2"/>
              <a:buChar char="ü"/>
            </a:pPr>
            <a:r>
              <a:rPr lang="fr-FR" sz="2800" dirty="0"/>
              <a:t>Adaptée à l’entreprise, quel que soit son besoin</a:t>
            </a:r>
          </a:p>
          <a:p>
            <a:pPr marL="342900" indent="-342900">
              <a:buFont typeface="Wingdings" panose="05000000000000000000" pitchFamily="2" charset="2"/>
              <a:buChar char="ü"/>
            </a:pPr>
            <a:endParaRPr lang="fr-FR" sz="2800" dirty="0"/>
          </a:p>
          <a:p>
            <a:pPr marL="342900" indent="-342900">
              <a:buFont typeface="Wingdings" panose="05000000000000000000" pitchFamily="2" charset="2"/>
              <a:buChar char="ü"/>
            </a:pPr>
            <a:r>
              <a:rPr lang="fr-FR" sz="2800" dirty="0"/>
              <a:t> Cloud, On </a:t>
            </a:r>
            <a:r>
              <a:rPr lang="fr-FR" sz="2800" dirty="0" err="1"/>
              <a:t>Premise</a:t>
            </a:r>
            <a:r>
              <a:rPr lang="fr-FR" sz="2800" dirty="0"/>
              <a:t>, hybride</a:t>
            </a:r>
          </a:p>
        </p:txBody>
      </p:sp>
      <p:sp>
        <p:nvSpPr>
          <p:cNvPr id="6" name="Title 5"/>
          <p:cNvSpPr>
            <a:spLocks noGrp="1"/>
          </p:cNvSpPr>
          <p:nvPr>
            <p:ph type="title"/>
          </p:nvPr>
        </p:nvSpPr>
        <p:spPr/>
        <p:txBody>
          <a:bodyPr/>
          <a:lstStyle/>
          <a:p>
            <a:r>
              <a:rPr lang="fr-FR" sz="3200" dirty="0"/>
              <a:t>En résumé</a:t>
            </a:r>
          </a:p>
        </p:txBody>
      </p:sp>
      <p:pic>
        <p:nvPicPr>
          <p:cNvPr id="4" name="Picture 3"/>
          <p:cNvPicPr>
            <a:picLocks noChangeAspect="1"/>
          </p:cNvPicPr>
          <p:nvPr/>
        </p:nvPicPr>
        <p:blipFill>
          <a:blip r:embed="rId3"/>
          <a:stretch>
            <a:fillRect/>
          </a:stretch>
        </p:blipFill>
        <p:spPr>
          <a:xfrm>
            <a:off x="898907" y="6382658"/>
            <a:ext cx="5822185" cy="365792"/>
          </a:xfrm>
          <a:prstGeom prst="rect">
            <a:avLst/>
          </a:prstGeom>
        </p:spPr>
      </p:pic>
    </p:spTree>
    <p:extLst>
      <p:ext uri="{BB962C8B-B14F-4D97-AF65-F5344CB8AC3E}">
        <p14:creationId xmlns:p14="http://schemas.microsoft.com/office/powerpoint/2010/main" val="271870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E0BFC6-4EBF-42CE-A951-E1543B985AE5}"/>
              </a:ext>
            </a:extLst>
          </p:cNvPr>
          <p:cNvSpPr/>
          <p:nvPr/>
        </p:nvSpPr>
        <p:spPr>
          <a:xfrm>
            <a:off x="4837715" y="628156"/>
            <a:ext cx="6939569" cy="5909310"/>
          </a:xfrm>
          <a:prstGeom prst="rect">
            <a:avLst/>
          </a:prstGeom>
        </p:spPr>
        <p:txBody>
          <a:bodyPr wrap="square">
            <a:spAutoFit/>
          </a:bodyPr>
          <a:lstStyle/>
          <a:p>
            <a:pPr algn="just"/>
            <a:r>
              <a:rPr lang="fr-FR" sz="1400" b="1" dirty="0">
                <a:solidFill>
                  <a:srgbClr val="B22222"/>
                </a:solidFill>
                <a:effectLst/>
                <a:latin typeface="Avenir Next LT Pro Demi" panose="020B0704020202020204" pitchFamily="34" charset="0"/>
                <a:ea typeface="Times New Roman" panose="02020603050405020304" pitchFamily="18" charset="0"/>
              </a:rPr>
              <a:t>9h30 - 14h : Campus Cyber | La Défense</a:t>
            </a:r>
          </a:p>
          <a:p>
            <a:pPr algn="just"/>
            <a:endParaRPr lang="fr-FR" sz="1400" b="1" dirty="0">
              <a:effectLst/>
              <a:latin typeface="Avenir Next LT Pro Demi" panose="020B0704020202020204" pitchFamily="34" charset="0"/>
              <a:ea typeface="Calibri" panose="020F0502020204030204" pitchFamily="34" charset="0"/>
            </a:endParaRPr>
          </a:p>
          <a:p>
            <a:pPr marL="0" marR="0" algn="just">
              <a:spcBef>
                <a:spcPts val="0"/>
              </a:spcBef>
              <a:spcAft>
                <a:spcPts val="0"/>
              </a:spcAft>
            </a:pPr>
            <a:r>
              <a:rPr lang="fr-FR" sz="1400" b="1" dirty="0">
                <a:solidFill>
                  <a:srgbClr val="3C4858"/>
                </a:solidFill>
                <a:effectLst/>
                <a:latin typeface="Trebuchet MS" panose="020B0603020202020204" pitchFamily="34" charset="0"/>
              </a:rPr>
              <a:t>L'AUFO &amp; la Communauté OCI :</a:t>
            </a:r>
            <a:endParaRPr lang="fr-FR" sz="1400" dirty="0">
              <a:solidFill>
                <a:srgbClr val="3C4858"/>
              </a:solidFill>
              <a:effectLst/>
              <a:latin typeface="Trebuchet MS" panose="020B0603020202020204" pitchFamily="34" charset="0"/>
            </a:endParaRPr>
          </a:p>
          <a:p>
            <a:pPr marL="0" marR="0" algn="just">
              <a:spcBef>
                <a:spcPts val="0"/>
              </a:spcBef>
              <a:spcAft>
                <a:spcPts val="0"/>
              </a:spcAft>
            </a:pPr>
            <a:r>
              <a:rPr lang="fr-FR" sz="1400" i="1" dirty="0">
                <a:solidFill>
                  <a:srgbClr val="3C4858"/>
                </a:solidFill>
                <a:effectLst/>
                <a:latin typeface="Trebuchet MS" panose="020B0603020202020204" pitchFamily="34" charset="0"/>
              </a:rPr>
              <a:t>Jacques Orsini, Directeur Adjoint | </a:t>
            </a:r>
            <a:r>
              <a:rPr lang="fr-FR" sz="1400" i="1" dirty="0" err="1">
                <a:solidFill>
                  <a:srgbClr val="3C4858"/>
                </a:solidFill>
                <a:effectLst/>
                <a:latin typeface="Trebuchet MS" panose="020B0603020202020204" pitchFamily="34" charset="0"/>
              </a:rPr>
              <a:t>e.sncf</a:t>
            </a:r>
            <a:r>
              <a:rPr lang="fr-FR" sz="1400" i="1" dirty="0">
                <a:solidFill>
                  <a:srgbClr val="3C4858"/>
                </a:solidFill>
                <a:effectLst/>
                <a:latin typeface="Trebuchet MS" panose="020B0603020202020204" pitchFamily="34" charset="0"/>
              </a:rPr>
              <a:t> Solutions</a:t>
            </a:r>
          </a:p>
          <a:p>
            <a:pPr marL="0" marR="0" algn="just">
              <a:spcBef>
                <a:spcPts val="0"/>
              </a:spcBef>
              <a:spcAft>
                <a:spcPts val="0"/>
              </a:spcAft>
            </a:pPr>
            <a:r>
              <a:rPr lang="fr-FR" sz="1400" dirty="0">
                <a:solidFill>
                  <a:srgbClr val="3C4858"/>
                </a:solidFill>
                <a:effectLst/>
                <a:latin typeface="Trebuchet MS" panose="020B0603020202020204" pitchFamily="34" charset="0"/>
              </a:rPr>
              <a:t> </a:t>
            </a:r>
          </a:p>
          <a:p>
            <a:pPr marL="0" marR="0" algn="just">
              <a:spcBef>
                <a:spcPts val="0"/>
              </a:spcBef>
              <a:spcAft>
                <a:spcPts val="0"/>
              </a:spcAft>
            </a:pPr>
            <a:r>
              <a:rPr lang="fr-FR" sz="1400" b="1" dirty="0">
                <a:solidFill>
                  <a:srgbClr val="3C4858"/>
                </a:solidFill>
                <a:effectLst/>
                <a:latin typeface="Trebuchet MS" panose="020B0603020202020204" pitchFamily="34" charset="0"/>
              </a:rPr>
              <a:t>Oracle &amp; le Cloud :</a:t>
            </a:r>
            <a:endParaRPr lang="fr-FR" sz="1400" dirty="0">
              <a:solidFill>
                <a:srgbClr val="3C4858"/>
              </a:solidFill>
              <a:effectLst/>
              <a:latin typeface="Trebuchet MS" panose="020B0603020202020204" pitchFamily="34" charset="0"/>
            </a:endParaRPr>
          </a:p>
          <a:p>
            <a:pPr marL="0" marR="0" algn="just">
              <a:spcBef>
                <a:spcPts val="0"/>
              </a:spcBef>
              <a:spcAft>
                <a:spcPts val="0"/>
              </a:spcAft>
            </a:pPr>
            <a:r>
              <a:rPr lang="fr-FR" sz="1400" i="1" dirty="0">
                <a:solidFill>
                  <a:srgbClr val="3C4858"/>
                </a:solidFill>
                <a:effectLst/>
                <a:latin typeface="Trebuchet MS" panose="020B0603020202020204" pitchFamily="34" charset="0"/>
              </a:rPr>
              <a:t>François Bodin, VP, Head of Cloud | Oracle France Technologies</a:t>
            </a:r>
          </a:p>
          <a:p>
            <a:pPr marL="0" marR="0" algn="just">
              <a:spcBef>
                <a:spcPts val="0"/>
              </a:spcBef>
              <a:spcAft>
                <a:spcPts val="0"/>
              </a:spcAft>
            </a:pPr>
            <a:r>
              <a:rPr lang="fr-FR" sz="1400" dirty="0">
                <a:solidFill>
                  <a:srgbClr val="3C4858"/>
                </a:solidFill>
                <a:effectLst/>
                <a:latin typeface="Trebuchet MS" panose="020B0603020202020204" pitchFamily="34" charset="0"/>
              </a:rPr>
              <a:t> </a:t>
            </a:r>
          </a:p>
          <a:p>
            <a:pPr marL="0" marR="0" algn="just">
              <a:spcBef>
                <a:spcPts val="0"/>
              </a:spcBef>
              <a:spcAft>
                <a:spcPts val="0"/>
              </a:spcAft>
            </a:pPr>
            <a:r>
              <a:rPr lang="fr-FR" sz="1400" b="1" dirty="0">
                <a:solidFill>
                  <a:srgbClr val="3C4858"/>
                </a:solidFill>
                <a:effectLst/>
                <a:latin typeface="Trebuchet MS" panose="020B0603020202020204" pitchFamily="34" charset="0"/>
              </a:rPr>
              <a:t>Retours d'expériences utilisateurs :</a:t>
            </a:r>
            <a:endParaRPr lang="fr-FR" sz="1400" dirty="0">
              <a:solidFill>
                <a:srgbClr val="3C4858"/>
              </a:solidFill>
              <a:effectLst/>
              <a:latin typeface="Trebuchet MS" panose="020B0603020202020204" pitchFamily="34" charset="0"/>
            </a:endParaRPr>
          </a:p>
          <a:p>
            <a:pPr marL="0" marR="0" algn="just">
              <a:spcBef>
                <a:spcPts val="0"/>
              </a:spcBef>
              <a:spcAft>
                <a:spcPts val="0"/>
              </a:spcAft>
            </a:pPr>
            <a:r>
              <a:rPr lang="fr-FR" sz="1400" dirty="0">
                <a:solidFill>
                  <a:srgbClr val="3C4858"/>
                </a:solidFill>
                <a:effectLst/>
                <a:latin typeface="Trebuchet MS" panose="020B0603020202020204" pitchFamily="34" charset="0"/>
              </a:rPr>
              <a:t> </a:t>
            </a:r>
          </a:p>
          <a:p>
            <a:pPr marL="0" marR="0" algn="just">
              <a:spcBef>
                <a:spcPts val="0"/>
              </a:spcBef>
              <a:spcAft>
                <a:spcPts val="0"/>
              </a:spcAft>
              <a:buFont typeface="Arial" panose="020B0604020202020204" pitchFamily="34" charset="0"/>
              <a:buChar char="•"/>
            </a:pPr>
            <a:r>
              <a:rPr lang="fr-FR" sz="1400" b="1" dirty="0">
                <a:solidFill>
                  <a:srgbClr val="3C4858"/>
                </a:solidFill>
                <a:effectLst/>
                <a:latin typeface="Trebuchet MS" panose="020B0603020202020204" pitchFamily="34" charset="0"/>
              </a:rPr>
              <a:t> SNCF</a:t>
            </a:r>
            <a:r>
              <a:rPr lang="fr-FR" sz="1400" dirty="0">
                <a:solidFill>
                  <a:srgbClr val="3C4858"/>
                </a:solidFill>
                <a:effectLst/>
                <a:latin typeface="Trebuchet MS" panose="020B0603020202020204" pitchFamily="34" charset="0"/>
              </a:rPr>
              <a:t> : Migration Lift &amp; Shift d'une instance PeopleSoft on Premise vers Oracle Cloud Infrastructure (OCI) | </a:t>
            </a:r>
            <a:r>
              <a:rPr lang="fr-FR" sz="1400" i="1" dirty="0">
                <a:solidFill>
                  <a:srgbClr val="3C4858"/>
                </a:solidFill>
                <a:effectLst/>
                <a:latin typeface="Trebuchet MS" panose="020B0603020202020204" pitchFamily="34" charset="0"/>
              </a:rPr>
              <a:t>Stéphane </a:t>
            </a:r>
            <a:r>
              <a:rPr lang="fr-FR" sz="1400" i="1" dirty="0" err="1">
                <a:solidFill>
                  <a:srgbClr val="3C4858"/>
                </a:solidFill>
                <a:effectLst/>
                <a:latin typeface="Trebuchet MS" panose="020B0603020202020204" pitchFamily="34" charset="0"/>
              </a:rPr>
              <a:t>Hequet</a:t>
            </a:r>
            <a:r>
              <a:rPr lang="fr-FR" sz="1400" i="1" dirty="0">
                <a:solidFill>
                  <a:srgbClr val="3C4858"/>
                </a:solidFill>
                <a:effectLst/>
                <a:latin typeface="Trebuchet MS" panose="020B0603020202020204" pitchFamily="34" charset="0"/>
              </a:rPr>
              <a:t> et Claude Sirois</a:t>
            </a:r>
            <a:r>
              <a:rPr lang="fr-FR" sz="1400" dirty="0">
                <a:solidFill>
                  <a:srgbClr val="3C4858"/>
                </a:solidFill>
                <a:effectLst/>
                <a:latin typeface="Trebuchet MS" panose="020B0603020202020204" pitchFamily="34" charset="0"/>
              </a:rPr>
              <a:t> présenteront le contexte et les bénéfices de cette migration des environnements finance, logistique &amp; achat.</a:t>
            </a:r>
          </a:p>
          <a:p>
            <a:pPr marL="0" marR="0" algn="just">
              <a:spcBef>
                <a:spcPts val="0"/>
              </a:spcBef>
              <a:spcAft>
                <a:spcPts val="0"/>
              </a:spcAft>
              <a:buFont typeface="Arial" panose="020B0604020202020204" pitchFamily="34" charset="0"/>
              <a:buChar char="•"/>
            </a:pPr>
            <a:r>
              <a:rPr lang="fr-FR" sz="1400" b="1" dirty="0">
                <a:solidFill>
                  <a:srgbClr val="3C4858"/>
                </a:solidFill>
                <a:effectLst/>
                <a:latin typeface="Trebuchet MS" panose="020B0603020202020204" pitchFamily="34" charset="0"/>
              </a:rPr>
              <a:t> </a:t>
            </a:r>
            <a:r>
              <a:rPr lang="fr-FR" sz="1400" b="1" dirty="0" err="1">
                <a:solidFill>
                  <a:srgbClr val="3C4858"/>
                </a:solidFill>
                <a:effectLst/>
                <a:latin typeface="Trebuchet MS" panose="020B0603020202020204" pitchFamily="34" charset="0"/>
              </a:rPr>
              <a:t>STRATOW</a:t>
            </a:r>
            <a:r>
              <a:rPr lang="fr-FR" sz="1400" dirty="0">
                <a:solidFill>
                  <a:srgbClr val="3C4858"/>
                </a:solidFill>
                <a:effectLst/>
                <a:latin typeface="Trebuchet MS" panose="020B0603020202020204" pitchFamily="34" charset="0"/>
              </a:rPr>
              <a:t> : Les bénéfices apportés par OCI pour nos clients | </a:t>
            </a:r>
            <a:r>
              <a:rPr lang="fr-FR" sz="1400" i="1" dirty="0">
                <a:solidFill>
                  <a:srgbClr val="3C4858"/>
                </a:solidFill>
                <a:effectLst/>
                <a:latin typeface="Trebuchet MS" panose="020B0603020202020204" pitchFamily="34" charset="0"/>
              </a:rPr>
              <a:t>Simon Chauvet, Directeur Technique</a:t>
            </a:r>
            <a:r>
              <a:rPr lang="fr-FR" sz="1400" dirty="0">
                <a:solidFill>
                  <a:srgbClr val="3C4858"/>
                </a:solidFill>
                <a:effectLst/>
                <a:latin typeface="Trebuchet MS" panose="020B0603020202020204" pitchFamily="34" charset="0"/>
              </a:rPr>
              <a:t>, détaillera comment la simplicité d’installation de leur solution, permet à </a:t>
            </a:r>
            <a:r>
              <a:rPr lang="fr-FR" sz="1400" dirty="0" err="1">
                <a:solidFill>
                  <a:srgbClr val="3C4858"/>
                </a:solidFill>
                <a:effectLst/>
                <a:latin typeface="Trebuchet MS" panose="020B0603020202020204" pitchFamily="34" charset="0"/>
              </a:rPr>
              <a:t>Stratow</a:t>
            </a:r>
            <a:r>
              <a:rPr lang="fr-FR" sz="1400" dirty="0">
                <a:solidFill>
                  <a:srgbClr val="3C4858"/>
                </a:solidFill>
                <a:effectLst/>
                <a:latin typeface="Trebuchet MS" panose="020B0603020202020204" pitchFamily="34" charset="0"/>
              </a:rPr>
              <a:t> d’apporter plus de valeur à leurs clients.</a:t>
            </a:r>
          </a:p>
          <a:p>
            <a:pPr marL="0" marR="0" algn="just">
              <a:spcBef>
                <a:spcPts val="0"/>
              </a:spcBef>
              <a:spcAft>
                <a:spcPts val="0"/>
              </a:spcAft>
            </a:pPr>
            <a:br>
              <a:rPr lang="fr-FR" sz="1400" dirty="0">
                <a:solidFill>
                  <a:srgbClr val="3C4858"/>
                </a:solidFill>
                <a:effectLst/>
                <a:latin typeface="Trebuchet MS" panose="020B0603020202020204" pitchFamily="34" charset="0"/>
              </a:rPr>
            </a:br>
            <a:r>
              <a:rPr lang="fr-FR" sz="1400" b="1" dirty="0">
                <a:solidFill>
                  <a:srgbClr val="3C4858"/>
                </a:solidFill>
                <a:effectLst/>
                <a:latin typeface="Trebuchet MS" panose="020B0603020202020204" pitchFamily="34" charset="0"/>
              </a:rPr>
              <a:t>Stratégie et nouveautés Oracle Cloud</a:t>
            </a:r>
            <a:endParaRPr lang="fr-FR" sz="1400" dirty="0">
              <a:solidFill>
                <a:srgbClr val="3C4858"/>
              </a:solidFill>
              <a:effectLst/>
              <a:latin typeface="Trebuchet MS" panose="020B0603020202020204" pitchFamily="34" charset="0"/>
            </a:endParaRPr>
          </a:p>
          <a:p>
            <a:pPr marL="0" marR="0" algn="just">
              <a:spcBef>
                <a:spcPts val="0"/>
              </a:spcBef>
              <a:spcAft>
                <a:spcPts val="0"/>
              </a:spcAft>
            </a:pPr>
            <a:r>
              <a:rPr lang="fr-FR" sz="1400" i="1" dirty="0">
                <a:solidFill>
                  <a:srgbClr val="3C4858"/>
                </a:solidFill>
                <a:effectLst/>
                <a:latin typeface="Trebuchet MS" panose="020B0603020202020204" pitchFamily="34" charset="0"/>
              </a:rPr>
              <a:t>Gérôme de </a:t>
            </a:r>
            <a:r>
              <a:rPr lang="fr-FR" sz="1400" i="1" dirty="0" err="1">
                <a:solidFill>
                  <a:srgbClr val="3C4858"/>
                </a:solidFill>
                <a:effectLst/>
                <a:latin typeface="Trebuchet MS" panose="020B0603020202020204" pitchFamily="34" charset="0"/>
              </a:rPr>
              <a:t>Géa</a:t>
            </a:r>
            <a:r>
              <a:rPr lang="fr-FR" sz="1400" i="1" dirty="0">
                <a:solidFill>
                  <a:srgbClr val="3C4858"/>
                </a:solidFill>
                <a:effectLst/>
                <a:latin typeface="Trebuchet MS" panose="020B0603020202020204" pitchFamily="34" charset="0"/>
              </a:rPr>
              <a:t>, Oracle Cloud </a:t>
            </a:r>
            <a:r>
              <a:rPr lang="fr-FR" sz="1400" i="1" dirty="0" err="1">
                <a:solidFill>
                  <a:srgbClr val="3C4858"/>
                </a:solidFill>
                <a:effectLst/>
                <a:latin typeface="Trebuchet MS" panose="020B0603020202020204" pitchFamily="34" charset="0"/>
              </a:rPr>
              <a:t>Strategy</a:t>
            </a:r>
            <a:r>
              <a:rPr lang="fr-FR" sz="1400" i="1" dirty="0">
                <a:solidFill>
                  <a:srgbClr val="3C4858"/>
                </a:solidFill>
                <a:effectLst/>
                <a:latin typeface="Trebuchet MS" panose="020B0603020202020204" pitchFamily="34" charset="0"/>
              </a:rPr>
              <a:t> Senior </a:t>
            </a:r>
            <a:r>
              <a:rPr lang="fr-FR" sz="1400" i="1" dirty="0" err="1">
                <a:solidFill>
                  <a:srgbClr val="3C4858"/>
                </a:solidFill>
                <a:effectLst/>
                <a:latin typeface="Trebuchet MS" panose="020B0603020202020204" pitchFamily="34" charset="0"/>
              </a:rPr>
              <a:t>Director</a:t>
            </a:r>
            <a:endParaRPr lang="fr-FR" sz="1400" i="1" dirty="0">
              <a:solidFill>
                <a:srgbClr val="3C4858"/>
              </a:solidFill>
              <a:effectLst/>
              <a:latin typeface="Trebuchet MS" panose="020B0603020202020204" pitchFamily="34" charset="0"/>
            </a:endParaRPr>
          </a:p>
          <a:p>
            <a:pPr marL="0" marR="0" algn="just">
              <a:spcBef>
                <a:spcPts val="0"/>
              </a:spcBef>
              <a:spcAft>
                <a:spcPts val="0"/>
              </a:spcAft>
              <a:buFont typeface="Arial" panose="020B0604020202020204" pitchFamily="34" charset="0"/>
              <a:buChar char="•"/>
            </a:pPr>
            <a:r>
              <a:rPr lang="fr-FR" sz="1400" dirty="0">
                <a:solidFill>
                  <a:srgbClr val="3C4858"/>
                </a:solidFill>
                <a:effectLst/>
                <a:latin typeface="Trebuchet MS" panose="020B0603020202020204" pitchFamily="34" charset="0"/>
              </a:rPr>
              <a:t> Expansion en Europe et en France</a:t>
            </a:r>
          </a:p>
          <a:p>
            <a:pPr marL="0" marR="0" algn="just">
              <a:spcBef>
                <a:spcPts val="0"/>
              </a:spcBef>
              <a:spcAft>
                <a:spcPts val="0"/>
              </a:spcAft>
              <a:buFont typeface="Arial" panose="020B0604020202020204" pitchFamily="34" charset="0"/>
              <a:buChar char="•"/>
            </a:pPr>
            <a:r>
              <a:rPr lang="fr-FR" sz="1400" dirty="0">
                <a:solidFill>
                  <a:srgbClr val="3C4858"/>
                </a:solidFill>
                <a:effectLst/>
                <a:latin typeface="Trebuchet MS" panose="020B0603020202020204" pitchFamily="34" charset="0"/>
              </a:rPr>
              <a:t> Le parcours vers le cloud des clients Oracle</a:t>
            </a:r>
          </a:p>
          <a:p>
            <a:pPr marL="0" marR="0" algn="just">
              <a:spcBef>
                <a:spcPts val="0"/>
              </a:spcBef>
              <a:spcAft>
                <a:spcPts val="0"/>
              </a:spcAft>
              <a:buFont typeface="Arial" panose="020B0604020202020204" pitchFamily="34" charset="0"/>
              <a:buChar char="•"/>
            </a:pPr>
            <a:r>
              <a:rPr lang="fr-FR" sz="1400" dirty="0">
                <a:solidFill>
                  <a:srgbClr val="3C4858"/>
                </a:solidFill>
                <a:effectLst/>
                <a:latin typeface="Trebuchet MS" panose="020B0603020202020204" pitchFamily="34" charset="0"/>
              </a:rPr>
              <a:t> Multi cloud</a:t>
            </a:r>
          </a:p>
          <a:p>
            <a:pPr marL="0" marR="0" algn="just">
              <a:spcBef>
                <a:spcPts val="0"/>
              </a:spcBef>
              <a:spcAft>
                <a:spcPts val="0"/>
              </a:spcAft>
            </a:pPr>
            <a:r>
              <a:rPr lang="fr-FR" sz="1400" dirty="0">
                <a:solidFill>
                  <a:srgbClr val="3C4858"/>
                </a:solidFill>
                <a:effectLst/>
                <a:latin typeface="Trebuchet MS" panose="020B0603020202020204" pitchFamily="34" charset="0"/>
              </a:rPr>
              <a:t> </a:t>
            </a:r>
          </a:p>
          <a:p>
            <a:pPr marL="0" marR="0" algn="just">
              <a:spcBef>
                <a:spcPts val="0"/>
              </a:spcBef>
              <a:spcAft>
                <a:spcPts val="0"/>
              </a:spcAft>
            </a:pPr>
            <a:r>
              <a:rPr lang="fr-FR" sz="1400" b="1" dirty="0">
                <a:solidFill>
                  <a:srgbClr val="3C4858"/>
                </a:solidFill>
                <a:effectLst/>
                <a:latin typeface="Trebuchet MS" panose="020B0603020202020204" pitchFamily="34" charset="0"/>
              </a:rPr>
              <a:t>Le Campus Cyber</a:t>
            </a:r>
            <a:endParaRPr lang="fr-FR" sz="1400" dirty="0">
              <a:solidFill>
                <a:srgbClr val="3C4858"/>
              </a:solidFill>
              <a:effectLst/>
              <a:latin typeface="Trebuchet MS" panose="020B0603020202020204" pitchFamily="34" charset="0"/>
            </a:endParaRPr>
          </a:p>
          <a:p>
            <a:pPr marL="0" marR="0" algn="just">
              <a:spcBef>
                <a:spcPts val="0"/>
              </a:spcBef>
              <a:spcAft>
                <a:spcPts val="0"/>
              </a:spcAft>
            </a:pPr>
            <a:r>
              <a:rPr lang="fr-FR" sz="1400" i="1" dirty="0">
                <a:solidFill>
                  <a:srgbClr val="3C4858"/>
                </a:solidFill>
                <a:effectLst/>
                <a:latin typeface="Trebuchet MS" panose="020B0603020202020204" pitchFamily="34" charset="0"/>
              </a:rPr>
              <a:t>Yann Bonnet </a:t>
            </a:r>
            <a:r>
              <a:rPr lang="fr-FR" sz="1400" i="1" dirty="0" err="1">
                <a:solidFill>
                  <a:srgbClr val="3C4858"/>
                </a:solidFill>
                <a:effectLst/>
                <a:latin typeface="Trebuchet MS" panose="020B0603020202020204" pitchFamily="34" charset="0"/>
              </a:rPr>
              <a:t>Deputy</a:t>
            </a:r>
            <a:r>
              <a:rPr lang="fr-FR" sz="1400" i="1" dirty="0">
                <a:solidFill>
                  <a:srgbClr val="3C4858"/>
                </a:solidFill>
                <a:effectLst/>
                <a:latin typeface="Trebuchet MS" panose="020B0603020202020204" pitchFamily="34" charset="0"/>
              </a:rPr>
              <a:t>, CEO | Campus Cyber</a:t>
            </a:r>
          </a:p>
          <a:p>
            <a:endParaRPr lang="fr-FR" sz="1400" b="1" i="1" dirty="0">
              <a:latin typeface="Avenir Next LT Pro Demi" panose="020B0704020202020204" pitchFamily="34" charset="0"/>
              <a:ea typeface="Cambria" panose="02040503050406030204" pitchFamily="18" charset="0"/>
            </a:endParaRPr>
          </a:p>
        </p:txBody>
      </p:sp>
      <p:sp>
        <p:nvSpPr>
          <p:cNvPr id="6" name="Rectangle : coins arrondis 5">
            <a:extLst>
              <a:ext uri="{FF2B5EF4-FFF2-40B4-BE49-F238E27FC236}">
                <a16:creationId xmlns:a16="http://schemas.microsoft.com/office/drawing/2014/main" id="{8204A2D4-0B19-B357-9A26-8575FCB825E0}"/>
              </a:ext>
            </a:extLst>
          </p:cNvPr>
          <p:cNvSpPr/>
          <p:nvPr/>
        </p:nvSpPr>
        <p:spPr>
          <a:xfrm>
            <a:off x="0" y="0"/>
            <a:ext cx="4399057" cy="6858000"/>
          </a:xfrm>
          <a:prstGeom prst="roundRect">
            <a:avLst>
              <a:gd name="adj" fmla="val 0"/>
            </a:avLst>
          </a:prstGeom>
          <a:solidFill>
            <a:srgbClr val="E3A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7" name="Titre 1">
            <a:extLst>
              <a:ext uri="{FF2B5EF4-FFF2-40B4-BE49-F238E27FC236}">
                <a16:creationId xmlns:a16="http://schemas.microsoft.com/office/drawing/2014/main" id="{9DEA13B5-6EC6-4083-8F1E-77CD92696FF7}"/>
              </a:ext>
            </a:extLst>
          </p:cNvPr>
          <p:cNvSpPr txBox="1">
            <a:spLocks/>
          </p:cNvSpPr>
          <p:nvPr/>
        </p:nvSpPr>
        <p:spPr>
          <a:xfrm>
            <a:off x="195476" y="0"/>
            <a:ext cx="4008103" cy="6857999"/>
          </a:xfrm>
          <a:prstGeom prst="rect">
            <a:avLst/>
          </a:prstGeom>
        </p:spPr>
        <p:txBody>
          <a:bodyPr vert="horz" lIns="91440" tIns="45720" rIns="91440" bIns="45720" rtlCol="0" anchor="ctr">
            <a:noAutofit/>
          </a:bodyPr>
          <a:lstStyle>
            <a:lvl1pPr algn="r" rtl="0" eaLnBrk="1" fontAlgn="base" hangingPunct="1">
              <a:lnSpc>
                <a:spcPts val="2800"/>
              </a:lnSpc>
              <a:spcBef>
                <a:spcPct val="0"/>
              </a:spcBef>
              <a:spcAft>
                <a:spcPct val="0"/>
              </a:spcAft>
              <a:defRPr sz="3200" b="0" i="0">
                <a:solidFill>
                  <a:schemeClr val="bg1"/>
                </a:solidFill>
                <a:latin typeface="Noto Sans UI" panose="020B0502040504020204" pitchFamily="34" charset="0"/>
                <a:ea typeface="+mj-ea"/>
                <a:cs typeface="Poppins" panose="02000000000000000000" pitchFamily="2" charset="77"/>
              </a:defRPr>
            </a:lvl1pPr>
            <a:lvl2pPr algn="r" rtl="0" eaLnBrk="1" fontAlgn="base" hangingPunct="1">
              <a:spcBef>
                <a:spcPct val="0"/>
              </a:spcBef>
              <a:spcAft>
                <a:spcPct val="0"/>
              </a:spcAft>
              <a:defRPr sz="2100" b="1">
                <a:solidFill>
                  <a:schemeClr val="bg1"/>
                </a:solidFill>
                <a:latin typeface="Arial" charset="0"/>
              </a:defRPr>
            </a:lvl2pPr>
            <a:lvl3pPr algn="r" rtl="0" eaLnBrk="1" fontAlgn="base" hangingPunct="1">
              <a:spcBef>
                <a:spcPct val="0"/>
              </a:spcBef>
              <a:spcAft>
                <a:spcPct val="0"/>
              </a:spcAft>
              <a:defRPr sz="2100" b="1">
                <a:solidFill>
                  <a:schemeClr val="bg1"/>
                </a:solidFill>
                <a:latin typeface="Arial" charset="0"/>
              </a:defRPr>
            </a:lvl3pPr>
            <a:lvl4pPr algn="r" rtl="0" eaLnBrk="1" fontAlgn="base" hangingPunct="1">
              <a:spcBef>
                <a:spcPct val="0"/>
              </a:spcBef>
              <a:spcAft>
                <a:spcPct val="0"/>
              </a:spcAft>
              <a:defRPr sz="2100" b="1">
                <a:solidFill>
                  <a:schemeClr val="bg1"/>
                </a:solidFill>
                <a:latin typeface="Arial" charset="0"/>
              </a:defRPr>
            </a:lvl4pPr>
            <a:lvl5pPr algn="r" rtl="0" eaLnBrk="1" fontAlgn="base" hangingPunct="1">
              <a:spcBef>
                <a:spcPct val="0"/>
              </a:spcBef>
              <a:spcAft>
                <a:spcPct val="0"/>
              </a:spcAft>
              <a:defRPr sz="2100" b="1">
                <a:solidFill>
                  <a:schemeClr val="bg1"/>
                </a:solidFill>
                <a:latin typeface="Arial" charset="0"/>
              </a:defRPr>
            </a:lvl5pPr>
            <a:lvl6pPr marL="342891" algn="r" rtl="0" eaLnBrk="1" fontAlgn="base" hangingPunct="1">
              <a:spcBef>
                <a:spcPct val="0"/>
              </a:spcBef>
              <a:spcAft>
                <a:spcPct val="0"/>
              </a:spcAft>
              <a:defRPr sz="2100" b="1">
                <a:solidFill>
                  <a:schemeClr val="bg1"/>
                </a:solidFill>
                <a:latin typeface="Arial" charset="0"/>
              </a:defRPr>
            </a:lvl6pPr>
            <a:lvl7pPr marL="685783" algn="r" rtl="0" eaLnBrk="1" fontAlgn="base" hangingPunct="1">
              <a:spcBef>
                <a:spcPct val="0"/>
              </a:spcBef>
              <a:spcAft>
                <a:spcPct val="0"/>
              </a:spcAft>
              <a:defRPr sz="2100" b="1">
                <a:solidFill>
                  <a:schemeClr val="bg1"/>
                </a:solidFill>
                <a:latin typeface="Arial" charset="0"/>
              </a:defRPr>
            </a:lvl7pPr>
            <a:lvl8pPr marL="1028674" algn="r" rtl="0" eaLnBrk="1" fontAlgn="base" hangingPunct="1">
              <a:spcBef>
                <a:spcPct val="0"/>
              </a:spcBef>
              <a:spcAft>
                <a:spcPct val="0"/>
              </a:spcAft>
              <a:defRPr sz="2100" b="1">
                <a:solidFill>
                  <a:schemeClr val="bg1"/>
                </a:solidFill>
                <a:latin typeface="Arial" charset="0"/>
              </a:defRPr>
            </a:lvl8pPr>
            <a:lvl9pPr marL="1371566" algn="r" rtl="0" eaLnBrk="1" fontAlgn="base" hangingPunct="1">
              <a:spcBef>
                <a:spcPct val="0"/>
              </a:spcBef>
              <a:spcAft>
                <a:spcPct val="0"/>
              </a:spcAft>
              <a:defRPr sz="2100" b="1">
                <a:solidFill>
                  <a:schemeClr val="bg1"/>
                </a:solidFill>
                <a:latin typeface="Arial" charset="0"/>
              </a:defRPr>
            </a:lvl9pPr>
          </a:lstStyle>
          <a:p>
            <a:pPr algn="ctr">
              <a:lnSpc>
                <a:spcPct val="100000"/>
              </a:lnSpc>
            </a:pPr>
            <a:r>
              <a:rPr lang="fr-FR" sz="4000" kern="0" dirty="0">
                <a:latin typeface="Avenir Next LT Pro Demi" panose="020B0704020202020204" pitchFamily="34" charset="0"/>
                <a:ea typeface="Cambria" panose="02040503050406030204" pitchFamily="18" charset="0"/>
              </a:rPr>
              <a:t>Prochain événement </a:t>
            </a:r>
          </a:p>
          <a:p>
            <a:pPr algn="ctr">
              <a:lnSpc>
                <a:spcPct val="100000"/>
              </a:lnSpc>
            </a:pPr>
            <a:endParaRPr lang="fr-FR" sz="4000" kern="0" dirty="0">
              <a:latin typeface="Avenir Next LT Pro Demi" panose="020B0704020202020204" pitchFamily="34" charset="0"/>
              <a:ea typeface="Cambria" panose="02040503050406030204" pitchFamily="18" charset="0"/>
            </a:endParaRPr>
          </a:p>
          <a:p>
            <a:pPr algn="ctr">
              <a:lnSpc>
                <a:spcPct val="100000"/>
              </a:lnSpc>
            </a:pPr>
            <a:r>
              <a:rPr lang="fr-FR" sz="4000" kern="0" dirty="0">
                <a:latin typeface="Avenir Next LT Pro Demi" panose="020B0704020202020204" pitchFamily="34" charset="0"/>
                <a:ea typeface="Cambria" panose="02040503050406030204" pitchFamily="18" charset="0"/>
              </a:rPr>
              <a:t>Lancement Communauté OCI</a:t>
            </a:r>
          </a:p>
          <a:p>
            <a:pPr algn="ctr">
              <a:lnSpc>
                <a:spcPct val="100000"/>
              </a:lnSpc>
            </a:pPr>
            <a:br>
              <a:rPr lang="fr-FR" sz="2800" kern="0" dirty="0">
                <a:latin typeface="Avenir Next LT Pro Demi" panose="020B0704020202020204" pitchFamily="34" charset="0"/>
                <a:ea typeface="Cambria" panose="02040503050406030204" pitchFamily="18" charset="0"/>
              </a:rPr>
            </a:br>
            <a:r>
              <a:rPr lang="fr-FR" sz="2400" i="1" kern="0" dirty="0">
                <a:latin typeface="Avenir Next LT Pro Demi" panose="020B0704020202020204" pitchFamily="34" charset="0"/>
                <a:ea typeface="Cambria" panose="02040503050406030204" pitchFamily="18" charset="0"/>
              </a:rPr>
              <a:t>Mardi 28 juin</a:t>
            </a:r>
            <a:endParaRPr lang="fr-FR" sz="2800" i="1" kern="0" dirty="0">
              <a:latin typeface="Avenir Next LT Pro Demi" panose="020B0704020202020204" pitchFamily="34" charset="0"/>
              <a:ea typeface="Cambria" panose="02040503050406030204" pitchFamily="18" charset="0"/>
            </a:endParaRPr>
          </a:p>
        </p:txBody>
      </p:sp>
    </p:spTree>
    <p:extLst>
      <p:ext uri="{BB962C8B-B14F-4D97-AF65-F5344CB8AC3E}">
        <p14:creationId xmlns:p14="http://schemas.microsoft.com/office/powerpoint/2010/main" val="16307266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9E4D8F6-B5B7-544C-883C-7DD49D59DEBD}"/>
              </a:ext>
            </a:extLst>
          </p:cNvPr>
          <p:cNvSpPr/>
          <p:nvPr/>
        </p:nvSpPr>
        <p:spPr>
          <a:xfrm>
            <a:off x="0" y="0"/>
            <a:ext cx="5413874" cy="6858000"/>
          </a:xfrm>
          <a:prstGeom prst="rect">
            <a:avLst/>
          </a:prstGeom>
          <a:solidFill>
            <a:srgbClr val="282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24" name="Image 23">
            <a:extLst>
              <a:ext uri="{FF2B5EF4-FFF2-40B4-BE49-F238E27FC236}">
                <a16:creationId xmlns:a16="http://schemas.microsoft.com/office/drawing/2014/main" id="{9CCE8691-C226-364A-8AB4-19B3B8EE79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0"/>
            <a:ext cx="12192000" cy="275085"/>
          </a:xfrm>
          <a:prstGeom prst="rect">
            <a:avLst/>
          </a:prstGeom>
        </p:spPr>
      </p:pic>
      <p:sp>
        <p:nvSpPr>
          <p:cNvPr id="13" name="TextBox 22">
            <a:extLst>
              <a:ext uri="{FF2B5EF4-FFF2-40B4-BE49-F238E27FC236}">
                <a16:creationId xmlns:a16="http://schemas.microsoft.com/office/drawing/2014/main" id="{52FFF1EF-BBC9-D744-98B3-DF13A7A78D0F}"/>
              </a:ext>
            </a:extLst>
          </p:cNvPr>
          <p:cNvSpPr txBox="1"/>
          <p:nvPr/>
        </p:nvSpPr>
        <p:spPr>
          <a:xfrm>
            <a:off x="371335" y="1629407"/>
            <a:ext cx="4671206" cy="724427"/>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Oracle Sans" panose="020B0503020204020204" pitchFamily="34" charset="0"/>
                <a:ea typeface="+mn-ea"/>
                <a:cs typeface="Oracle Sans" panose="020B0503020204020204" pitchFamily="34" charset="0"/>
              </a:rPr>
              <a:t>Ques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Oracle Sans" panose="020B0503020204020204" pitchFamily="34" charset="0"/>
                <a:ea typeface="+mn-ea"/>
                <a:cs typeface="Oracle Sans" panose="020B0503020204020204" pitchFamily="34" charset="0"/>
              </a:rPr>
              <a:t>&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err="1">
                <a:ln>
                  <a:noFill/>
                </a:ln>
                <a:solidFill>
                  <a:prstClr val="white"/>
                </a:solidFill>
                <a:effectLst/>
                <a:uLnTx/>
                <a:uFillTx/>
                <a:latin typeface="Oracle Sans" panose="020B0503020204020204" pitchFamily="34" charset="0"/>
                <a:ea typeface="+mn-ea"/>
                <a:cs typeface="Oracle Sans" panose="020B0503020204020204" pitchFamily="34" charset="0"/>
              </a:rPr>
              <a:t>Réponses</a:t>
            </a:r>
            <a:endParaRPr kumimoji="0" lang="en-US" sz="4800" b="1" i="0" u="none" strike="noStrike" kern="1200" cap="none" spc="0" normalizeH="0" baseline="0" noProof="0" dirty="0">
              <a:ln>
                <a:noFill/>
              </a:ln>
              <a:solidFill>
                <a:prstClr val="white"/>
              </a:solidFill>
              <a:effectLst/>
              <a:uLnTx/>
              <a:uFillTx/>
              <a:latin typeface="Oracle Sans" panose="020B0503020204020204" pitchFamily="34" charset="0"/>
              <a:ea typeface="+mn-ea"/>
              <a:cs typeface="Oracle Sans" panose="020B0503020204020204" pitchFamily="34" charset="0"/>
            </a:endParaRPr>
          </a:p>
        </p:txBody>
      </p:sp>
      <p:sp>
        <p:nvSpPr>
          <p:cNvPr id="20" name="Footer Placeholder 12">
            <a:extLst>
              <a:ext uri="{FF2B5EF4-FFF2-40B4-BE49-F238E27FC236}">
                <a16:creationId xmlns:a16="http://schemas.microsoft.com/office/drawing/2014/main" id="{CF607044-76E3-A64D-9086-3E102A4034B8}"/>
              </a:ext>
            </a:extLst>
          </p:cNvPr>
          <p:cNvSpPr txBox="1">
            <a:spLocks/>
          </p:cNvSpPr>
          <p:nvPr/>
        </p:nvSpPr>
        <p:spPr>
          <a:xfrm>
            <a:off x="1127758" y="6423978"/>
            <a:ext cx="90000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a:ea typeface="+mn-ea"/>
                <a:cs typeface="Oracle Sans" panose="020B0503020204020204" pitchFamily="34" charset="0"/>
              </a:rPr>
              <a:t>Copyright © 2020 Oracle and/or its affiliates</a:t>
            </a:r>
          </a:p>
        </p:txBody>
      </p:sp>
      <p:pic>
        <p:nvPicPr>
          <p:cNvPr id="3" name="Image 2">
            <a:extLst>
              <a:ext uri="{FF2B5EF4-FFF2-40B4-BE49-F238E27FC236}">
                <a16:creationId xmlns:a16="http://schemas.microsoft.com/office/drawing/2014/main" id="{4B0C35D8-8CA5-0046-A3E4-C75CE0660F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7931" y="4978880"/>
            <a:ext cx="1566749" cy="480133"/>
          </a:xfrm>
          <a:prstGeom prst="rect">
            <a:avLst/>
          </a:prstGeom>
        </p:spPr>
      </p:pic>
      <p:sp>
        <p:nvSpPr>
          <p:cNvPr id="34" name="Rectangle 33">
            <a:extLst>
              <a:ext uri="{FF2B5EF4-FFF2-40B4-BE49-F238E27FC236}">
                <a16:creationId xmlns:a16="http://schemas.microsoft.com/office/drawing/2014/main" id="{9D8FF6C0-8542-C144-95B6-3036DFE5B2BC}"/>
              </a:ext>
            </a:extLst>
          </p:cNvPr>
          <p:cNvSpPr/>
          <p:nvPr/>
        </p:nvSpPr>
        <p:spPr>
          <a:xfrm>
            <a:off x="2278778" y="4289428"/>
            <a:ext cx="849926" cy="118872"/>
          </a:xfrm>
          <a:prstGeom prst="rect">
            <a:avLst/>
          </a:prstGeom>
          <a:solidFill>
            <a:srgbClr val="AE562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Oracle Sans"/>
              <a:ea typeface="+mn-ea"/>
              <a:cs typeface="+mn-cs"/>
            </a:endParaRPr>
          </a:p>
        </p:txBody>
      </p:sp>
    </p:spTree>
    <p:extLst>
      <p:ext uri="{BB962C8B-B14F-4D97-AF65-F5344CB8AC3E}">
        <p14:creationId xmlns:p14="http://schemas.microsoft.com/office/powerpoint/2010/main" val="35252726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9D8E3EF-F7C5-0127-9D90-D6F818E3AD6E}"/>
              </a:ext>
            </a:extLst>
          </p:cNvPr>
          <p:cNvSpPr>
            <a:spLocks noGrp="1"/>
          </p:cNvSpPr>
          <p:nvPr>
            <p:ph type="sldNum" sz="quarter" idx="12"/>
          </p:nvPr>
        </p:nvSpPr>
        <p:spPr/>
        <p:txBody>
          <a:bodyPr/>
          <a:lstStyle/>
          <a:p>
            <a:fld id="{C60638B9-5C1C-4816-9EFB-66EE4C45AA8E}" type="slidenum">
              <a:rPr lang="fr-FR" smtClean="0"/>
              <a:t>31</a:t>
            </a:fld>
            <a:endParaRPr lang="fr-FR"/>
          </a:p>
        </p:txBody>
      </p:sp>
      <p:pic>
        <p:nvPicPr>
          <p:cNvPr id="4" name="Image 3">
            <a:extLst>
              <a:ext uri="{FF2B5EF4-FFF2-40B4-BE49-F238E27FC236}">
                <a16:creationId xmlns:a16="http://schemas.microsoft.com/office/drawing/2014/main" id="{4ADE3439-3680-54BD-6AFA-23B9E06BCA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90359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D829C2-371C-68A9-9A36-5A7580768778}"/>
              </a:ext>
            </a:extLst>
          </p:cNvPr>
          <p:cNvSpPr/>
          <p:nvPr/>
        </p:nvSpPr>
        <p:spPr bwMode="auto">
          <a:xfrm>
            <a:off x="0" y="0"/>
            <a:ext cx="7490298" cy="6926094"/>
          </a:xfrm>
          <a:prstGeom prst="rect">
            <a:avLst/>
          </a:prstGeom>
          <a:solidFill>
            <a:srgbClr val="E3AC6F"/>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chemeClr val="tx1"/>
              </a:solidFill>
              <a:effectLst/>
              <a:latin typeface="Arial" charset="0"/>
            </a:endParaRPr>
          </a:p>
        </p:txBody>
      </p:sp>
      <p:pic>
        <p:nvPicPr>
          <p:cNvPr id="5" name="Image 4">
            <a:extLst>
              <a:ext uri="{FF2B5EF4-FFF2-40B4-BE49-F238E27FC236}">
                <a16:creationId xmlns:a16="http://schemas.microsoft.com/office/drawing/2014/main" id="{39124331-8D8E-49B9-8DE2-5F38709F8F3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39869" y="4747491"/>
            <a:ext cx="3453846" cy="800214"/>
          </a:xfrm>
          <a:prstGeom prst="rect">
            <a:avLst/>
          </a:prstGeom>
        </p:spPr>
      </p:pic>
      <p:pic>
        <p:nvPicPr>
          <p:cNvPr id="3" name="Image 2">
            <a:extLst>
              <a:ext uri="{FF2B5EF4-FFF2-40B4-BE49-F238E27FC236}">
                <a16:creationId xmlns:a16="http://schemas.microsoft.com/office/drawing/2014/main" id="{A2949724-4177-4FD8-85BC-7637D20791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4130" y="5727607"/>
            <a:ext cx="2947031" cy="619221"/>
          </a:xfrm>
          <a:prstGeom prst="rect">
            <a:avLst/>
          </a:prstGeom>
        </p:spPr>
      </p:pic>
      <p:pic>
        <p:nvPicPr>
          <p:cNvPr id="4" name="Image 3" descr="Une image contenant texte&#10;&#10;Description générée automatiquement">
            <a:extLst>
              <a:ext uri="{FF2B5EF4-FFF2-40B4-BE49-F238E27FC236}">
                <a16:creationId xmlns:a16="http://schemas.microsoft.com/office/drawing/2014/main" id="{EEB25CDC-F498-407D-8DEF-6B401A0738A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3158" b="24436"/>
          <a:stretch/>
        </p:blipFill>
        <p:spPr>
          <a:xfrm>
            <a:off x="718302" y="1519287"/>
            <a:ext cx="6120283" cy="381942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ZoneTexte 5">
            <a:extLst>
              <a:ext uri="{FF2B5EF4-FFF2-40B4-BE49-F238E27FC236}">
                <a16:creationId xmlns:a16="http://schemas.microsoft.com/office/drawing/2014/main" id="{D23CD6DC-1684-1492-33A6-90CD5F400D4B}"/>
              </a:ext>
            </a:extLst>
          </p:cNvPr>
          <p:cNvSpPr txBox="1"/>
          <p:nvPr/>
        </p:nvSpPr>
        <p:spPr>
          <a:xfrm>
            <a:off x="7670894" y="1059120"/>
            <a:ext cx="4167538"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all" spc="0" normalizeH="0" baseline="0" noProof="0" dirty="0">
                <a:ln>
                  <a:noFill/>
                </a:ln>
                <a:solidFill>
                  <a:srgbClr val="672F09"/>
                </a:solidFill>
                <a:effectLst/>
                <a:uLnTx/>
                <a:uFillTx/>
                <a:latin typeface="Avenir Next LT Pro" panose="020B0504020202020204" pitchFamily="34" charset="0"/>
              </a:rPr>
              <a:t>VALORISEZ VOS REALIS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1" cap="all" dirty="0">
              <a:solidFill>
                <a:srgbClr val="672F09"/>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spc="0" normalizeH="0" noProof="0" dirty="0">
                <a:ln>
                  <a:noFill/>
                </a:ln>
                <a:solidFill>
                  <a:srgbClr val="672F09"/>
                </a:solidFill>
                <a:effectLst/>
                <a:uLnTx/>
                <a:uFillTx/>
                <a:latin typeface="Avenir Next LT Pro Light" panose="020B0304020202020204" pitchFamily="34" charset="0"/>
                <a:ea typeface="+mn-ea"/>
                <a:cs typeface="+mn-cs"/>
              </a:rPr>
              <a:t>Vous avez mené un projet dont votre équipe et vous êtes fier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dirty="0">
                <a:solidFill>
                  <a:srgbClr val="672F09"/>
                </a:solidFill>
                <a:latin typeface="Avenir Next LT Pro Light" panose="020B0304020202020204" pitchFamily="34" charset="0"/>
              </a:rPr>
              <a:t>gain de temps, agilité</a:t>
            </a:r>
            <a:r>
              <a:rPr kumimoji="0" lang="fr-FR" sz="1800" b="1" i="0" u="none" strike="noStrike" kern="1200" spc="0" normalizeH="0" noProof="0" dirty="0">
                <a:ln>
                  <a:noFill/>
                </a:ln>
                <a:solidFill>
                  <a:srgbClr val="672F09"/>
                </a:solidFill>
                <a:effectLst/>
                <a:uLnTx/>
                <a:uFillTx/>
                <a:latin typeface="Avenir Next LT Pro Light" panose="020B0304020202020204" pitchFamily="34" charset="0"/>
                <a:ea typeface="+mn-ea"/>
                <a:cs typeface="+mn-cs"/>
              </a:rPr>
              <a:t>, efficacité, productivité, ROI, bénéfice utilisateur interne et/ou cl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spc="0" normalizeH="0" noProof="0" dirty="0">
              <a:ln>
                <a:noFill/>
              </a:ln>
              <a:solidFill>
                <a:srgbClr val="672F09"/>
              </a:solidFill>
              <a:effectLst/>
              <a:uLnTx/>
              <a:uFillTx/>
              <a:latin typeface="Avenir Next LT Pro Light" panose="020B03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spc="0" normalizeH="0" noProof="0" dirty="0">
                <a:ln>
                  <a:noFill/>
                </a:ln>
                <a:solidFill>
                  <a:srgbClr val="672F09"/>
                </a:solidFill>
                <a:effectLst/>
                <a:uLnTx/>
                <a:uFillTx/>
                <a:latin typeface="Avenir Next LT Pro Demi" panose="020B0704020202020204" pitchFamily="34" charset="0"/>
              </a:rPr>
              <a:t>Soyez candidat pour cette nouvelle édition !</a:t>
            </a:r>
          </a:p>
        </p:txBody>
      </p:sp>
    </p:spTree>
    <p:extLst>
      <p:ext uri="{BB962C8B-B14F-4D97-AF65-F5344CB8AC3E}">
        <p14:creationId xmlns:p14="http://schemas.microsoft.com/office/powerpoint/2010/main" val="1390095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6">
            <a:extLst>
              <a:ext uri="{FF2B5EF4-FFF2-40B4-BE49-F238E27FC236}">
                <a16:creationId xmlns:a16="http://schemas.microsoft.com/office/drawing/2014/main" id="{79B02997-3959-46A7-9ADC-BAD2246F9E7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5B868D-AA83-4E89-970C-E7916C2FF7E8}" type="slidenum">
              <a:rPr lang="fr-FR" smtClean="0"/>
              <a:pPr/>
              <a:t>5</a:t>
            </a:fld>
            <a:endParaRPr lang="fr-FR"/>
          </a:p>
        </p:txBody>
      </p:sp>
      <p:sp>
        <p:nvSpPr>
          <p:cNvPr id="17" name="ZoneTexte 16">
            <a:extLst>
              <a:ext uri="{FF2B5EF4-FFF2-40B4-BE49-F238E27FC236}">
                <a16:creationId xmlns:a16="http://schemas.microsoft.com/office/drawing/2014/main" id="{13E8FD87-B10E-3768-373D-A145B936A7F5}"/>
              </a:ext>
            </a:extLst>
          </p:cNvPr>
          <p:cNvSpPr txBox="1"/>
          <p:nvPr/>
        </p:nvSpPr>
        <p:spPr>
          <a:xfrm>
            <a:off x="1068877" y="1012954"/>
            <a:ext cx="9499189" cy="4832092"/>
          </a:xfrm>
          <a:prstGeom prst="rect">
            <a:avLst/>
          </a:prstGeom>
          <a:noFill/>
        </p:spPr>
        <p:txBody>
          <a:bodyPr wrap="square" rtlCol="0">
            <a:spAutoFit/>
          </a:bodyPr>
          <a:lstStyle/>
          <a:p>
            <a:pPr algn="just"/>
            <a:r>
              <a:rPr lang="fr-FR" sz="2400" b="1" dirty="0">
                <a:solidFill>
                  <a:srgbClr val="672F09"/>
                </a:solidFill>
                <a:latin typeface="Avenir Next LT Pro Light" panose="020B0304020202020204" pitchFamily="34" charset="0"/>
              </a:rPr>
              <a:t>Les Trophées Oracle des Clubs Utilisateurs ont pour objectif </a:t>
            </a:r>
          </a:p>
          <a:p>
            <a:pPr algn="just"/>
            <a:r>
              <a:rPr lang="fr-FR" sz="2400" b="1" dirty="0">
                <a:solidFill>
                  <a:srgbClr val="672F09"/>
                </a:solidFill>
                <a:latin typeface="Avenir Next LT Pro Demi" panose="020B0704020202020204" pitchFamily="34" charset="0"/>
              </a:rPr>
              <a:t>la valorisation des réalisations</a:t>
            </a:r>
            <a:r>
              <a:rPr lang="fr-FR" sz="2400" b="1" dirty="0">
                <a:solidFill>
                  <a:srgbClr val="672F09"/>
                </a:solidFill>
                <a:latin typeface="Avenir Next LT Pro Light" panose="020B0304020202020204" pitchFamily="34" charset="0"/>
              </a:rPr>
              <a:t>* mises en œuvre </a:t>
            </a:r>
          </a:p>
          <a:p>
            <a:pPr algn="just"/>
            <a:r>
              <a:rPr lang="fr-FR" sz="2400" b="1" dirty="0">
                <a:solidFill>
                  <a:srgbClr val="672F09"/>
                </a:solidFill>
                <a:latin typeface="Avenir Next LT Pro Light" panose="020B0304020202020204" pitchFamily="34" charset="0"/>
              </a:rPr>
              <a:t>par les utilisateurs, avec les solutions Oracle, quelles qu’elles soient.</a:t>
            </a:r>
          </a:p>
          <a:p>
            <a:pPr algn="just"/>
            <a:endParaRPr lang="fr-FR" sz="2400" b="1" dirty="0">
              <a:solidFill>
                <a:srgbClr val="672F09"/>
              </a:solidFill>
              <a:latin typeface="Avenir Next LT Pro Light" panose="020B0304020202020204" pitchFamily="34" charset="0"/>
            </a:endParaRPr>
          </a:p>
          <a:p>
            <a:pPr algn="just"/>
            <a:r>
              <a:rPr lang="fr-FR" sz="2400" b="1" dirty="0">
                <a:solidFill>
                  <a:srgbClr val="672F09"/>
                </a:solidFill>
                <a:latin typeface="Avenir Next LT Pro Light" panose="020B0304020202020204" pitchFamily="34" charset="0"/>
              </a:rPr>
              <a:t>Les gagnants seront révélés lors de la JU 2022 organisée le mardi 11 octobre au Pavillon Gabriel sur le thème : </a:t>
            </a:r>
          </a:p>
          <a:p>
            <a:pPr algn="just"/>
            <a:endParaRPr lang="fr-FR" sz="2400" b="1" dirty="0">
              <a:solidFill>
                <a:srgbClr val="672F09"/>
              </a:solidFill>
              <a:latin typeface="Avenir Next LT Pro Light" panose="020B03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all" spc="0" normalizeH="0" baseline="0" noProof="0" dirty="0">
                <a:ln>
                  <a:noFill/>
                </a:ln>
                <a:solidFill>
                  <a:srgbClr val="672F09"/>
                </a:solidFill>
                <a:effectLst/>
                <a:uLnTx/>
                <a:uFillTx/>
                <a:latin typeface="Avenir Next LT Pro" panose="020B0504020202020204" pitchFamily="34" charset="0"/>
              </a:rPr>
              <a:t>Concilier innovation technologiqu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all" spc="0" normalizeH="0" baseline="0" noProof="0" dirty="0">
                <a:ln>
                  <a:noFill/>
                </a:ln>
                <a:solidFill>
                  <a:srgbClr val="672F09"/>
                </a:solidFill>
                <a:effectLst/>
                <a:uLnTx/>
                <a:uFillTx/>
                <a:latin typeface="Avenir Next LT Pro" panose="020B0504020202020204" pitchFamily="34" charset="0"/>
              </a:rPr>
              <a:t>avec l'innovation social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all" spc="0" normalizeH="0" baseline="0" noProof="0" dirty="0">
                <a:ln>
                  <a:noFill/>
                </a:ln>
                <a:solidFill>
                  <a:srgbClr val="672F09"/>
                </a:solidFill>
                <a:effectLst/>
                <a:uLnTx/>
                <a:uFillTx/>
                <a:latin typeface="Avenir Next LT Pro" panose="020B0504020202020204" pitchFamily="34" charset="0"/>
              </a:rPr>
              <a:t>sociétale et environnementale</a:t>
            </a:r>
          </a:p>
          <a:p>
            <a:pPr algn="just"/>
            <a:endParaRPr lang="fr-FR" sz="2400" b="1" dirty="0">
              <a:solidFill>
                <a:srgbClr val="672F09"/>
              </a:solidFill>
              <a:latin typeface="Avenir Next LT Pro Light" panose="020B03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fr-FR" sz="2400" b="1" dirty="0">
              <a:solidFill>
                <a:srgbClr val="672F09"/>
              </a:solidFill>
              <a:latin typeface="Avenir Next LT Pro Demi" panose="020B0704020202020204" pitchFamily="34" charset="0"/>
            </a:endParaRPr>
          </a:p>
          <a:p>
            <a:pPr algn="just">
              <a:defRPr/>
            </a:pPr>
            <a:r>
              <a:rPr lang="fr-FR" b="1" i="1" dirty="0">
                <a:solidFill>
                  <a:srgbClr val="672F09"/>
                </a:solidFill>
                <a:latin typeface="Avenir Next LT Pro Light" panose="020B0304020202020204" pitchFamily="34" charset="0"/>
              </a:rPr>
              <a:t>*Passage en production au plus tard le 1er avril 2022</a:t>
            </a:r>
          </a:p>
        </p:txBody>
      </p:sp>
      <p:sp>
        <p:nvSpPr>
          <p:cNvPr id="2" name="Rectangle 1">
            <a:extLst>
              <a:ext uri="{FF2B5EF4-FFF2-40B4-BE49-F238E27FC236}">
                <a16:creationId xmlns:a16="http://schemas.microsoft.com/office/drawing/2014/main" id="{9526C8AC-EC0B-08F8-5200-BC25FD1D73EF}"/>
              </a:ext>
            </a:extLst>
          </p:cNvPr>
          <p:cNvSpPr/>
          <p:nvPr/>
        </p:nvSpPr>
        <p:spPr bwMode="auto">
          <a:xfrm>
            <a:off x="0" y="0"/>
            <a:ext cx="642026" cy="6935821"/>
          </a:xfrm>
          <a:prstGeom prst="rect">
            <a:avLst/>
          </a:prstGeom>
          <a:solidFill>
            <a:srgbClr val="E3AC6F"/>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0662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80F5DC58-B8AA-4BBE-89E0-B9643204BCB5}"/>
              </a:ext>
            </a:extLst>
          </p:cNvPr>
          <p:cNvGrpSpPr/>
          <p:nvPr/>
        </p:nvGrpSpPr>
        <p:grpSpPr>
          <a:xfrm rot="10800000" flipV="1">
            <a:off x="7306209" y="295200"/>
            <a:ext cx="2723031" cy="1265387"/>
            <a:chOff x="7994276" y="33618"/>
            <a:chExt cx="4349297" cy="2230141"/>
          </a:xfrm>
        </p:grpSpPr>
        <p:pic>
          <p:nvPicPr>
            <p:cNvPr id="12" name="Image 11">
              <a:extLst>
                <a:ext uri="{FF2B5EF4-FFF2-40B4-BE49-F238E27FC236}">
                  <a16:creationId xmlns:a16="http://schemas.microsoft.com/office/drawing/2014/main" id="{E8D69C87-7DDC-4591-89C2-F58EB28FBBE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5187" y="80999"/>
              <a:ext cx="3878386" cy="2182760"/>
            </a:xfrm>
            <a:prstGeom prst="rect">
              <a:avLst/>
            </a:prstGeom>
          </p:spPr>
        </p:pic>
        <p:sp>
          <p:nvSpPr>
            <p:cNvPr id="13" name="Forme libre : forme 12">
              <a:extLst>
                <a:ext uri="{FF2B5EF4-FFF2-40B4-BE49-F238E27FC236}">
                  <a16:creationId xmlns:a16="http://schemas.microsoft.com/office/drawing/2014/main" id="{C29C2C36-CB4C-428D-8976-35B41CF4176E}"/>
                </a:ext>
              </a:extLst>
            </p:cNvPr>
            <p:cNvSpPr/>
            <p:nvPr/>
          </p:nvSpPr>
          <p:spPr>
            <a:xfrm>
              <a:off x="7994276" y="33618"/>
              <a:ext cx="2776818" cy="1230406"/>
            </a:xfrm>
            <a:custGeom>
              <a:avLst/>
              <a:gdLst>
                <a:gd name="connsiteX0" fmla="*/ 2675965 w 2776818"/>
                <a:gd name="connsiteY0" fmla="*/ 215153 h 1230406"/>
                <a:gd name="connsiteX1" fmla="*/ 2628900 w 2776818"/>
                <a:gd name="connsiteY1" fmla="*/ 437029 h 1230406"/>
                <a:gd name="connsiteX2" fmla="*/ 2776818 w 2776818"/>
                <a:gd name="connsiteY2" fmla="*/ 874058 h 1230406"/>
                <a:gd name="connsiteX3" fmla="*/ 2723030 w 2776818"/>
                <a:gd name="connsiteY3" fmla="*/ 1035423 h 1230406"/>
                <a:gd name="connsiteX4" fmla="*/ 2669242 w 2776818"/>
                <a:gd name="connsiteY4" fmla="*/ 1143000 h 1230406"/>
                <a:gd name="connsiteX5" fmla="*/ 2615453 w 2776818"/>
                <a:gd name="connsiteY5" fmla="*/ 1176617 h 1230406"/>
                <a:gd name="connsiteX6" fmla="*/ 2427195 w 2776818"/>
                <a:gd name="connsiteY6" fmla="*/ 1210235 h 1230406"/>
                <a:gd name="connsiteX7" fmla="*/ 1775012 w 2776818"/>
                <a:gd name="connsiteY7" fmla="*/ 1230406 h 1230406"/>
                <a:gd name="connsiteX8" fmla="*/ 1405218 w 2776818"/>
                <a:gd name="connsiteY8" fmla="*/ 1109382 h 1230406"/>
                <a:gd name="connsiteX9" fmla="*/ 840442 w 2776818"/>
                <a:gd name="connsiteY9" fmla="*/ 988358 h 1230406"/>
                <a:gd name="connsiteX10" fmla="*/ 517712 w 2776818"/>
                <a:gd name="connsiteY10" fmla="*/ 1210235 h 1230406"/>
                <a:gd name="connsiteX11" fmla="*/ 114300 w 2776818"/>
                <a:gd name="connsiteY11" fmla="*/ 1183341 h 1230406"/>
                <a:gd name="connsiteX12" fmla="*/ 0 w 2776818"/>
                <a:gd name="connsiteY12" fmla="*/ 188258 h 1230406"/>
                <a:gd name="connsiteX13" fmla="*/ 383242 w 2776818"/>
                <a:gd name="connsiteY13" fmla="*/ 0 h 1230406"/>
                <a:gd name="connsiteX14" fmla="*/ 2077571 w 2776818"/>
                <a:gd name="connsiteY14" fmla="*/ 0 h 1230406"/>
                <a:gd name="connsiteX15" fmla="*/ 2675965 w 2776818"/>
                <a:gd name="connsiteY15" fmla="*/ 215153 h 12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6818" h="1230406">
                  <a:moveTo>
                    <a:pt x="2675965" y="215153"/>
                  </a:moveTo>
                  <a:lnTo>
                    <a:pt x="2628900" y="437029"/>
                  </a:lnTo>
                  <a:lnTo>
                    <a:pt x="2776818" y="874058"/>
                  </a:lnTo>
                  <a:lnTo>
                    <a:pt x="2723030" y="1035423"/>
                  </a:lnTo>
                  <a:lnTo>
                    <a:pt x="2669242" y="1143000"/>
                  </a:lnTo>
                  <a:lnTo>
                    <a:pt x="2615453" y="1176617"/>
                  </a:lnTo>
                  <a:lnTo>
                    <a:pt x="2427195" y="1210235"/>
                  </a:lnTo>
                  <a:lnTo>
                    <a:pt x="1775012" y="1230406"/>
                  </a:lnTo>
                  <a:lnTo>
                    <a:pt x="1405218" y="1109382"/>
                  </a:lnTo>
                  <a:lnTo>
                    <a:pt x="840442" y="988358"/>
                  </a:lnTo>
                  <a:lnTo>
                    <a:pt x="517712" y="1210235"/>
                  </a:lnTo>
                  <a:lnTo>
                    <a:pt x="114300" y="1183341"/>
                  </a:lnTo>
                  <a:lnTo>
                    <a:pt x="0" y="188258"/>
                  </a:lnTo>
                  <a:lnTo>
                    <a:pt x="383242" y="0"/>
                  </a:lnTo>
                  <a:lnTo>
                    <a:pt x="2077571" y="0"/>
                  </a:lnTo>
                  <a:lnTo>
                    <a:pt x="2675965" y="215153"/>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20" name="Connecteur droit 19">
            <a:extLst>
              <a:ext uri="{FF2B5EF4-FFF2-40B4-BE49-F238E27FC236}">
                <a16:creationId xmlns:a16="http://schemas.microsoft.com/office/drawing/2014/main" id="{D11C742D-0C53-4C81-8E59-F544E7DF3012}"/>
              </a:ext>
            </a:extLst>
          </p:cNvPr>
          <p:cNvCxnSpPr>
            <a:cxnSpLocks/>
          </p:cNvCxnSpPr>
          <p:nvPr/>
        </p:nvCxnSpPr>
        <p:spPr>
          <a:xfrm>
            <a:off x="9926136" y="1923036"/>
            <a:ext cx="0" cy="1245554"/>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7187805A-2AE9-4D88-883C-0A2082563341}"/>
              </a:ext>
            </a:extLst>
          </p:cNvPr>
          <p:cNvCxnSpPr>
            <a:cxnSpLocks/>
          </p:cNvCxnSpPr>
          <p:nvPr/>
        </p:nvCxnSpPr>
        <p:spPr>
          <a:xfrm>
            <a:off x="6096000" y="1895914"/>
            <a:ext cx="0" cy="1245554"/>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49CFCD4-BE93-4CCF-BA58-3614AD1D8B5C}"/>
              </a:ext>
            </a:extLst>
          </p:cNvPr>
          <p:cNvCxnSpPr>
            <a:cxnSpLocks/>
          </p:cNvCxnSpPr>
          <p:nvPr/>
        </p:nvCxnSpPr>
        <p:spPr>
          <a:xfrm>
            <a:off x="2325857" y="1857525"/>
            <a:ext cx="0" cy="1245554"/>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a:xfrm>
            <a:off x="642026" y="0"/>
            <a:ext cx="11549974" cy="1325563"/>
          </a:xfrm>
        </p:spPr>
        <p:txBody>
          <a:bodyPr vert="horz" lIns="91440" tIns="45720" rIns="91440" bIns="45720" rtlCol="0" anchor="ctr">
            <a:normAutofit/>
          </a:bodyPr>
          <a:lstStyle/>
          <a:p>
            <a:r>
              <a:rPr lang="fr-FR" dirty="0">
                <a:solidFill>
                  <a:srgbClr val="54644C"/>
                </a:solidFill>
                <a:latin typeface="Avenir Next LT Pro" panose="020B0504020202020204" pitchFamily="34" charset="0"/>
                <a:ea typeface="Cambria" panose="02040503050406030204" pitchFamily="18" charset="0"/>
              </a:rPr>
              <a:t>LES ETAPES CLES</a:t>
            </a:r>
          </a:p>
        </p:txBody>
      </p:sp>
      <p:sp>
        <p:nvSpPr>
          <p:cNvPr id="3" name="Espace réservé du contenu 2"/>
          <p:cNvSpPr>
            <a:spLocks noGrp="1"/>
          </p:cNvSpPr>
          <p:nvPr>
            <p:ph sz="half" idx="1"/>
          </p:nvPr>
        </p:nvSpPr>
        <p:spPr>
          <a:xfrm>
            <a:off x="679396" y="3288510"/>
            <a:ext cx="3292923" cy="1643082"/>
          </a:xfrm>
        </p:spPr>
        <p:txBody>
          <a:bodyPr>
            <a:normAutofit/>
          </a:bodyPr>
          <a:lstStyle/>
          <a:p>
            <a:pPr marL="0" indent="0" algn="ctr">
              <a:lnSpc>
                <a:spcPct val="150000"/>
              </a:lnSpc>
              <a:buNone/>
            </a:pPr>
            <a:r>
              <a:rPr lang="fr-FR" sz="1800" b="1" dirty="0">
                <a:solidFill>
                  <a:schemeClr val="accent5">
                    <a:lumMod val="50000"/>
                  </a:schemeClr>
                </a:solidFill>
                <a:latin typeface="Avenir Next LT Pro" panose="020B0504020202020204" pitchFamily="34" charset="0"/>
                <a:ea typeface="Cambria" panose="02040503050406030204" pitchFamily="18" charset="0"/>
              </a:rPr>
              <a:t>Clôture de la remise des dossiers</a:t>
            </a:r>
            <a:endParaRPr lang="fr-FR" sz="1800" dirty="0">
              <a:solidFill>
                <a:schemeClr val="accent5">
                  <a:lumMod val="50000"/>
                </a:schemeClr>
              </a:solidFill>
              <a:latin typeface="Avenir Next LT Pro" panose="020B0504020202020204" pitchFamily="34" charset="0"/>
              <a:ea typeface="Cambria" panose="02040503050406030204" pitchFamily="18" charset="0"/>
            </a:endParaRPr>
          </a:p>
        </p:txBody>
      </p:sp>
      <p:sp>
        <p:nvSpPr>
          <p:cNvPr id="5" name="Rectangle : coins arrondis 4">
            <a:extLst>
              <a:ext uri="{FF2B5EF4-FFF2-40B4-BE49-F238E27FC236}">
                <a16:creationId xmlns:a16="http://schemas.microsoft.com/office/drawing/2014/main" id="{587EEB7A-1901-46FE-AEFC-46A3C9D5BAB6}"/>
              </a:ext>
            </a:extLst>
          </p:cNvPr>
          <p:cNvSpPr/>
          <p:nvPr/>
        </p:nvSpPr>
        <p:spPr>
          <a:xfrm>
            <a:off x="1435301" y="2280149"/>
            <a:ext cx="1874535" cy="408623"/>
          </a:xfrm>
          <a:prstGeom prst="roundRect">
            <a:avLst/>
          </a:prstGeom>
          <a:solidFill>
            <a:schemeClr val="accent1">
              <a:lumMod val="60000"/>
              <a:lumOff val="40000"/>
            </a:schemeClr>
          </a:solidFill>
        </p:spPr>
        <p:txBody>
          <a:bodyPr wrap="none">
            <a:spAutoFit/>
          </a:bodyPr>
          <a:lstStyle/>
          <a:p>
            <a:pPr algn="ctr"/>
            <a:r>
              <a:rPr lang="fr-FR" b="1" dirty="0">
                <a:latin typeface="Avenir Next LT Pro" panose="020B0504020202020204" pitchFamily="34" charset="0"/>
                <a:ea typeface="Cambria" panose="02040503050406030204" pitchFamily="18" charset="0"/>
              </a:rPr>
              <a:t>1</a:t>
            </a:r>
            <a:r>
              <a:rPr lang="fr-FR" b="1" baseline="30000" dirty="0">
                <a:latin typeface="Avenir Next LT Pro" panose="020B0504020202020204" pitchFamily="34" charset="0"/>
                <a:ea typeface="Cambria" panose="02040503050406030204" pitchFamily="18" charset="0"/>
              </a:rPr>
              <a:t>er</a:t>
            </a:r>
            <a:r>
              <a:rPr lang="fr-FR" b="1" dirty="0">
                <a:latin typeface="Avenir Next LT Pro" panose="020B0504020202020204" pitchFamily="34" charset="0"/>
                <a:ea typeface="Cambria" panose="02040503050406030204" pitchFamily="18" charset="0"/>
              </a:rPr>
              <a:t> juillet 2022</a:t>
            </a:r>
          </a:p>
        </p:txBody>
      </p:sp>
      <p:sp>
        <p:nvSpPr>
          <p:cNvPr id="6" name="Rectangle : coins arrondis 5">
            <a:extLst>
              <a:ext uri="{FF2B5EF4-FFF2-40B4-BE49-F238E27FC236}">
                <a16:creationId xmlns:a16="http://schemas.microsoft.com/office/drawing/2014/main" id="{A8A99EEA-A33A-4CA2-BA76-1228E28EDC29}"/>
              </a:ext>
            </a:extLst>
          </p:cNvPr>
          <p:cNvSpPr/>
          <p:nvPr/>
        </p:nvSpPr>
        <p:spPr>
          <a:xfrm>
            <a:off x="4770539" y="2275990"/>
            <a:ext cx="2770907" cy="408623"/>
          </a:xfrm>
          <a:prstGeom prst="roundRect">
            <a:avLst/>
          </a:prstGeom>
          <a:solidFill>
            <a:schemeClr val="accent1">
              <a:lumMod val="60000"/>
              <a:lumOff val="40000"/>
            </a:schemeClr>
          </a:solidFill>
        </p:spPr>
        <p:txBody>
          <a:bodyPr wrap="square">
            <a:spAutoFit/>
          </a:bodyPr>
          <a:lstStyle/>
          <a:p>
            <a:pPr algn="ctr"/>
            <a:r>
              <a:rPr lang="fr-FR" b="1" dirty="0">
                <a:latin typeface="Avenir Next LT Pro" panose="020B0504020202020204" pitchFamily="34" charset="0"/>
                <a:ea typeface="Cambria" panose="02040503050406030204" pitchFamily="18" charset="0"/>
                <a:cs typeface="Poppins" panose="020B0604020202020204" charset="0"/>
              </a:rPr>
              <a:t>20 septembre 2022</a:t>
            </a:r>
            <a:endParaRPr lang="fr-FR" b="1" dirty="0">
              <a:latin typeface="Avenir Next LT Pro" panose="020B0504020202020204" pitchFamily="34" charset="0"/>
              <a:ea typeface="Cambria" panose="02040503050406030204" pitchFamily="18" charset="0"/>
            </a:endParaRPr>
          </a:p>
        </p:txBody>
      </p:sp>
      <p:sp>
        <p:nvSpPr>
          <p:cNvPr id="7" name="Rectangle : coins arrondis 6">
            <a:extLst>
              <a:ext uri="{FF2B5EF4-FFF2-40B4-BE49-F238E27FC236}">
                <a16:creationId xmlns:a16="http://schemas.microsoft.com/office/drawing/2014/main" id="{B6C6CF8C-E717-46F2-947E-A19C248FE321}"/>
              </a:ext>
            </a:extLst>
          </p:cNvPr>
          <p:cNvSpPr/>
          <p:nvPr/>
        </p:nvSpPr>
        <p:spPr>
          <a:xfrm>
            <a:off x="8667725" y="2289918"/>
            <a:ext cx="2428201" cy="408623"/>
          </a:xfrm>
          <a:prstGeom prst="roundRect">
            <a:avLst/>
          </a:prstGeom>
          <a:solidFill>
            <a:schemeClr val="accent1">
              <a:lumMod val="60000"/>
              <a:lumOff val="40000"/>
            </a:schemeClr>
          </a:solidFill>
        </p:spPr>
        <p:txBody>
          <a:bodyPr wrap="square">
            <a:spAutoFit/>
          </a:bodyPr>
          <a:lstStyle/>
          <a:p>
            <a:pPr algn="ctr"/>
            <a:r>
              <a:rPr lang="fr-FR" b="1" dirty="0">
                <a:latin typeface="Avenir Next LT Pro" panose="020B0504020202020204" pitchFamily="34" charset="0"/>
                <a:ea typeface="Cambria" panose="02040503050406030204" pitchFamily="18" charset="0"/>
                <a:cs typeface="Poppins" panose="020B0604020202020204" charset="0"/>
              </a:rPr>
              <a:t>11 octobre 2022</a:t>
            </a:r>
            <a:endParaRPr lang="fr-FR" b="1" dirty="0">
              <a:latin typeface="Avenir Next LT Pro" panose="020B0504020202020204" pitchFamily="34" charset="0"/>
              <a:ea typeface="Cambria" panose="02040503050406030204" pitchFamily="18" charset="0"/>
            </a:endParaRPr>
          </a:p>
        </p:txBody>
      </p:sp>
      <p:sp>
        <p:nvSpPr>
          <p:cNvPr id="8" name="Rectangle 7">
            <a:extLst>
              <a:ext uri="{FF2B5EF4-FFF2-40B4-BE49-F238E27FC236}">
                <a16:creationId xmlns:a16="http://schemas.microsoft.com/office/drawing/2014/main" id="{93DFE101-715B-48EC-865E-A5EC75591182}"/>
              </a:ext>
            </a:extLst>
          </p:cNvPr>
          <p:cNvSpPr/>
          <p:nvPr/>
        </p:nvSpPr>
        <p:spPr>
          <a:xfrm>
            <a:off x="642026" y="5453437"/>
            <a:ext cx="11549974" cy="1081835"/>
          </a:xfrm>
          <a:prstGeom prst="rect">
            <a:avLst/>
          </a:prstGeom>
        </p:spPr>
        <p:txBody>
          <a:bodyPr wrap="square">
            <a:spAutoFit/>
          </a:bodyPr>
          <a:lstStyle/>
          <a:p>
            <a:pPr algn="ctr" defTabSz="457200">
              <a:lnSpc>
                <a:spcPct val="120000"/>
              </a:lnSpc>
              <a:spcBef>
                <a:spcPct val="20000"/>
              </a:spcBef>
              <a:spcAft>
                <a:spcPts val="600"/>
              </a:spcAft>
              <a:buClr>
                <a:srgbClr val="F1937A"/>
              </a:buClr>
              <a:buSzPct val="92000"/>
            </a:pPr>
            <a:r>
              <a:rPr lang="fr-FR" sz="1600" i="1" dirty="0">
                <a:latin typeface="Avenir Next LT Pro" panose="020B0504020202020204" pitchFamily="34" charset="0"/>
                <a:ea typeface="Cambria" panose="02040503050406030204" pitchFamily="18" charset="0"/>
              </a:rPr>
              <a:t>Passage en production au plus tard le 1</a:t>
            </a:r>
            <a:r>
              <a:rPr lang="fr-FR" sz="1600" i="1" baseline="30000" dirty="0">
                <a:latin typeface="Avenir Next LT Pro" panose="020B0504020202020204" pitchFamily="34" charset="0"/>
                <a:ea typeface="Cambria" panose="02040503050406030204" pitchFamily="18" charset="0"/>
              </a:rPr>
              <a:t>er</a:t>
            </a:r>
            <a:r>
              <a:rPr lang="fr-FR" sz="1600" i="1" dirty="0">
                <a:latin typeface="Avenir Next LT Pro" panose="020B0504020202020204" pitchFamily="34" charset="0"/>
                <a:ea typeface="Cambria" panose="02040503050406030204" pitchFamily="18" charset="0"/>
              </a:rPr>
              <a:t> avril 2022 </a:t>
            </a:r>
          </a:p>
          <a:p>
            <a:pPr algn="ctr" defTabSz="457200">
              <a:lnSpc>
                <a:spcPct val="120000"/>
              </a:lnSpc>
              <a:spcBef>
                <a:spcPct val="20000"/>
              </a:spcBef>
              <a:spcAft>
                <a:spcPts val="600"/>
              </a:spcAft>
              <a:buClr>
                <a:srgbClr val="F1937A"/>
              </a:buClr>
              <a:buSzPct val="92000"/>
            </a:pPr>
            <a:r>
              <a:rPr lang="fr-FR" sz="1600" i="1" dirty="0">
                <a:solidFill>
                  <a:schemeClr val="bg2">
                    <a:lumMod val="50000"/>
                  </a:schemeClr>
                </a:solidFill>
                <a:latin typeface="Avenir Next LT Pro" panose="020B0504020202020204" pitchFamily="34" charset="0"/>
                <a:ea typeface="Cambria" panose="02040503050406030204" pitchFamily="18" charset="0"/>
                <a:cs typeface="Arial" panose="020B0604020202020204" pitchFamily="34" charset="0"/>
              </a:rPr>
              <a:t>Votre participation implique votre </a:t>
            </a:r>
            <a:r>
              <a:rPr lang="fr-FR" sz="1600" b="1" i="1" dirty="0">
                <a:solidFill>
                  <a:schemeClr val="bg2">
                    <a:lumMod val="50000"/>
                  </a:schemeClr>
                </a:solidFill>
                <a:latin typeface="Avenir Next LT Pro" panose="020B0504020202020204" pitchFamily="34" charset="0"/>
                <a:ea typeface="Cambria" panose="02040503050406030204" pitchFamily="18" charset="0"/>
                <a:cs typeface="Arial" panose="020B0604020202020204" pitchFamily="34" charset="0"/>
              </a:rPr>
              <a:t>disponibilité</a:t>
            </a:r>
            <a:r>
              <a:rPr lang="fr-FR" sz="1600" i="1" dirty="0">
                <a:solidFill>
                  <a:schemeClr val="bg2">
                    <a:lumMod val="50000"/>
                  </a:schemeClr>
                </a:solidFill>
                <a:latin typeface="Avenir Next LT Pro" panose="020B0504020202020204" pitchFamily="34" charset="0"/>
                <a:ea typeface="Cambria" panose="02040503050406030204" pitchFamily="18" charset="0"/>
                <a:cs typeface="Arial" panose="020B0604020202020204" pitchFamily="34" charset="0"/>
              </a:rPr>
              <a:t> pour</a:t>
            </a:r>
            <a:br>
              <a:rPr lang="fr-FR" sz="1600" i="1" dirty="0">
                <a:solidFill>
                  <a:schemeClr val="bg2">
                    <a:lumMod val="50000"/>
                  </a:schemeClr>
                </a:solidFill>
                <a:latin typeface="Avenir Next LT Pro" panose="020B0504020202020204" pitchFamily="34" charset="0"/>
                <a:ea typeface="Cambria" panose="02040503050406030204" pitchFamily="18" charset="0"/>
                <a:cs typeface="Arial" panose="020B0604020202020204" pitchFamily="34" charset="0"/>
              </a:rPr>
            </a:br>
            <a:r>
              <a:rPr lang="fr-FR" sz="1600" b="1" i="1" u="sng" dirty="0">
                <a:solidFill>
                  <a:schemeClr val="bg2">
                    <a:lumMod val="50000"/>
                  </a:schemeClr>
                </a:solidFill>
                <a:latin typeface="Avenir Next LT Pro" panose="020B0504020202020204" pitchFamily="34" charset="0"/>
                <a:ea typeface="Cambria" panose="02040503050406030204" pitchFamily="18" charset="0"/>
                <a:cs typeface="Arial" panose="020B0604020202020204" pitchFamily="34" charset="0"/>
              </a:rPr>
              <a:t>la soutenance le 20 septembre et la Journée Utilisateurs le 11 octobre 2022</a:t>
            </a:r>
          </a:p>
        </p:txBody>
      </p:sp>
      <p:sp>
        <p:nvSpPr>
          <p:cNvPr id="9" name="Espace réservé du numéro de diapositive 8">
            <a:extLst>
              <a:ext uri="{FF2B5EF4-FFF2-40B4-BE49-F238E27FC236}">
                <a16:creationId xmlns:a16="http://schemas.microsoft.com/office/drawing/2014/main" id="{DFA07511-0800-41FC-BBEA-6B25A361A62C}"/>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5B868D-AA83-4E89-970C-E7916C2FF7E8}" type="slidenum">
              <a:rPr lang="fr-FR" smtClean="0"/>
              <a:pPr/>
              <a:t>6</a:t>
            </a:fld>
            <a:endParaRPr lang="fr-FR" dirty="0"/>
          </a:p>
        </p:txBody>
      </p:sp>
      <p:sp>
        <p:nvSpPr>
          <p:cNvPr id="10" name="Rectangle 9">
            <a:extLst>
              <a:ext uri="{FF2B5EF4-FFF2-40B4-BE49-F238E27FC236}">
                <a16:creationId xmlns:a16="http://schemas.microsoft.com/office/drawing/2014/main" id="{1B02092D-526A-4DA7-BE3E-EFFE7BA02AE3}"/>
              </a:ext>
            </a:extLst>
          </p:cNvPr>
          <p:cNvSpPr/>
          <p:nvPr/>
        </p:nvSpPr>
        <p:spPr>
          <a:xfrm>
            <a:off x="4389542" y="3288510"/>
            <a:ext cx="3412915" cy="1325564"/>
          </a:xfrm>
          <a:prstGeom prst="rect">
            <a:avLst/>
          </a:prstGeom>
        </p:spPr>
        <p:txBody>
          <a:bodyPr vert="horz" lIns="91440" tIns="45720" rIns="91440" bIns="45720" rtlCol="0">
            <a:noAutofit/>
          </a:bodyPr>
          <a:lstStyle/>
          <a:p>
            <a:pPr algn="ctr">
              <a:lnSpc>
                <a:spcPct val="150000"/>
              </a:lnSpc>
              <a:spcBef>
                <a:spcPts val="1000"/>
              </a:spcBef>
            </a:pPr>
            <a:r>
              <a:rPr lang="fr-FR" b="1" dirty="0">
                <a:solidFill>
                  <a:schemeClr val="accent5">
                    <a:lumMod val="50000"/>
                  </a:schemeClr>
                </a:solidFill>
                <a:latin typeface="Avenir Next LT Pro" panose="020B0504020202020204" pitchFamily="34" charset="0"/>
                <a:ea typeface="Cambria" panose="02040503050406030204" pitchFamily="18" charset="0"/>
              </a:rPr>
              <a:t>Audition des dossiers sélectionnés par les membres du jury </a:t>
            </a:r>
            <a:br>
              <a:rPr lang="fr-FR" b="1" dirty="0">
                <a:solidFill>
                  <a:schemeClr val="accent5">
                    <a:lumMod val="50000"/>
                  </a:schemeClr>
                </a:solidFill>
                <a:latin typeface="Avenir Next LT Pro" panose="020B0504020202020204" pitchFamily="34" charset="0"/>
                <a:ea typeface="Cambria" panose="02040503050406030204" pitchFamily="18" charset="0"/>
              </a:rPr>
            </a:br>
            <a:endParaRPr lang="fr-FR" dirty="0">
              <a:solidFill>
                <a:schemeClr val="accent5">
                  <a:lumMod val="50000"/>
                </a:schemeClr>
              </a:solidFill>
              <a:latin typeface="Avenir Next LT Pro" panose="020B0504020202020204" pitchFamily="34" charset="0"/>
              <a:ea typeface="Cambria" panose="02040503050406030204" pitchFamily="18" charset="0"/>
            </a:endParaRPr>
          </a:p>
        </p:txBody>
      </p:sp>
      <p:sp>
        <p:nvSpPr>
          <p:cNvPr id="15" name="Rectangle 14">
            <a:extLst>
              <a:ext uri="{FF2B5EF4-FFF2-40B4-BE49-F238E27FC236}">
                <a16:creationId xmlns:a16="http://schemas.microsoft.com/office/drawing/2014/main" id="{7D8B7E5F-640C-47EA-AD3A-F952CAFED432}"/>
              </a:ext>
            </a:extLst>
          </p:cNvPr>
          <p:cNvSpPr/>
          <p:nvPr/>
        </p:nvSpPr>
        <p:spPr>
          <a:xfrm>
            <a:off x="8219680" y="3288510"/>
            <a:ext cx="3412915" cy="1643082"/>
          </a:xfrm>
          <a:prstGeom prst="rect">
            <a:avLst/>
          </a:prstGeom>
        </p:spPr>
        <p:txBody>
          <a:bodyPr vert="horz" lIns="91440" tIns="45720" rIns="91440" bIns="45720" rtlCol="0">
            <a:noAutofit/>
          </a:bodyPr>
          <a:lstStyle/>
          <a:p>
            <a:pPr algn="ctr">
              <a:lnSpc>
                <a:spcPct val="150000"/>
              </a:lnSpc>
              <a:spcBef>
                <a:spcPts val="1000"/>
              </a:spcBef>
            </a:pPr>
            <a:r>
              <a:rPr lang="fr-FR" b="1" dirty="0">
                <a:solidFill>
                  <a:schemeClr val="accent5">
                    <a:lumMod val="50000"/>
                  </a:schemeClr>
                </a:solidFill>
                <a:latin typeface="Avenir Next LT Pro" panose="020B0504020202020204" pitchFamily="34" charset="0"/>
                <a:ea typeface="Cambria" panose="02040503050406030204" pitchFamily="18" charset="0"/>
              </a:rPr>
              <a:t>Célébration des projets finalistes lors de la Journée Utilisateurs</a:t>
            </a:r>
            <a:br>
              <a:rPr lang="fr-FR" b="1" dirty="0">
                <a:solidFill>
                  <a:schemeClr val="accent5">
                    <a:lumMod val="50000"/>
                  </a:schemeClr>
                </a:solidFill>
                <a:latin typeface="Avenir Next LT Pro" panose="020B0504020202020204" pitchFamily="34" charset="0"/>
                <a:ea typeface="Cambria" panose="02040503050406030204" pitchFamily="18" charset="0"/>
              </a:rPr>
            </a:br>
            <a:endParaRPr lang="fr-FR" dirty="0">
              <a:solidFill>
                <a:schemeClr val="accent5">
                  <a:lumMod val="50000"/>
                </a:schemeClr>
              </a:solidFill>
              <a:latin typeface="Avenir Next LT Pro" panose="020B0504020202020204" pitchFamily="34" charset="0"/>
              <a:ea typeface="Cambria" panose="02040503050406030204" pitchFamily="18" charset="0"/>
            </a:endParaRPr>
          </a:p>
        </p:txBody>
      </p:sp>
      <p:sp>
        <p:nvSpPr>
          <p:cNvPr id="21" name="Rectangle 20">
            <a:extLst>
              <a:ext uri="{FF2B5EF4-FFF2-40B4-BE49-F238E27FC236}">
                <a16:creationId xmlns:a16="http://schemas.microsoft.com/office/drawing/2014/main" id="{72543A75-3896-2A0A-A53E-E586CF237586}"/>
              </a:ext>
            </a:extLst>
          </p:cNvPr>
          <p:cNvSpPr/>
          <p:nvPr/>
        </p:nvSpPr>
        <p:spPr bwMode="auto">
          <a:xfrm>
            <a:off x="0" y="0"/>
            <a:ext cx="642026" cy="6935821"/>
          </a:xfrm>
          <a:prstGeom prst="rect">
            <a:avLst/>
          </a:prstGeom>
          <a:solidFill>
            <a:srgbClr val="E3AC6F"/>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43219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E0BFC6-4EBF-42CE-A951-E1543B985AE5}"/>
              </a:ext>
            </a:extLst>
          </p:cNvPr>
          <p:cNvSpPr/>
          <p:nvPr/>
        </p:nvSpPr>
        <p:spPr>
          <a:xfrm>
            <a:off x="4796492" y="1231253"/>
            <a:ext cx="6939569" cy="4247317"/>
          </a:xfrm>
          <a:prstGeom prst="rect">
            <a:avLst/>
          </a:prstGeom>
        </p:spPr>
        <p:txBody>
          <a:bodyPr wrap="square">
            <a:spAutoFit/>
          </a:bodyPr>
          <a:lstStyle/>
          <a:p>
            <a:pPr algn="just"/>
            <a:r>
              <a:rPr lang="fr-FR" b="1" dirty="0">
                <a:solidFill>
                  <a:srgbClr val="C00000"/>
                </a:solidFill>
                <a:effectLst/>
                <a:latin typeface="Avenir Next LT Pro Demi" panose="020B0704020202020204" pitchFamily="34" charset="0"/>
                <a:ea typeface="Times New Roman" panose="02020603050405020304" pitchFamily="18" charset="0"/>
              </a:rPr>
              <a:t>Seif ABBASSI, </a:t>
            </a:r>
            <a:r>
              <a:rPr lang="fr-FR" b="0" i="1" dirty="0">
                <a:solidFill>
                  <a:srgbClr val="C00000"/>
                </a:solidFill>
                <a:effectLst/>
                <a:latin typeface="Avenir Next LT Pro Demi" panose="020B0704020202020204" pitchFamily="34" charset="0"/>
              </a:rPr>
              <a:t>Data Solution Engineer</a:t>
            </a:r>
          </a:p>
          <a:p>
            <a:pPr algn="just"/>
            <a:endParaRPr lang="fr-FR" i="1" dirty="0">
              <a:solidFill>
                <a:srgbClr val="C00000"/>
              </a:solidFill>
              <a:latin typeface="Avenir Next LT Pro Demi" panose="020B0704020202020204" pitchFamily="34" charset="0"/>
              <a:ea typeface="Calibri" panose="020F0502020204030204" pitchFamily="34" charset="0"/>
            </a:endParaRPr>
          </a:p>
          <a:p>
            <a:pPr algn="just"/>
            <a:endParaRPr lang="fr-FR" i="1" dirty="0">
              <a:solidFill>
                <a:srgbClr val="C00000"/>
              </a:solidFill>
              <a:effectLst/>
              <a:latin typeface="Avenir Next LT Pro Demi" panose="020B0704020202020204" pitchFamily="34" charset="0"/>
              <a:ea typeface="Calibri" panose="020F0502020204030204" pitchFamily="34" charset="0"/>
            </a:endParaRPr>
          </a:p>
          <a:p>
            <a:pPr algn="just"/>
            <a:endParaRPr lang="fr-FR" i="1" dirty="0">
              <a:solidFill>
                <a:srgbClr val="C00000"/>
              </a:solidFill>
              <a:latin typeface="Avenir Next LT Pro Demi" panose="020B0704020202020204" pitchFamily="34" charset="0"/>
              <a:ea typeface="Calibri" panose="020F0502020204030204" pitchFamily="34" charset="0"/>
            </a:endParaRPr>
          </a:p>
          <a:p>
            <a:pPr algn="just"/>
            <a:endParaRPr lang="fr-FR" dirty="0">
              <a:solidFill>
                <a:srgbClr val="C00000"/>
              </a:solidFill>
              <a:effectLst/>
              <a:latin typeface="Avenir Next LT Pro Demi" panose="020B0704020202020204" pitchFamily="34" charset="0"/>
              <a:ea typeface="Calibri" panose="020F0502020204030204" pitchFamily="34" charset="0"/>
            </a:endParaRPr>
          </a:p>
          <a:p>
            <a:pPr algn="just"/>
            <a:r>
              <a:rPr lang="fr-FR" dirty="0">
                <a:solidFill>
                  <a:srgbClr val="3C4858"/>
                </a:solidFill>
                <a:effectLst/>
                <a:latin typeface="Avenir Next LT Pro Demi" panose="020B0704020202020204" pitchFamily="34" charset="0"/>
                <a:ea typeface="Times New Roman" panose="02020603050405020304" pitchFamily="18" charset="0"/>
              </a:rPr>
              <a:t> </a:t>
            </a:r>
            <a:endParaRPr lang="fr-FR" dirty="0">
              <a:effectLst/>
              <a:latin typeface="Avenir Next LT Pro Demi" panose="020B0704020202020204" pitchFamily="34" charset="0"/>
              <a:ea typeface="Calibri" panose="020F0502020204030204" pitchFamily="34" charset="0"/>
            </a:endParaRPr>
          </a:p>
          <a:p>
            <a:pPr algn="just"/>
            <a:r>
              <a:rPr lang="fr-FR" b="0" i="0" dirty="0">
                <a:solidFill>
                  <a:srgbClr val="333333"/>
                </a:solidFill>
                <a:effectLst/>
                <a:latin typeface="Avenir Next LT Pro Demi" panose="020B0704020202020204" pitchFamily="34" charset="0"/>
              </a:rPr>
              <a:t>La donnée est essentielle pour tous les métiers : Finance, Marketing, Ressources Humaines, </a:t>
            </a:r>
            <a:r>
              <a:rPr lang="fr-FR" b="0" i="0" dirty="0" err="1">
                <a:solidFill>
                  <a:srgbClr val="333333"/>
                </a:solidFill>
                <a:effectLst/>
                <a:latin typeface="Avenir Next LT Pro Demi" panose="020B0704020202020204" pitchFamily="34" charset="0"/>
              </a:rPr>
              <a:t>Supply</a:t>
            </a:r>
            <a:r>
              <a:rPr lang="fr-FR" b="0" i="0" dirty="0">
                <a:solidFill>
                  <a:srgbClr val="333333"/>
                </a:solidFill>
                <a:effectLst/>
                <a:latin typeface="Avenir Next LT Pro Demi" panose="020B0704020202020204" pitchFamily="34" charset="0"/>
              </a:rPr>
              <a:t> Chain, … Avez-vous la certitude de la traiter de façon optimisée ?</a:t>
            </a:r>
          </a:p>
          <a:p>
            <a:pPr algn="just"/>
            <a:endParaRPr lang="fr-FR" b="0" i="0" dirty="0">
              <a:solidFill>
                <a:srgbClr val="333333"/>
              </a:solidFill>
              <a:effectLst/>
              <a:latin typeface="Avenir Next LT Pro Demi" panose="020B0704020202020204" pitchFamily="34" charset="0"/>
            </a:endParaRPr>
          </a:p>
          <a:p>
            <a:pPr algn="just"/>
            <a:r>
              <a:rPr lang="fr-FR" b="1" i="0" dirty="0">
                <a:solidFill>
                  <a:srgbClr val="333333"/>
                </a:solidFill>
                <a:effectLst/>
                <a:latin typeface="Avenir Next LT Pro Demi" panose="020B0704020202020204" pitchFamily="34" charset="0"/>
              </a:rPr>
              <a:t>1 heure pour tout comprendre sur l’écosystème Oracle autour de la donnée, sa finalité et ses défis : </a:t>
            </a:r>
          </a:p>
          <a:p>
            <a:pPr algn="just"/>
            <a:r>
              <a:rPr lang="fr-FR" b="1" i="0" dirty="0">
                <a:solidFill>
                  <a:srgbClr val="333333"/>
                </a:solidFill>
                <a:effectLst/>
                <a:latin typeface="Avenir Next LT Pro Demi" panose="020B0704020202020204" pitchFamily="34" charset="0"/>
              </a:rPr>
              <a:t>data </a:t>
            </a:r>
            <a:r>
              <a:rPr lang="fr-FR" b="1" i="0" dirty="0" err="1">
                <a:solidFill>
                  <a:srgbClr val="333333"/>
                </a:solidFill>
                <a:effectLst/>
                <a:latin typeface="Avenir Next LT Pro Demi" panose="020B0704020202020204" pitchFamily="34" charset="0"/>
              </a:rPr>
              <a:t>lake</a:t>
            </a:r>
            <a:r>
              <a:rPr lang="fr-FR" b="1" i="0" dirty="0">
                <a:solidFill>
                  <a:srgbClr val="333333"/>
                </a:solidFill>
                <a:effectLst/>
                <a:latin typeface="Avenir Next LT Pro Demi" panose="020B0704020202020204" pitchFamily="34" charset="0"/>
              </a:rPr>
              <a:t>, data </a:t>
            </a:r>
            <a:r>
              <a:rPr lang="fr-FR" b="1" i="0" dirty="0" err="1">
                <a:solidFill>
                  <a:srgbClr val="333333"/>
                </a:solidFill>
                <a:effectLst/>
                <a:latin typeface="Avenir Next LT Pro Demi" panose="020B0704020202020204" pitchFamily="34" charset="0"/>
              </a:rPr>
              <a:t>warehouse</a:t>
            </a:r>
            <a:r>
              <a:rPr lang="fr-FR" b="1" i="0" dirty="0">
                <a:solidFill>
                  <a:srgbClr val="333333"/>
                </a:solidFill>
                <a:effectLst/>
                <a:latin typeface="Avenir Next LT Pro Demi" panose="020B0704020202020204" pitchFamily="34" charset="0"/>
              </a:rPr>
              <a:t>, BI, machine </a:t>
            </a:r>
            <a:r>
              <a:rPr lang="fr-FR" b="1" i="0" dirty="0" err="1">
                <a:solidFill>
                  <a:srgbClr val="333333"/>
                </a:solidFill>
                <a:effectLst/>
                <a:latin typeface="Avenir Next LT Pro Demi" panose="020B0704020202020204" pitchFamily="34" charset="0"/>
              </a:rPr>
              <a:t>learning</a:t>
            </a:r>
            <a:r>
              <a:rPr lang="fr-FR" b="1" i="0" dirty="0">
                <a:solidFill>
                  <a:srgbClr val="333333"/>
                </a:solidFill>
                <a:effectLst/>
                <a:latin typeface="Avenir Next LT Pro Demi" panose="020B0704020202020204" pitchFamily="34" charset="0"/>
              </a:rPr>
              <a:t>, data visualisation, data gouvernance, big data, …</a:t>
            </a:r>
            <a:endParaRPr lang="fr-FR" b="0" i="0" dirty="0">
              <a:solidFill>
                <a:srgbClr val="333333"/>
              </a:solidFill>
              <a:effectLst/>
              <a:latin typeface="Avenir Next LT Pro Demi" panose="020B0704020202020204" pitchFamily="34" charset="0"/>
            </a:endParaRPr>
          </a:p>
          <a:p>
            <a:pPr algn="just"/>
            <a:endParaRPr lang="fr-FR" b="1" i="1" dirty="0">
              <a:latin typeface="Avenir Next LT Pro Demi" panose="020B0704020202020204" pitchFamily="34" charset="0"/>
              <a:ea typeface="Cambria" panose="02040503050406030204" pitchFamily="18" charset="0"/>
            </a:endParaRPr>
          </a:p>
        </p:txBody>
      </p:sp>
      <p:sp>
        <p:nvSpPr>
          <p:cNvPr id="6" name="Rectangle : coins arrondis 5">
            <a:extLst>
              <a:ext uri="{FF2B5EF4-FFF2-40B4-BE49-F238E27FC236}">
                <a16:creationId xmlns:a16="http://schemas.microsoft.com/office/drawing/2014/main" id="{8204A2D4-0B19-B357-9A26-8575FCB825E0}"/>
              </a:ext>
            </a:extLst>
          </p:cNvPr>
          <p:cNvSpPr/>
          <p:nvPr/>
        </p:nvSpPr>
        <p:spPr>
          <a:xfrm>
            <a:off x="0" y="0"/>
            <a:ext cx="4399057" cy="6858000"/>
          </a:xfrm>
          <a:prstGeom prst="roundRect">
            <a:avLst>
              <a:gd name="adj" fmla="val 0"/>
            </a:avLst>
          </a:prstGeom>
          <a:solidFill>
            <a:srgbClr val="E3A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7" name="Titre 1">
            <a:extLst>
              <a:ext uri="{FF2B5EF4-FFF2-40B4-BE49-F238E27FC236}">
                <a16:creationId xmlns:a16="http://schemas.microsoft.com/office/drawing/2014/main" id="{9DEA13B5-6EC6-4083-8F1E-77CD92696FF7}"/>
              </a:ext>
            </a:extLst>
          </p:cNvPr>
          <p:cNvSpPr txBox="1">
            <a:spLocks/>
          </p:cNvSpPr>
          <p:nvPr/>
        </p:nvSpPr>
        <p:spPr>
          <a:xfrm>
            <a:off x="0" y="2487425"/>
            <a:ext cx="4399057" cy="1883149"/>
          </a:xfrm>
          <a:prstGeom prst="rect">
            <a:avLst/>
          </a:prstGeom>
        </p:spPr>
        <p:txBody>
          <a:bodyPr vert="horz" lIns="91440" tIns="45720" rIns="91440" bIns="45720" rtlCol="0" anchor="ctr">
            <a:noAutofit/>
          </a:bodyPr>
          <a:lstStyle>
            <a:lvl1pPr algn="r" rtl="0" eaLnBrk="1" fontAlgn="base" hangingPunct="1">
              <a:lnSpc>
                <a:spcPts val="2800"/>
              </a:lnSpc>
              <a:spcBef>
                <a:spcPct val="0"/>
              </a:spcBef>
              <a:spcAft>
                <a:spcPct val="0"/>
              </a:spcAft>
              <a:defRPr sz="3200" b="0" i="0">
                <a:solidFill>
                  <a:schemeClr val="bg1"/>
                </a:solidFill>
                <a:latin typeface="Noto Sans UI" panose="020B0502040504020204" pitchFamily="34" charset="0"/>
                <a:ea typeface="+mj-ea"/>
                <a:cs typeface="Poppins" panose="02000000000000000000" pitchFamily="2" charset="77"/>
              </a:defRPr>
            </a:lvl1pPr>
            <a:lvl2pPr algn="r" rtl="0" eaLnBrk="1" fontAlgn="base" hangingPunct="1">
              <a:spcBef>
                <a:spcPct val="0"/>
              </a:spcBef>
              <a:spcAft>
                <a:spcPct val="0"/>
              </a:spcAft>
              <a:defRPr sz="2100" b="1">
                <a:solidFill>
                  <a:schemeClr val="bg1"/>
                </a:solidFill>
                <a:latin typeface="Arial" charset="0"/>
              </a:defRPr>
            </a:lvl2pPr>
            <a:lvl3pPr algn="r" rtl="0" eaLnBrk="1" fontAlgn="base" hangingPunct="1">
              <a:spcBef>
                <a:spcPct val="0"/>
              </a:spcBef>
              <a:spcAft>
                <a:spcPct val="0"/>
              </a:spcAft>
              <a:defRPr sz="2100" b="1">
                <a:solidFill>
                  <a:schemeClr val="bg1"/>
                </a:solidFill>
                <a:latin typeface="Arial" charset="0"/>
              </a:defRPr>
            </a:lvl3pPr>
            <a:lvl4pPr algn="r" rtl="0" eaLnBrk="1" fontAlgn="base" hangingPunct="1">
              <a:spcBef>
                <a:spcPct val="0"/>
              </a:spcBef>
              <a:spcAft>
                <a:spcPct val="0"/>
              </a:spcAft>
              <a:defRPr sz="2100" b="1">
                <a:solidFill>
                  <a:schemeClr val="bg1"/>
                </a:solidFill>
                <a:latin typeface="Arial" charset="0"/>
              </a:defRPr>
            </a:lvl4pPr>
            <a:lvl5pPr algn="r" rtl="0" eaLnBrk="1" fontAlgn="base" hangingPunct="1">
              <a:spcBef>
                <a:spcPct val="0"/>
              </a:spcBef>
              <a:spcAft>
                <a:spcPct val="0"/>
              </a:spcAft>
              <a:defRPr sz="2100" b="1">
                <a:solidFill>
                  <a:schemeClr val="bg1"/>
                </a:solidFill>
                <a:latin typeface="Arial" charset="0"/>
              </a:defRPr>
            </a:lvl5pPr>
            <a:lvl6pPr marL="342891" algn="r" rtl="0" eaLnBrk="1" fontAlgn="base" hangingPunct="1">
              <a:spcBef>
                <a:spcPct val="0"/>
              </a:spcBef>
              <a:spcAft>
                <a:spcPct val="0"/>
              </a:spcAft>
              <a:defRPr sz="2100" b="1">
                <a:solidFill>
                  <a:schemeClr val="bg1"/>
                </a:solidFill>
                <a:latin typeface="Arial" charset="0"/>
              </a:defRPr>
            </a:lvl6pPr>
            <a:lvl7pPr marL="685783" algn="r" rtl="0" eaLnBrk="1" fontAlgn="base" hangingPunct="1">
              <a:spcBef>
                <a:spcPct val="0"/>
              </a:spcBef>
              <a:spcAft>
                <a:spcPct val="0"/>
              </a:spcAft>
              <a:defRPr sz="2100" b="1">
                <a:solidFill>
                  <a:schemeClr val="bg1"/>
                </a:solidFill>
                <a:latin typeface="Arial" charset="0"/>
              </a:defRPr>
            </a:lvl7pPr>
            <a:lvl8pPr marL="1028674" algn="r" rtl="0" eaLnBrk="1" fontAlgn="base" hangingPunct="1">
              <a:spcBef>
                <a:spcPct val="0"/>
              </a:spcBef>
              <a:spcAft>
                <a:spcPct val="0"/>
              </a:spcAft>
              <a:defRPr sz="2100" b="1">
                <a:solidFill>
                  <a:schemeClr val="bg1"/>
                </a:solidFill>
                <a:latin typeface="Arial" charset="0"/>
              </a:defRPr>
            </a:lvl8pPr>
            <a:lvl9pPr marL="1371566" algn="r" rtl="0" eaLnBrk="1" fontAlgn="base" hangingPunct="1">
              <a:spcBef>
                <a:spcPct val="0"/>
              </a:spcBef>
              <a:spcAft>
                <a:spcPct val="0"/>
              </a:spcAft>
              <a:defRPr sz="2100" b="1">
                <a:solidFill>
                  <a:schemeClr val="bg1"/>
                </a:solidFill>
                <a:latin typeface="Arial" charset="0"/>
              </a:defRPr>
            </a:lvl9pPr>
          </a:lstStyle>
          <a:p>
            <a:pPr algn="ctr">
              <a:lnSpc>
                <a:spcPct val="100000"/>
              </a:lnSpc>
            </a:pPr>
            <a:r>
              <a:rPr lang="fr-FR" sz="4000" kern="0" dirty="0">
                <a:latin typeface="Avenir Next LT Pro Demi" panose="020B0704020202020204" pitchFamily="34" charset="0"/>
                <a:ea typeface="Cambria" panose="02040503050406030204" pitchFamily="18" charset="0"/>
              </a:rPr>
              <a:t>Programme</a:t>
            </a:r>
            <a:br>
              <a:rPr lang="fr-FR" sz="1600" kern="0" dirty="0">
                <a:solidFill>
                  <a:srgbClr val="5E5E5E"/>
                </a:solidFill>
                <a:latin typeface="Avenir Next LT Pro Demi" panose="020B0704020202020204" pitchFamily="34" charset="0"/>
              </a:rPr>
            </a:br>
            <a:br>
              <a:rPr lang="fr-FR" sz="2800" kern="0" dirty="0">
                <a:latin typeface="Avenir Next LT Pro Demi" panose="020B0704020202020204" pitchFamily="34" charset="0"/>
                <a:ea typeface="Cambria" panose="02040503050406030204" pitchFamily="18" charset="0"/>
              </a:rPr>
            </a:br>
            <a:r>
              <a:rPr lang="fr-FR" sz="2400" i="1" kern="0" dirty="0">
                <a:latin typeface="Avenir Next LT Pro Demi" panose="020B0704020202020204" pitchFamily="34" charset="0"/>
                <a:ea typeface="Cambria" panose="02040503050406030204" pitchFamily="18" charset="0"/>
              </a:rPr>
              <a:t>Mercredi 22 juin</a:t>
            </a:r>
            <a:endParaRPr lang="fr-FR" sz="2800" i="1" kern="0" dirty="0">
              <a:latin typeface="Avenir Next LT Pro Demi" panose="020B0704020202020204" pitchFamily="34" charset="0"/>
              <a:ea typeface="Cambria" panose="02040503050406030204" pitchFamily="18" charset="0"/>
            </a:endParaRPr>
          </a:p>
        </p:txBody>
      </p:sp>
      <p:pic>
        <p:nvPicPr>
          <p:cNvPr id="5" name="Image 4">
            <a:extLst>
              <a:ext uri="{FF2B5EF4-FFF2-40B4-BE49-F238E27FC236}">
                <a16:creationId xmlns:a16="http://schemas.microsoft.com/office/drawing/2014/main" id="{90B51CEB-17D1-DBA0-8C1B-7638AFB33C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2374" y="1745435"/>
            <a:ext cx="3573902" cy="750937"/>
          </a:xfrm>
          <a:prstGeom prst="rect">
            <a:avLst/>
          </a:prstGeom>
        </p:spPr>
      </p:pic>
    </p:spTree>
    <p:extLst>
      <p:ext uri="{BB962C8B-B14F-4D97-AF65-F5344CB8AC3E}">
        <p14:creationId xmlns:p14="http://schemas.microsoft.com/office/powerpoint/2010/main" val="1848561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6177D5C-223D-0B43-B640-89269EE2DD2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409"/>
            <a:ext cx="12192000" cy="278494"/>
          </a:xfrm>
          <a:prstGeom prst="rect">
            <a:avLst/>
          </a:prstGeom>
        </p:spPr>
      </p:pic>
      <p:pic>
        <p:nvPicPr>
          <p:cNvPr id="3" name="Image 2">
            <a:extLst>
              <a:ext uri="{FF2B5EF4-FFF2-40B4-BE49-F238E27FC236}">
                <a16:creationId xmlns:a16="http://schemas.microsoft.com/office/drawing/2014/main" id="{CEFC34E0-338C-6445-8CFD-13F91CDD7C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0"/>
            <a:ext cx="12192000" cy="275085"/>
          </a:xfrm>
          <a:prstGeom prst="rect">
            <a:avLst/>
          </a:prstGeom>
        </p:spPr>
      </p:pic>
      <p:sp>
        <p:nvSpPr>
          <p:cNvPr id="21" name="Titre 6">
            <a:extLst>
              <a:ext uri="{FF2B5EF4-FFF2-40B4-BE49-F238E27FC236}">
                <a16:creationId xmlns:a16="http://schemas.microsoft.com/office/drawing/2014/main" id="{A7AB43F5-FD25-F640-8DAF-EE7708449D95}"/>
              </a:ext>
            </a:extLst>
          </p:cNvPr>
          <p:cNvSpPr>
            <a:spLocks noGrp="1"/>
          </p:cNvSpPr>
          <p:nvPr>
            <p:ph type="title"/>
          </p:nvPr>
        </p:nvSpPr>
        <p:spPr>
          <a:xfrm>
            <a:off x="768096" y="595307"/>
            <a:ext cx="9887834" cy="2649750"/>
          </a:xfrm>
        </p:spPr>
        <p:txBody>
          <a:bodyPr/>
          <a:lstStyle/>
          <a:p>
            <a:pPr marL="0" marR="0" algn="ctr">
              <a:spcBef>
                <a:spcPts val="0"/>
              </a:spcBef>
              <a:spcAft>
                <a:spcPts val="0"/>
              </a:spcAft>
            </a:pPr>
            <a:r>
              <a:rPr lang="en-US" sz="3200" dirty="0"/>
              <a:t>Comment </a:t>
            </a:r>
            <a:r>
              <a:rPr lang="en-US" sz="3200" dirty="0" err="1"/>
              <a:t>accélérer</a:t>
            </a:r>
            <a:r>
              <a:rPr lang="en-US" sz="3200" dirty="0"/>
              <a:t> la </a:t>
            </a:r>
            <a:r>
              <a:rPr lang="en-US" sz="3200" dirty="0" err="1"/>
              <a:t>valorisation</a:t>
            </a:r>
            <a:br>
              <a:rPr lang="en-US" sz="3200" dirty="0"/>
            </a:br>
            <a:r>
              <a:rPr lang="en-US" sz="3200" dirty="0"/>
              <a:t>de la </a:t>
            </a:r>
            <a:r>
              <a:rPr lang="en-US" sz="3200" dirty="0" err="1"/>
              <a:t>donnée</a:t>
            </a:r>
            <a:r>
              <a:rPr lang="en-US" sz="3200" dirty="0"/>
              <a:t> avec les solutions Oracle ?</a:t>
            </a:r>
            <a:endParaRPr lang="fr-FR" sz="3200" dirty="0"/>
          </a:p>
        </p:txBody>
      </p:sp>
      <p:sp>
        <p:nvSpPr>
          <p:cNvPr id="23" name="Text Placeholder 3">
            <a:extLst>
              <a:ext uri="{FF2B5EF4-FFF2-40B4-BE49-F238E27FC236}">
                <a16:creationId xmlns:a16="http://schemas.microsoft.com/office/drawing/2014/main" id="{E1291659-28E9-9F46-9553-CC218C857774}"/>
              </a:ext>
            </a:extLst>
          </p:cNvPr>
          <p:cNvSpPr txBox="1">
            <a:spLocks/>
          </p:cNvSpPr>
          <p:nvPr/>
        </p:nvSpPr>
        <p:spPr>
          <a:xfrm>
            <a:off x="646295" y="3996159"/>
            <a:ext cx="10899409" cy="83220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Oracle Sans Light" panose="020B0403020204020204" pitchFamily="34" charset="0"/>
                <a:ea typeface="+mn-ea"/>
                <a:cs typeface="Oracle Sans Light" panose="020B04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000" b="1" i="0" u="none" strike="noStrike" kern="1200" cap="none" spc="0" normalizeH="0" baseline="0" noProof="0" dirty="0">
                <a:ln>
                  <a:noFill/>
                </a:ln>
                <a:solidFill>
                  <a:srgbClr val="E6AC58"/>
                </a:solidFill>
                <a:effectLst/>
                <a:uLnTx/>
                <a:uFillTx/>
                <a:latin typeface="Oracle Sans" panose="020B0503020204020204" pitchFamily="34" charset="0"/>
                <a:ea typeface="+mn-ea"/>
                <a:cs typeface="Oracle Sans" panose="020B0503020204020204" pitchFamily="34" charset="0"/>
              </a:rPr>
              <a:t>Présentation des services data d’Oracle Cloud Infrastructure OCI</a:t>
            </a:r>
            <a:endParaRPr kumimoji="0" lang="it-IT" sz="2000" b="1" i="0" u="none" strike="noStrike" kern="1200" cap="none" spc="0" normalizeH="0" baseline="0" noProof="0" dirty="0">
              <a:ln>
                <a:noFill/>
              </a:ln>
              <a:solidFill>
                <a:prstClr val="white"/>
              </a:solidFill>
              <a:effectLst/>
              <a:uLnTx/>
              <a:uFillTx/>
              <a:latin typeface="Oracle Sans" panose="020B0503020204020204" pitchFamily="34" charset="0"/>
              <a:ea typeface="+mn-ea"/>
              <a:cs typeface="Oracle Sans" panose="020B0503020204020204" pitchFamily="34" charset="0"/>
            </a:endParaRPr>
          </a:p>
        </p:txBody>
      </p:sp>
      <p:sp>
        <p:nvSpPr>
          <p:cNvPr id="24" name="Rectangle 23">
            <a:extLst>
              <a:ext uri="{FF2B5EF4-FFF2-40B4-BE49-F238E27FC236}">
                <a16:creationId xmlns:a16="http://schemas.microsoft.com/office/drawing/2014/main" id="{1F625A92-BC59-0043-A46F-0C52A222F335}"/>
              </a:ext>
            </a:extLst>
          </p:cNvPr>
          <p:cNvSpPr/>
          <p:nvPr/>
        </p:nvSpPr>
        <p:spPr>
          <a:xfrm>
            <a:off x="768096" y="3501736"/>
            <a:ext cx="849926" cy="1188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Oracle Sans"/>
              <a:ea typeface="+mn-ea"/>
              <a:cs typeface="+mn-cs"/>
            </a:endParaRPr>
          </a:p>
        </p:txBody>
      </p:sp>
    </p:spTree>
    <p:extLst>
      <p:ext uri="{BB962C8B-B14F-4D97-AF65-F5344CB8AC3E}">
        <p14:creationId xmlns:p14="http://schemas.microsoft.com/office/powerpoint/2010/main" val="220196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EF7AF4-A49C-2E41-8F8D-C00B98F1E45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cs typeface="Arial"/>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8B8580"/>
              </a:solidFill>
              <a:effectLst/>
              <a:uLnTx/>
              <a:uFillTx/>
              <a:latin typeface="Oracle Sans"/>
              <a:cs typeface="Arial"/>
            </a:endParaRPr>
          </a:p>
        </p:txBody>
      </p:sp>
      <p:sp>
        <p:nvSpPr>
          <p:cNvPr id="3" name="Footer Placeholder 2">
            <a:extLst>
              <a:ext uri="{FF2B5EF4-FFF2-40B4-BE49-F238E27FC236}">
                <a16:creationId xmlns:a16="http://schemas.microsoft.com/office/drawing/2014/main" id="{27060724-BB91-2543-8F5C-3B11DF0999E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a:cs typeface="Arial"/>
              </a:rPr>
              <a:t>Copyright © 2020, Oracle and/or its affiliates. All rights reserved.</a:t>
            </a:r>
          </a:p>
        </p:txBody>
      </p:sp>
    </p:spTree>
    <p:extLst>
      <p:ext uri="{BB962C8B-B14F-4D97-AF65-F5344CB8AC3E}">
        <p14:creationId xmlns:p14="http://schemas.microsoft.com/office/powerpoint/2010/main" val="152307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3517"/>
</p:tagLst>
</file>

<file path=ppt/tags/tag11.xml><?xml version="1.0" encoding="utf-8"?>
<p:tagLst xmlns:a="http://schemas.openxmlformats.org/drawingml/2006/main" xmlns:r="http://schemas.openxmlformats.org/officeDocument/2006/relationships" xmlns:p="http://schemas.openxmlformats.org/presentationml/2006/main">
  <p:tag name="AS_UNIQUEID" val="3518"/>
</p:tagLst>
</file>

<file path=ppt/tags/tag12.xml><?xml version="1.0" encoding="utf-8"?>
<p:tagLst xmlns:a="http://schemas.openxmlformats.org/drawingml/2006/main" xmlns:r="http://schemas.openxmlformats.org/officeDocument/2006/relationships" xmlns:p="http://schemas.openxmlformats.org/presentationml/2006/main">
  <p:tag name="AS_UNIQUEID" val="3519"/>
</p:tagLst>
</file>

<file path=ppt/tags/tag13.xml><?xml version="1.0" encoding="utf-8"?>
<p:tagLst xmlns:a="http://schemas.openxmlformats.org/drawingml/2006/main" xmlns:r="http://schemas.openxmlformats.org/officeDocument/2006/relationships" xmlns:p="http://schemas.openxmlformats.org/presentationml/2006/main">
  <p:tag name="AS_UNIQUEID" val="3520"/>
</p:tagLst>
</file>

<file path=ppt/tags/tag14.xml><?xml version="1.0" encoding="utf-8"?>
<p:tagLst xmlns:a="http://schemas.openxmlformats.org/drawingml/2006/main" xmlns:r="http://schemas.openxmlformats.org/officeDocument/2006/relationships" xmlns:p="http://schemas.openxmlformats.org/presentationml/2006/main">
  <p:tag name="AS_UNIQUEID" val="3521"/>
</p:tagLst>
</file>

<file path=ppt/tags/tag15.xml><?xml version="1.0" encoding="utf-8"?>
<p:tagLst xmlns:a="http://schemas.openxmlformats.org/drawingml/2006/main" xmlns:r="http://schemas.openxmlformats.org/officeDocument/2006/relationships" xmlns:p="http://schemas.openxmlformats.org/presentationml/2006/main">
  <p:tag name="AS_UNIQUEID" val="3522"/>
</p:tagLst>
</file>

<file path=ppt/tags/tag16.xml><?xml version="1.0" encoding="utf-8"?>
<p:tagLst xmlns:a="http://schemas.openxmlformats.org/drawingml/2006/main" xmlns:r="http://schemas.openxmlformats.org/officeDocument/2006/relationships" xmlns:p="http://schemas.openxmlformats.org/presentationml/2006/main">
  <p:tag name="AS_UNIQUEID" val="3523"/>
</p:tagLst>
</file>

<file path=ppt/tags/tag17.xml><?xml version="1.0" encoding="utf-8"?>
<p:tagLst xmlns:a="http://schemas.openxmlformats.org/drawingml/2006/main" xmlns:r="http://schemas.openxmlformats.org/officeDocument/2006/relationships" xmlns:p="http://schemas.openxmlformats.org/presentationml/2006/main">
  <p:tag name="AS_UNIQUEID" val="3524"/>
</p:tagLst>
</file>

<file path=ppt/tags/tag18.xml><?xml version="1.0" encoding="utf-8"?>
<p:tagLst xmlns:a="http://schemas.openxmlformats.org/drawingml/2006/main" xmlns:r="http://schemas.openxmlformats.org/officeDocument/2006/relationships" xmlns:p="http://schemas.openxmlformats.org/presentationml/2006/main">
  <p:tag name="AS_UNIQUEID" val="3525"/>
</p:tagLst>
</file>

<file path=ppt/tags/tag19.xml><?xml version="1.0" encoding="utf-8"?>
<p:tagLst xmlns:a="http://schemas.openxmlformats.org/drawingml/2006/main" xmlns:r="http://schemas.openxmlformats.org/officeDocument/2006/relationships" xmlns:p="http://schemas.openxmlformats.org/presentationml/2006/main">
  <p:tag name="AS_UNIQUEID" val="3527"/>
</p:tagLst>
</file>

<file path=ppt/tags/tag2.xml><?xml version="1.0" encoding="utf-8"?>
<p:tagLst xmlns:a="http://schemas.openxmlformats.org/drawingml/2006/main" xmlns:r="http://schemas.openxmlformats.org/officeDocument/2006/relationships" xmlns:p="http://schemas.openxmlformats.org/presentationml/2006/main">
  <p:tag name="AS_UNIQUEID" val="3533"/>
</p:tagLst>
</file>

<file path=ppt/tags/tag20.xml><?xml version="1.0" encoding="utf-8"?>
<p:tagLst xmlns:a="http://schemas.openxmlformats.org/drawingml/2006/main" xmlns:r="http://schemas.openxmlformats.org/officeDocument/2006/relationships" xmlns:p="http://schemas.openxmlformats.org/presentationml/2006/main">
  <p:tag name="AS_UNIQUEID" val="3528"/>
</p:tagLst>
</file>

<file path=ppt/tags/tag21.xml><?xml version="1.0" encoding="utf-8"?>
<p:tagLst xmlns:a="http://schemas.openxmlformats.org/drawingml/2006/main" xmlns:r="http://schemas.openxmlformats.org/officeDocument/2006/relationships" xmlns:p="http://schemas.openxmlformats.org/presentationml/2006/main">
  <p:tag name="AS_UNIQUEID" val="3529"/>
</p:tagLst>
</file>

<file path=ppt/tags/tag22.xml><?xml version="1.0" encoding="utf-8"?>
<p:tagLst xmlns:a="http://schemas.openxmlformats.org/drawingml/2006/main" xmlns:r="http://schemas.openxmlformats.org/officeDocument/2006/relationships" xmlns:p="http://schemas.openxmlformats.org/presentationml/2006/main">
  <p:tag name="AS_UNIQUEID" val="3530"/>
</p:tagLst>
</file>

<file path=ppt/tags/tag23.xml><?xml version="1.0" encoding="utf-8"?>
<p:tagLst xmlns:a="http://schemas.openxmlformats.org/drawingml/2006/main" xmlns:r="http://schemas.openxmlformats.org/officeDocument/2006/relationships" xmlns:p="http://schemas.openxmlformats.org/presentationml/2006/main">
  <p:tag name="AS_UNIQUEID" val="3531"/>
</p:tagLst>
</file>

<file path=ppt/tags/tag24.xml><?xml version="1.0" encoding="utf-8"?>
<p:tagLst xmlns:a="http://schemas.openxmlformats.org/drawingml/2006/main" xmlns:r="http://schemas.openxmlformats.org/officeDocument/2006/relationships" xmlns:p="http://schemas.openxmlformats.org/presentationml/2006/main">
  <p:tag name="AS_UNIQUEID" val="15618"/>
</p:tagLst>
</file>

<file path=ppt/tags/tag25.xml><?xml version="1.0" encoding="utf-8"?>
<p:tagLst xmlns:a="http://schemas.openxmlformats.org/drawingml/2006/main" xmlns:r="http://schemas.openxmlformats.org/officeDocument/2006/relationships" xmlns:p="http://schemas.openxmlformats.org/presentationml/2006/main">
  <p:tag name="AS_UNIQUEID" val="15619"/>
</p:tagLst>
</file>

<file path=ppt/tags/tag26.xml><?xml version="1.0" encoding="utf-8"?>
<p:tagLst xmlns:a="http://schemas.openxmlformats.org/drawingml/2006/main" xmlns:r="http://schemas.openxmlformats.org/officeDocument/2006/relationships" xmlns:p="http://schemas.openxmlformats.org/presentationml/2006/main">
  <p:tag name="AS_UNIQUEID" val="15620"/>
</p:tagLst>
</file>

<file path=ppt/tags/tag27.xml><?xml version="1.0" encoding="utf-8"?>
<p:tagLst xmlns:a="http://schemas.openxmlformats.org/drawingml/2006/main" xmlns:r="http://schemas.openxmlformats.org/officeDocument/2006/relationships" xmlns:p="http://schemas.openxmlformats.org/presentationml/2006/main">
  <p:tag name="AS_UNIQUEID" val="15621"/>
</p:tagLst>
</file>

<file path=ppt/tags/tag28.xml><?xml version="1.0" encoding="utf-8"?>
<p:tagLst xmlns:a="http://schemas.openxmlformats.org/drawingml/2006/main" xmlns:r="http://schemas.openxmlformats.org/officeDocument/2006/relationships" xmlns:p="http://schemas.openxmlformats.org/presentationml/2006/main">
  <p:tag name="AS_UNIQUEID" val="1562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S_UNIQUEID" val="3534"/>
</p:tagLst>
</file>

<file path=ppt/tags/tag30.xml><?xml version="1.0" encoding="utf-8"?>
<p:tagLst xmlns:a="http://schemas.openxmlformats.org/drawingml/2006/main" xmlns:r="http://schemas.openxmlformats.org/officeDocument/2006/relationships" xmlns:p="http://schemas.openxmlformats.org/presentationml/2006/main">
  <p:tag name="AS_UNIQUEID" val="3907"/>
</p:tagLst>
</file>

<file path=ppt/tags/tag31.xml><?xml version="1.0" encoding="utf-8"?>
<p:tagLst xmlns:a="http://schemas.openxmlformats.org/drawingml/2006/main" xmlns:r="http://schemas.openxmlformats.org/officeDocument/2006/relationships" xmlns:p="http://schemas.openxmlformats.org/presentationml/2006/main">
  <p:tag name="AS_UNIQUEID" val="3908"/>
</p:tagLst>
</file>

<file path=ppt/tags/tag32.xml><?xml version="1.0" encoding="utf-8"?>
<p:tagLst xmlns:a="http://schemas.openxmlformats.org/drawingml/2006/main" xmlns:r="http://schemas.openxmlformats.org/officeDocument/2006/relationships" xmlns:p="http://schemas.openxmlformats.org/presentationml/2006/main">
  <p:tag name="AS_UNIQUEID" val="3909"/>
</p:tagLst>
</file>

<file path=ppt/tags/tag33.xml><?xml version="1.0" encoding="utf-8"?>
<p:tagLst xmlns:a="http://schemas.openxmlformats.org/drawingml/2006/main" xmlns:r="http://schemas.openxmlformats.org/officeDocument/2006/relationships" xmlns:p="http://schemas.openxmlformats.org/presentationml/2006/main">
  <p:tag name="AS_UNIQUEID" val="3910"/>
</p:tagLst>
</file>

<file path=ppt/tags/tag34.xml><?xml version="1.0" encoding="utf-8"?>
<p:tagLst xmlns:a="http://schemas.openxmlformats.org/drawingml/2006/main" xmlns:r="http://schemas.openxmlformats.org/officeDocument/2006/relationships" xmlns:p="http://schemas.openxmlformats.org/presentationml/2006/main">
  <p:tag name="AS_UNIQUEID" val="3912"/>
</p:tagLst>
</file>

<file path=ppt/tags/tag35.xml><?xml version="1.0" encoding="utf-8"?>
<p:tagLst xmlns:a="http://schemas.openxmlformats.org/drawingml/2006/main" xmlns:r="http://schemas.openxmlformats.org/officeDocument/2006/relationships" xmlns:p="http://schemas.openxmlformats.org/presentationml/2006/main">
  <p:tag name="AS_UNIQUEID" val="3913"/>
</p:tagLst>
</file>

<file path=ppt/tags/tag36.xml><?xml version="1.0" encoding="utf-8"?>
<p:tagLst xmlns:a="http://schemas.openxmlformats.org/drawingml/2006/main" xmlns:r="http://schemas.openxmlformats.org/officeDocument/2006/relationships" xmlns:p="http://schemas.openxmlformats.org/presentationml/2006/main">
  <p:tag name="AS_UNIQUEID" val="3902"/>
</p:tagLst>
</file>

<file path=ppt/tags/tag37.xml><?xml version="1.0" encoding="utf-8"?>
<p:tagLst xmlns:a="http://schemas.openxmlformats.org/drawingml/2006/main" xmlns:r="http://schemas.openxmlformats.org/officeDocument/2006/relationships" xmlns:p="http://schemas.openxmlformats.org/presentationml/2006/main">
  <p:tag name="AS_UNIQUEID" val="3903"/>
</p:tagLst>
</file>

<file path=ppt/tags/tag38.xml><?xml version="1.0" encoding="utf-8"?>
<p:tagLst xmlns:a="http://schemas.openxmlformats.org/drawingml/2006/main" xmlns:r="http://schemas.openxmlformats.org/officeDocument/2006/relationships" xmlns:p="http://schemas.openxmlformats.org/presentationml/2006/main">
  <p:tag name="AS_UNIQUEID" val="3904"/>
</p:tagLst>
</file>

<file path=ppt/tags/tag39.xml><?xml version="1.0" encoding="utf-8"?>
<p:tagLst xmlns:a="http://schemas.openxmlformats.org/drawingml/2006/main" xmlns:r="http://schemas.openxmlformats.org/officeDocument/2006/relationships" xmlns:p="http://schemas.openxmlformats.org/presentationml/2006/main">
  <p:tag name="AS_UNIQUEID" val="15740"/>
</p:tagLst>
</file>

<file path=ppt/tags/tag4.xml><?xml version="1.0" encoding="utf-8"?>
<p:tagLst xmlns:a="http://schemas.openxmlformats.org/drawingml/2006/main" xmlns:r="http://schemas.openxmlformats.org/officeDocument/2006/relationships" xmlns:p="http://schemas.openxmlformats.org/presentationml/2006/main">
  <p:tag name="AS_UNIQUEID" val="3535"/>
</p:tagLst>
</file>

<file path=ppt/tags/tag40.xml><?xml version="1.0" encoding="utf-8"?>
<p:tagLst xmlns:a="http://schemas.openxmlformats.org/drawingml/2006/main" xmlns:r="http://schemas.openxmlformats.org/officeDocument/2006/relationships" xmlns:p="http://schemas.openxmlformats.org/presentationml/2006/main">
  <p:tag name="AS_UNIQUEID" val="15739"/>
</p:tagLst>
</file>

<file path=ppt/tags/tag41.xml><?xml version="1.0" encoding="utf-8"?>
<p:tagLst xmlns:a="http://schemas.openxmlformats.org/drawingml/2006/main" xmlns:r="http://schemas.openxmlformats.org/officeDocument/2006/relationships" xmlns:p="http://schemas.openxmlformats.org/presentationml/2006/main">
  <p:tag name="AS_UNIQUEID" val="15741"/>
</p:tagLst>
</file>

<file path=ppt/tags/tag42.xml><?xml version="1.0" encoding="utf-8"?>
<p:tagLst xmlns:a="http://schemas.openxmlformats.org/drawingml/2006/main" xmlns:r="http://schemas.openxmlformats.org/officeDocument/2006/relationships" xmlns:p="http://schemas.openxmlformats.org/presentationml/2006/main">
  <p:tag name="AS_UNIQUEID" val="15742"/>
</p:tagLst>
</file>

<file path=ppt/tags/tag43.xml><?xml version="1.0" encoding="utf-8"?>
<p:tagLst xmlns:a="http://schemas.openxmlformats.org/drawingml/2006/main" xmlns:r="http://schemas.openxmlformats.org/officeDocument/2006/relationships" xmlns:p="http://schemas.openxmlformats.org/presentationml/2006/main">
  <p:tag name="AS_UNIQUEID" val="15743"/>
</p:tagLst>
</file>

<file path=ppt/tags/tag44.xml><?xml version="1.0" encoding="utf-8"?>
<p:tagLst xmlns:a="http://schemas.openxmlformats.org/drawingml/2006/main" xmlns:r="http://schemas.openxmlformats.org/officeDocument/2006/relationships" xmlns:p="http://schemas.openxmlformats.org/presentationml/2006/main">
  <p:tag name="AS_UNIQUEID" val="15744"/>
</p:tagLst>
</file>

<file path=ppt/tags/tag45.xml><?xml version="1.0" encoding="utf-8"?>
<p:tagLst xmlns:a="http://schemas.openxmlformats.org/drawingml/2006/main" xmlns:r="http://schemas.openxmlformats.org/officeDocument/2006/relationships" xmlns:p="http://schemas.openxmlformats.org/presentationml/2006/main">
  <p:tag name="AS_UNIQUEID" val="15745"/>
</p:tagLst>
</file>

<file path=ppt/tags/tag46.xml><?xml version="1.0" encoding="utf-8"?>
<p:tagLst xmlns:a="http://schemas.openxmlformats.org/drawingml/2006/main" xmlns:r="http://schemas.openxmlformats.org/officeDocument/2006/relationships" xmlns:p="http://schemas.openxmlformats.org/presentationml/2006/main">
  <p:tag name="AS_UNIQUEID" val="15746"/>
</p:tagLst>
</file>

<file path=ppt/tags/tag47.xml><?xml version="1.0" encoding="utf-8"?>
<p:tagLst xmlns:a="http://schemas.openxmlformats.org/drawingml/2006/main" xmlns:r="http://schemas.openxmlformats.org/officeDocument/2006/relationships" xmlns:p="http://schemas.openxmlformats.org/presentationml/2006/main">
  <p:tag name="AS_UNIQUEID" val="15747"/>
</p:tagLst>
</file>

<file path=ppt/tags/tag48.xml><?xml version="1.0" encoding="utf-8"?>
<p:tagLst xmlns:a="http://schemas.openxmlformats.org/drawingml/2006/main" xmlns:r="http://schemas.openxmlformats.org/officeDocument/2006/relationships" xmlns:p="http://schemas.openxmlformats.org/presentationml/2006/main">
  <p:tag name="AS_UNIQUEID" val="15748"/>
</p:tagLst>
</file>

<file path=ppt/tags/tag49.xml><?xml version="1.0" encoding="utf-8"?>
<p:tagLst xmlns:a="http://schemas.openxmlformats.org/drawingml/2006/main" xmlns:r="http://schemas.openxmlformats.org/officeDocument/2006/relationships" xmlns:p="http://schemas.openxmlformats.org/presentationml/2006/main">
  <p:tag name="AS_UNIQUEID" val="15749"/>
</p:tagLst>
</file>

<file path=ppt/tags/tag5.xml><?xml version="1.0" encoding="utf-8"?>
<p:tagLst xmlns:a="http://schemas.openxmlformats.org/drawingml/2006/main" xmlns:r="http://schemas.openxmlformats.org/officeDocument/2006/relationships" xmlns:p="http://schemas.openxmlformats.org/presentationml/2006/main">
  <p:tag name="AS_UNIQUEID" val="3536"/>
</p:tagLst>
</file>

<file path=ppt/tags/tag50.xml><?xml version="1.0" encoding="utf-8"?>
<p:tagLst xmlns:a="http://schemas.openxmlformats.org/drawingml/2006/main" xmlns:r="http://schemas.openxmlformats.org/officeDocument/2006/relationships" xmlns:p="http://schemas.openxmlformats.org/presentationml/2006/main">
  <p:tag name="AS_UNIQUEID" val="15750"/>
</p:tagLst>
</file>

<file path=ppt/tags/tag51.xml><?xml version="1.0" encoding="utf-8"?>
<p:tagLst xmlns:a="http://schemas.openxmlformats.org/drawingml/2006/main" xmlns:r="http://schemas.openxmlformats.org/officeDocument/2006/relationships" xmlns:p="http://schemas.openxmlformats.org/presentationml/2006/main">
  <p:tag name="AS_UNIQUEID" val="15751"/>
</p:tagLst>
</file>

<file path=ppt/tags/tag52.xml><?xml version="1.0" encoding="utf-8"?>
<p:tagLst xmlns:a="http://schemas.openxmlformats.org/drawingml/2006/main" xmlns:r="http://schemas.openxmlformats.org/officeDocument/2006/relationships" xmlns:p="http://schemas.openxmlformats.org/presentationml/2006/main">
  <p:tag name="AS_UNIQUEID" val="15752"/>
</p:tagLst>
</file>

<file path=ppt/tags/tag53.xml><?xml version="1.0" encoding="utf-8"?>
<p:tagLst xmlns:a="http://schemas.openxmlformats.org/drawingml/2006/main" xmlns:r="http://schemas.openxmlformats.org/officeDocument/2006/relationships" xmlns:p="http://schemas.openxmlformats.org/presentationml/2006/main">
  <p:tag name="AS_UNIQUEID" val="15753"/>
</p:tagLst>
</file>

<file path=ppt/tags/tag54.xml><?xml version="1.0" encoding="utf-8"?>
<p:tagLst xmlns:a="http://schemas.openxmlformats.org/drawingml/2006/main" xmlns:r="http://schemas.openxmlformats.org/officeDocument/2006/relationships" xmlns:p="http://schemas.openxmlformats.org/presentationml/2006/main">
  <p:tag name="AS_UNIQUEID" val="15754"/>
</p:tagLst>
</file>

<file path=ppt/tags/tag55.xml><?xml version="1.0" encoding="utf-8"?>
<p:tagLst xmlns:a="http://schemas.openxmlformats.org/drawingml/2006/main" xmlns:r="http://schemas.openxmlformats.org/officeDocument/2006/relationships" xmlns:p="http://schemas.openxmlformats.org/presentationml/2006/main">
  <p:tag name="AS_UNIQUEID" val="15755"/>
</p:tagLst>
</file>

<file path=ppt/tags/tag56.xml><?xml version="1.0" encoding="utf-8"?>
<p:tagLst xmlns:a="http://schemas.openxmlformats.org/drawingml/2006/main" xmlns:r="http://schemas.openxmlformats.org/officeDocument/2006/relationships" xmlns:p="http://schemas.openxmlformats.org/presentationml/2006/main">
  <p:tag name="AS_UNIQUEID" val="15756"/>
</p:tagLst>
</file>

<file path=ppt/tags/tag57.xml><?xml version="1.0" encoding="utf-8"?>
<p:tagLst xmlns:a="http://schemas.openxmlformats.org/drawingml/2006/main" xmlns:r="http://schemas.openxmlformats.org/officeDocument/2006/relationships" xmlns:p="http://schemas.openxmlformats.org/presentationml/2006/main">
  <p:tag name="AS_UNIQUEID" val="15757"/>
</p:tagLst>
</file>

<file path=ppt/tags/tag58.xml><?xml version="1.0" encoding="utf-8"?>
<p:tagLst xmlns:a="http://schemas.openxmlformats.org/drawingml/2006/main" xmlns:r="http://schemas.openxmlformats.org/officeDocument/2006/relationships" xmlns:p="http://schemas.openxmlformats.org/presentationml/2006/main">
  <p:tag name="AS_UNIQUEID" val="15758"/>
</p:tagLst>
</file>

<file path=ppt/tags/tag59.xml><?xml version="1.0" encoding="utf-8"?>
<p:tagLst xmlns:a="http://schemas.openxmlformats.org/drawingml/2006/main" xmlns:r="http://schemas.openxmlformats.org/officeDocument/2006/relationships" xmlns:p="http://schemas.openxmlformats.org/presentationml/2006/main">
  <p:tag name="AS_UNIQUEID" val="15759"/>
</p:tagLst>
</file>

<file path=ppt/tags/tag6.xml><?xml version="1.0" encoding="utf-8"?>
<p:tagLst xmlns:a="http://schemas.openxmlformats.org/drawingml/2006/main" xmlns:r="http://schemas.openxmlformats.org/officeDocument/2006/relationships" xmlns:p="http://schemas.openxmlformats.org/presentationml/2006/main">
  <p:tag name="AS_UNIQUEID" val="3537"/>
</p:tagLst>
</file>

<file path=ppt/tags/tag60.xml><?xml version="1.0" encoding="utf-8"?>
<p:tagLst xmlns:a="http://schemas.openxmlformats.org/drawingml/2006/main" xmlns:r="http://schemas.openxmlformats.org/officeDocument/2006/relationships" xmlns:p="http://schemas.openxmlformats.org/presentationml/2006/main">
  <p:tag name="AS_UNIQUEID" val="15760"/>
</p:tagLst>
</file>

<file path=ppt/tags/tag61.xml><?xml version="1.0" encoding="utf-8"?>
<p:tagLst xmlns:a="http://schemas.openxmlformats.org/drawingml/2006/main" xmlns:r="http://schemas.openxmlformats.org/officeDocument/2006/relationships" xmlns:p="http://schemas.openxmlformats.org/presentationml/2006/main">
  <p:tag name="AS_UNIQUEID" val="15734"/>
</p:tagLst>
</file>

<file path=ppt/tags/tag62.xml><?xml version="1.0" encoding="utf-8"?>
<p:tagLst xmlns:a="http://schemas.openxmlformats.org/drawingml/2006/main" xmlns:r="http://schemas.openxmlformats.org/officeDocument/2006/relationships" xmlns:p="http://schemas.openxmlformats.org/presentationml/2006/main">
  <p:tag name="AS_UNIQUEID" val="15735"/>
</p:tagLst>
</file>

<file path=ppt/tags/tag63.xml><?xml version="1.0" encoding="utf-8"?>
<p:tagLst xmlns:a="http://schemas.openxmlformats.org/drawingml/2006/main" xmlns:r="http://schemas.openxmlformats.org/officeDocument/2006/relationships" xmlns:p="http://schemas.openxmlformats.org/presentationml/2006/main">
  <p:tag name="AS_UNIQUEID" val="15736"/>
</p:tagLst>
</file>

<file path=ppt/tags/tag64.xml><?xml version="1.0" encoding="utf-8"?>
<p:tagLst xmlns:a="http://schemas.openxmlformats.org/drawingml/2006/main" xmlns:r="http://schemas.openxmlformats.org/officeDocument/2006/relationships" xmlns:p="http://schemas.openxmlformats.org/presentationml/2006/main">
  <p:tag name="AS_UNIQUEID" val="4375"/>
</p:tagLst>
</file>

<file path=ppt/tags/tag65.xml><?xml version="1.0" encoding="utf-8"?>
<p:tagLst xmlns:a="http://schemas.openxmlformats.org/drawingml/2006/main" xmlns:r="http://schemas.openxmlformats.org/officeDocument/2006/relationships" xmlns:p="http://schemas.openxmlformats.org/presentationml/2006/main">
  <p:tag name="AS_UNIQUEID" val="4379"/>
</p:tagLst>
</file>

<file path=ppt/tags/tag66.xml><?xml version="1.0" encoding="utf-8"?>
<p:tagLst xmlns:a="http://schemas.openxmlformats.org/drawingml/2006/main" xmlns:r="http://schemas.openxmlformats.org/officeDocument/2006/relationships" xmlns:p="http://schemas.openxmlformats.org/presentationml/2006/main">
  <p:tag name="AS_UNIQUEID" val="4380"/>
</p:tagLst>
</file>

<file path=ppt/tags/tag67.xml><?xml version="1.0" encoding="utf-8"?>
<p:tagLst xmlns:a="http://schemas.openxmlformats.org/drawingml/2006/main" xmlns:r="http://schemas.openxmlformats.org/officeDocument/2006/relationships" xmlns:p="http://schemas.openxmlformats.org/presentationml/2006/main">
  <p:tag name="AS_UNIQUEID" val="4382"/>
</p:tagLst>
</file>

<file path=ppt/tags/tag68.xml><?xml version="1.0" encoding="utf-8"?>
<p:tagLst xmlns:a="http://schemas.openxmlformats.org/drawingml/2006/main" xmlns:r="http://schemas.openxmlformats.org/officeDocument/2006/relationships" xmlns:p="http://schemas.openxmlformats.org/presentationml/2006/main">
  <p:tag name="AS_UNIQUEID" val="4391"/>
</p:tagLst>
</file>

<file path=ppt/tags/tag69.xml><?xml version="1.0" encoding="utf-8"?>
<p:tagLst xmlns:a="http://schemas.openxmlformats.org/drawingml/2006/main" xmlns:r="http://schemas.openxmlformats.org/officeDocument/2006/relationships" xmlns:p="http://schemas.openxmlformats.org/presentationml/2006/main">
  <p:tag name="AS_UNIQUEID" val="4392"/>
</p:tagLst>
</file>

<file path=ppt/tags/tag7.xml><?xml version="1.0" encoding="utf-8"?>
<p:tagLst xmlns:a="http://schemas.openxmlformats.org/drawingml/2006/main" xmlns:r="http://schemas.openxmlformats.org/officeDocument/2006/relationships" xmlns:p="http://schemas.openxmlformats.org/presentationml/2006/main">
  <p:tag name="AS_UNIQUEID" val="3538"/>
</p:tagLst>
</file>

<file path=ppt/tags/tag70.xml><?xml version="1.0" encoding="utf-8"?>
<p:tagLst xmlns:a="http://schemas.openxmlformats.org/drawingml/2006/main" xmlns:r="http://schemas.openxmlformats.org/officeDocument/2006/relationships" xmlns:p="http://schemas.openxmlformats.org/presentationml/2006/main">
  <p:tag name="AS_UNIQUEID" val="4394"/>
</p:tagLst>
</file>

<file path=ppt/tags/tag71.xml><?xml version="1.0" encoding="utf-8"?>
<p:tagLst xmlns:a="http://schemas.openxmlformats.org/drawingml/2006/main" xmlns:r="http://schemas.openxmlformats.org/officeDocument/2006/relationships" xmlns:p="http://schemas.openxmlformats.org/presentationml/2006/main">
  <p:tag name="AS_UNIQUEID" val="4400"/>
</p:tagLst>
</file>

<file path=ppt/tags/tag72.xml><?xml version="1.0" encoding="utf-8"?>
<p:tagLst xmlns:a="http://schemas.openxmlformats.org/drawingml/2006/main" xmlns:r="http://schemas.openxmlformats.org/officeDocument/2006/relationships" xmlns:p="http://schemas.openxmlformats.org/presentationml/2006/main">
  <p:tag name="AS_UNIQUEID" val="4401"/>
</p:tagLst>
</file>

<file path=ppt/tags/tag73.xml><?xml version="1.0" encoding="utf-8"?>
<p:tagLst xmlns:a="http://schemas.openxmlformats.org/drawingml/2006/main" xmlns:r="http://schemas.openxmlformats.org/officeDocument/2006/relationships" xmlns:p="http://schemas.openxmlformats.org/presentationml/2006/main">
  <p:tag name="AS_UNIQUEID" val="4404"/>
</p:tagLst>
</file>

<file path=ppt/tags/tag74.xml><?xml version="1.0" encoding="utf-8"?>
<p:tagLst xmlns:a="http://schemas.openxmlformats.org/drawingml/2006/main" xmlns:r="http://schemas.openxmlformats.org/officeDocument/2006/relationships" xmlns:p="http://schemas.openxmlformats.org/presentationml/2006/main">
  <p:tag name="AS_UNIQUEID" val="4416"/>
</p:tagLst>
</file>

<file path=ppt/tags/tag75.xml><?xml version="1.0" encoding="utf-8"?>
<p:tagLst xmlns:a="http://schemas.openxmlformats.org/drawingml/2006/main" xmlns:r="http://schemas.openxmlformats.org/officeDocument/2006/relationships" xmlns:p="http://schemas.openxmlformats.org/presentationml/2006/main">
  <p:tag name="AS_UNIQUEID" val="4417"/>
</p:tagLst>
</file>

<file path=ppt/tags/tag76.xml><?xml version="1.0" encoding="utf-8"?>
<p:tagLst xmlns:a="http://schemas.openxmlformats.org/drawingml/2006/main" xmlns:r="http://schemas.openxmlformats.org/officeDocument/2006/relationships" xmlns:p="http://schemas.openxmlformats.org/presentationml/2006/main">
  <p:tag name="AS_UNIQUEID" val="4420"/>
</p:tagLst>
</file>

<file path=ppt/tags/tag77.xml><?xml version="1.0" encoding="utf-8"?>
<p:tagLst xmlns:a="http://schemas.openxmlformats.org/drawingml/2006/main" xmlns:r="http://schemas.openxmlformats.org/officeDocument/2006/relationships" xmlns:p="http://schemas.openxmlformats.org/presentationml/2006/main">
  <p:tag name="AS_UNIQUEID" val="4422"/>
</p:tagLst>
</file>

<file path=ppt/tags/tag78.xml><?xml version="1.0" encoding="utf-8"?>
<p:tagLst xmlns:a="http://schemas.openxmlformats.org/drawingml/2006/main" xmlns:r="http://schemas.openxmlformats.org/officeDocument/2006/relationships" xmlns:p="http://schemas.openxmlformats.org/presentationml/2006/main">
  <p:tag name="AS_UNIQUEID" val="4423"/>
</p:tagLst>
</file>

<file path=ppt/tags/tag79.xml><?xml version="1.0" encoding="utf-8"?>
<p:tagLst xmlns:a="http://schemas.openxmlformats.org/drawingml/2006/main" xmlns:r="http://schemas.openxmlformats.org/officeDocument/2006/relationships" xmlns:p="http://schemas.openxmlformats.org/presentationml/2006/main">
  <p:tag name="AS_UNIQUEID" val="4426"/>
</p:tagLst>
</file>

<file path=ppt/tags/tag8.xml><?xml version="1.0" encoding="utf-8"?>
<p:tagLst xmlns:a="http://schemas.openxmlformats.org/drawingml/2006/main" xmlns:r="http://schemas.openxmlformats.org/officeDocument/2006/relationships" xmlns:p="http://schemas.openxmlformats.org/presentationml/2006/main">
  <p:tag name="AS_UNIQUEID" val="3539"/>
</p:tagLst>
</file>

<file path=ppt/tags/tag80.xml><?xml version="1.0" encoding="utf-8"?>
<p:tagLst xmlns:a="http://schemas.openxmlformats.org/drawingml/2006/main" xmlns:r="http://schemas.openxmlformats.org/officeDocument/2006/relationships" xmlns:p="http://schemas.openxmlformats.org/presentationml/2006/main">
  <p:tag name="AS_UNIQUEID" val="4432"/>
</p:tagLst>
</file>

<file path=ppt/tags/tag81.xml><?xml version="1.0" encoding="utf-8"?>
<p:tagLst xmlns:a="http://schemas.openxmlformats.org/drawingml/2006/main" xmlns:r="http://schemas.openxmlformats.org/officeDocument/2006/relationships" xmlns:p="http://schemas.openxmlformats.org/presentationml/2006/main">
  <p:tag name="AS_UNIQUEID" val="4433"/>
</p:tagLst>
</file>

<file path=ppt/tags/tag82.xml><?xml version="1.0" encoding="utf-8"?>
<p:tagLst xmlns:a="http://schemas.openxmlformats.org/drawingml/2006/main" xmlns:r="http://schemas.openxmlformats.org/officeDocument/2006/relationships" xmlns:p="http://schemas.openxmlformats.org/presentationml/2006/main">
  <p:tag name="AS_UNIQUEID" val="4435"/>
</p:tagLst>
</file>

<file path=ppt/tags/tag83.xml><?xml version="1.0" encoding="utf-8"?>
<p:tagLst xmlns:a="http://schemas.openxmlformats.org/drawingml/2006/main" xmlns:r="http://schemas.openxmlformats.org/officeDocument/2006/relationships" xmlns:p="http://schemas.openxmlformats.org/presentationml/2006/main">
  <p:tag name="AS_UNIQUEID" val="4437"/>
</p:tagLst>
</file>

<file path=ppt/tags/tag84.xml><?xml version="1.0" encoding="utf-8"?>
<p:tagLst xmlns:a="http://schemas.openxmlformats.org/drawingml/2006/main" xmlns:r="http://schemas.openxmlformats.org/officeDocument/2006/relationships" xmlns:p="http://schemas.openxmlformats.org/presentationml/2006/main">
  <p:tag name="AS_UNIQUEID" val="4438"/>
</p:tagLst>
</file>

<file path=ppt/tags/tag85.xml><?xml version="1.0" encoding="utf-8"?>
<p:tagLst xmlns:a="http://schemas.openxmlformats.org/drawingml/2006/main" xmlns:r="http://schemas.openxmlformats.org/officeDocument/2006/relationships" xmlns:p="http://schemas.openxmlformats.org/presentationml/2006/main">
  <p:tag name="AS_UNIQUEID" val="4439"/>
</p:tagLst>
</file>

<file path=ppt/tags/tag86.xml><?xml version="1.0" encoding="utf-8"?>
<p:tagLst xmlns:a="http://schemas.openxmlformats.org/drawingml/2006/main" xmlns:r="http://schemas.openxmlformats.org/officeDocument/2006/relationships" xmlns:p="http://schemas.openxmlformats.org/presentationml/2006/main">
  <p:tag name="AS_UNIQUEID" val="4440"/>
</p:tagLst>
</file>

<file path=ppt/tags/tag87.xml><?xml version="1.0" encoding="utf-8"?>
<p:tagLst xmlns:a="http://schemas.openxmlformats.org/drawingml/2006/main" xmlns:r="http://schemas.openxmlformats.org/officeDocument/2006/relationships" xmlns:p="http://schemas.openxmlformats.org/presentationml/2006/main">
  <p:tag name="AS_UNIQUEID" val="4441"/>
</p:tagLst>
</file>

<file path=ppt/tags/tag88.xml><?xml version="1.0" encoding="utf-8"?>
<p:tagLst xmlns:a="http://schemas.openxmlformats.org/drawingml/2006/main" xmlns:r="http://schemas.openxmlformats.org/officeDocument/2006/relationships" xmlns:p="http://schemas.openxmlformats.org/presentationml/2006/main">
  <p:tag name="AS_UNIQUEID" val="15330"/>
</p:tagLst>
</file>

<file path=ppt/tags/tag89.xml><?xml version="1.0" encoding="utf-8"?>
<p:tagLst xmlns:a="http://schemas.openxmlformats.org/drawingml/2006/main" xmlns:r="http://schemas.openxmlformats.org/officeDocument/2006/relationships" xmlns:p="http://schemas.openxmlformats.org/presentationml/2006/main">
  <p:tag name="AS_UNIQUEID" val="15333"/>
</p:tagLst>
</file>

<file path=ppt/tags/tag9.xml><?xml version="1.0" encoding="utf-8"?>
<p:tagLst xmlns:a="http://schemas.openxmlformats.org/drawingml/2006/main" xmlns:r="http://schemas.openxmlformats.org/officeDocument/2006/relationships" xmlns:p="http://schemas.openxmlformats.org/presentationml/2006/main">
  <p:tag name="AS_UNIQUEID" val="3540"/>
</p:tagLst>
</file>

<file path=ppt/tags/tag90.xml><?xml version="1.0" encoding="utf-8"?>
<p:tagLst xmlns:a="http://schemas.openxmlformats.org/drawingml/2006/main" xmlns:r="http://schemas.openxmlformats.org/officeDocument/2006/relationships" xmlns:p="http://schemas.openxmlformats.org/presentationml/2006/main">
  <p:tag name="AS_UNIQUEID" val="15335"/>
</p:tagLst>
</file>

<file path=ppt/tags/tag91.xml><?xml version="1.0" encoding="utf-8"?>
<p:tagLst xmlns:a="http://schemas.openxmlformats.org/drawingml/2006/main" xmlns:r="http://schemas.openxmlformats.org/officeDocument/2006/relationships" xmlns:p="http://schemas.openxmlformats.org/presentationml/2006/main">
  <p:tag name="AS_UNIQUEID" val="15336"/>
</p:tagLst>
</file>

<file path=ppt/tags/tag92.xml><?xml version="1.0" encoding="utf-8"?>
<p:tagLst xmlns:a="http://schemas.openxmlformats.org/drawingml/2006/main" xmlns:r="http://schemas.openxmlformats.org/officeDocument/2006/relationships" xmlns:p="http://schemas.openxmlformats.org/presentationml/2006/main">
  <p:tag name="AS_UNIQUEID" val="15337"/>
</p:tagLst>
</file>

<file path=ppt/tags/tag93.xml><?xml version="1.0" encoding="utf-8"?>
<p:tagLst xmlns:a="http://schemas.openxmlformats.org/drawingml/2006/main" xmlns:r="http://schemas.openxmlformats.org/officeDocument/2006/relationships" xmlns:p="http://schemas.openxmlformats.org/presentationml/2006/main">
  <p:tag name="AS_UNIQUEID" val="15338"/>
</p:tagLst>
</file>

<file path=ppt/tags/tag94.xml><?xml version="1.0" encoding="utf-8"?>
<p:tagLst xmlns:a="http://schemas.openxmlformats.org/drawingml/2006/main" xmlns:r="http://schemas.openxmlformats.org/officeDocument/2006/relationships" xmlns:p="http://schemas.openxmlformats.org/presentationml/2006/main">
  <p:tag name="AS_UNIQUEID" val="15339"/>
</p:tagLst>
</file>

<file path=ppt/tags/tag95.xml><?xml version="1.0" encoding="utf-8"?>
<p:tagLst xmlns:a="http://schemas.openxmlformats.org/drawingml/2006/main" xmlns:r="http://schemas.openxmlformats.org/officeDocument/2006/relationships" xmlns:p="http://schemas.openxmlformats.org/presentationml/2006/main">
  <p:tag name="AS_UNIQUEID" val="15331"/>
</p:tagLst>
</file>

<file path=ppt/tags/tag96.xml><?xml version="1.0" encoding="utf-8"?>
<p:tagLst xmlns:a="http://schemas.openxmlformats.org/drawingml/2006/main" xmlns:r="http://schemas.openxmlformats.org/officeDocument/2006/relationships" xmlns:p="http://schemas.openxmlformats.org/presentationml/2006/main">
  <p:tag name="AS_UNIQUEID" val="15332"/>
</p:tagLst>
</file>

<file path=ppt/tags/tag97.xml><?xml version="1.0" encoding="utf-8"?>
<p:tagLst xmlns:a="http://schemas.openxmlformats.org/drawingml/2006/main" xmlns:r="http://schemas.openxmlformats.org/officeDocument/2006/relationships" xmlns:p="http://schemas.openxmlformats.org/presentationml/2006/main">
  <p:tag name="AS_UNIQUEID" val="4370"/>
</p:tagLst>
</file>

<file path=ppt/tags/tag98.xml><?xml version="1.0" encoding="utf-8"?>
<p:tagLst xmlns:a="http://schemas.openxmlformats.org/drawingml/2006/main" xmlns:r="http://schemas.openxmlformats.org/officeDocument/2006/relationships" xmlns:p="http://schemas.openxmlformats.org/presentationml/2006/main">
  <p:tag name="AS_UNIQUEID" val="4371"/>
</p:tagLst>
</file>

<file path=ppt/tags/tag99.xml><?xml version="1.0" encoding="utf-8"?>
<p:tagLst xmlns:a="http://schemas.openxmlformats.org/drawingml/2006/main" xmlns:r="http://schemas.openxmlformats.org/officeDocument/2006/relationships" xmlns:p="http://schemas.openxmlformats.org/presentationml/2006/main">
  <p:tag name="AS_UNIQUEID" val="4372"/>
</p:tagLst>
</file>

<file path=ppt/theme/theme1.xml><?xml version="1.0" encoding="utf-8"?>
<a:theme xmlns:a="http://schemas.openxmlformats.org/drawingml/2006/main" name="4_Modele_Yooz">
  <a:themeElements>
    <a:clrScheme name="">
      <a:dk1>
        <a:srgbClr val="292929"/>
      </a:dk1>
      <a:lt1>
        <a:srgbClr val="FFFFFF"/>
      </a:lt1>
      <a:dk2>
        <a:srgbClr val="FFFFFF"/>
      </a:dk2>
      <a:lt2>
        <a:srgbClr val="4D4D4D"/>
      </a:lt2>
      <a:accent1>
        <a:srgbClr val="FFCC00"/>
      </a:accent1>
      <a:accent2>
        <a:srgbClr val="3333CC"/>
      </a:accent2>
      <a:accent3>
        <a:srgbClr val="FFFFFF"/>
      </a:accent3>
      <a:accent4>
        <a:srgbClr val="212121"/>
      </a:accent4>
      <a:accent5>
        <a:srgbClr val="FFE2AA"/>
      </a:accent5>
      <a:accent6>
        <a:srgbClr val="2D2DB9"/>
      </a:accent6>
      <a:hlink>
        <a:srgbClr val="5F5F5F"/>
      </a:hlink>
      <a:folHlink>
        <a:srgbClr val="5F5F5F"/>
      </a:folHlink>
    </a:clrScheme>
    <a:fontScheme name="Noto">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rgbClr val="00C3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b="0" i="0" dirty="0" smtClean="0">
            <a:solidFill>
              <a:srgbClr val="714C6C"/>
            </a:solidFill>
            <a:latin typeface="Noto Sans" panose="020B0502040504020204" pitchFamily="34" charset="0"/>
            <a:cs typeface="Poppins Light" panose="02000000000000000000" pitchFamily="2" charset="77"/>
          </a:defRPr>
        </a:defPPr>
      </a:lstStyle>
    </a:txDef>
  </a:objectDefaults>
  <a:extraClrSchemeLst>
    <a:extraClrScheme>
      <a:clrScheme name="Modele_Yooz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Modele_Yooz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Modele_Yooz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Modele_Yooz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ésentation6" id="{5BEE8933-3559-411A-B80C-D8FCC21205C1}" vid="{F549723C-B2A6-423C-B6D5-290E7CC36F18}"/>
    </a:ext>
  </a:ext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 Master">
  <a:themeElements>
    <a:clrScheme name="Oracle NEW">
      <a:dk1>
        <a:srgbClr val="4E3629"/>
      </a:dk1>
      <a:lt1>
        <a:sysClr val="window" lastClr="FFFFFF"/>
      </a:lt1>
      <a:dk2>
        <a:srgbClr val="312D2A"/>
      </a:dk2>
      <a:lt2>
        <a:srgbClr val="E0E2E1"/>
      </a:lt2>
      <a:accent1>
        <a:srgbClr val="D1350F"/>
      </a:accent1>
      <a:accent2>
        <a:srgbClr val="E6AC58"/>
      </a:accent2>
      <a:accent3>
        <a:srgbClr val="94AFAF"/>
      </a:accent3>
      <a:accent4>
        <a:srgbClr val="2B6242"/>
      </a:accent4>
      <a:accent5>
        <a:srgbClr val="2C5967"/>
      </a:accent5>
      <a:accent6>
        <a:srgbClr val="AE562C"/>
      </a:accent6>
      <a:hlink>
        <a:srgbClr val="2C5967"/>
      </a:hlink>
      <a:folHlink>
        <a:srgbClr val="F5B642"/>
      </a:folHlink>
    </a:clrScheme>
    <a:fontScheme name="Oracle">
      <a:majorFont>
        <a:latin typeface="Georgia"/>
        <a:ea typeface=""/>
        <a:cs typeface=""/>
      </a:majorFont>
      <a:minorFont>
        <a:latin typeface="Oracl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t (NXPowerLite Copy).pptx" id="{AE310C2E-BC4D-4F56-BD76-471CBE522D37}" vid="{03D8F6CA-98DF-468F-9E1A-F51A22E774F7}"/>
    </a:ext>
  </a:extLst>
</a:theme>
</file>

<file path=ppt/theme/theme3.xml><?xml version="1.0" encoding="utf-8"?>
<a:theme xmlns:a="http://schemas.openxmlformats.org/drawingml/2006/main" name="Parent Master">
  <a:themeElements>
    <a:clrScheme name="Oracle 1.13 original colors">
      <a:dk1>
        <a:srgbClr val="312D2A"/>
      </a:dk1>
      <a:lt1>
        <a:srgbClr val="FCFBFA"/>
      </a:lt1>
      <a:dk2>
        <a:srgbClr val="312D2A"/>
      </a:dk2>
      <a:lt2>
        <a:srgbClr val="FCFBFA"/>
      </a:lt2>
      <a:accent1>
        <a:srgbClr val="C74634"/>
      </a:accent1>
      <a:accent2>
        <a:srgbClr val="FACD62"/>
      </a:accent2>
      <a:accent3>
        <a:srgbClr val="94AFAF"/>
      </a:accent3>
      <a:accent4>
        <a:srgbClr val="2B6242"/>
      </a:accent4>
      <a:accent5>
        <a:srgbClr val="AE562C"/>
      </a:accent5>
      <a:accent6>
        <a:srgbClr val="759C6C"/>
      </a:accent6>
      <a:hlink>
        <a:srgbClr val="2C5967"/>
      </a:hlink>
      <a:folHlink>
        <a:srgbClr val="2C5967"/>
      </a:folHlink>
    </a:clrScheme>
    <a:fontScheme name="Oracle">
      <a:majorFont>
        <a:latin typeface="Georgia"/>
        <a:ea typeface="Arial"/>
        <a:cs typeface="Arial"/>
      </a:majorFont>
      <a:minorFont>
        <a:latin typeface="Oracle Sans"/>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Ocean">
      <a:srgbClr val="2C5967"/>
    </a:custClr>
    <a:custClr name="Surf">
      <a:srgbClr val="41817E"/>
    </a:custClr>
    <a:custClr name="Sand">
      <a:srgbClr val="E5DBBE"/>
    </a:custClr>
    <a:custClr name="Pebble">
      <a:srgbClr val="8B8580"/>
    </a:custClr>
    <a:custClr name="Granite">
      <a:srgbClr val="67605B"/>
    </a:custClr>
  </a:custClrLst>
  <a:extLst>
    <a:ext uri="{05A4C25C-085E-4340-85A3-A5531E510DB2}">
      <thm15:themeFamily xmlns:thm15="http://schemas.microsoft.com/office/thememl/2012/main" name="Oracle Redwood v.1.14 20200330-1.potx" id="{D6A3C6E7-4DC9-41EA-BCAF-BD001838E02F}" vid="{B78EFB80-39EB-42CC-957F-236F465785BD}"/>
    </a:ext>
  </a:extLst>
</a:theme>
</file>

<file path=ppt/theme/theme4.xml><?xml version="1.0" encoding="utf-8"?>
<a:theme xmlns:a="http://schemas.openxmlformats.org/drawingml/2006/main" name="1_Parent Master">
  <a:themeElements>
    <a:clrScheme name="Oracle 1.13 original colors">
      <a:dk1>
        <a:srgbClr val="312D2A"/>
      </a:dk1>
      <a:lt1>
        <a:srgbClr val="FCFBFA"/>
      </a:lt1>
      <a:dk2>
        <a:srgbClr val="312D2A"/>
      </a:dk2>
      <a:lt2>
        <a:srgbClr val="FCFBFA"/>
      </a:lt2>
      <a:accent1>
        <a:srgbClr val="C74634"/>
      </a:accent1>
      <a:accent2>
        <a:srgbClr val="FACD62"/>
      </a:accent2>
      <a:accent3>
        <a:srgbClr val="94AFAF"/>
      </a:accent3>
      <a:accent4>
        <a:srgbClr val="2B6242"/>
      </a:accent4>
      <a:accent5>
        <a:srgbClr val="AE562C"/>
      </a:accent5>
      <a:accent6>
        <a:srgbClr val="759C6C"/>
      </a:accent6>
      <a:hlink>
        <a:srgbClr val="2C5967"/>
      </a:hlink>
      <a:folHlink>
        <a:srgbClr val="2C5967"/>
      </a:folHlink>
    </a:clrScheme>
    <a:fontScheme name="Oracle">
      <a:majorFont>
        <a:latin typeface="Georgia"/>
        <a:ea typeface="Arial"/>
        <a:cs typeface="Arial"/>
      </a:majorFont>
      <a:minorFont>
        <a:latin typeface="Oracle Sans"/>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Ocean">
      <a:srgbClr val="2C5967"/>
    </a:custClr>
    <a:custClr name="Surf">
      <a:srgbClr val="41817E"/>
    </a:custClr>
    <a:custClr name="Sand">
      <a:srgbClr val="E5DBBE"/>
    </a:custClr>
    <a:custClr name="Pebble">
      <a:srgbClr val="8B8580"/>
    </a:custClr>
    <a:custClr name="Granite">
      <a:srgbClr val="67605B"/>
    </a:custClr>
  </a:custClrLst>
  <a:extLst>
    <a:ext uri="{05A4C25C-085E-4340-85A3-A5531E510DB2}">
      <thm15:themeFamily xmlns:thm15="http://schemas.microsoft.com/office/thememl/2012/main" name="Presentation3" id="{A5A93476-9F5B-49AA-AF3E-00ACE74C4830}" vid="{BF579D47-512F-4F32-A1EB-C76BAD311BA8}"/>
    </a:ext>
  </a:extLst>
</a:theme>
</file>

<file path=ppt/theme/theme5.xml><?xml version="1.0" encoding="utf-8"?>
<a:theme xmlns:a="http://schemas.openxmlformats.org/drawingml/2006/main" name="1_Office Theme">
  <a:themeElements>
    <a:clrScheme name="Oracle OOW19 1">
      <a:dk1>
        <a:srgbClr val="423736"/>
      </a:dk1>
      <a:lt1>
        <a:srgbClr val="FFFFFF"/>
      </a:lt1>
      <a:dk2>
        <a:srgbClr val="423736"/>
      </a:dk2>
      <a:lt2>
        <a:srgbClr val="E0E2E1"/>
      </a:lt2>
      <a:accent1>
        <a:srgbClr val="E05039"/>
      </a:accent1>
      <a:accent2>
        <a:srgbClr val="F5B642"/>
      </a:accent2>
      <a:accent3>
        <a:srgbClr val="6487A3"/>
      </a:accent3>
      <a:accent4>
        <a:srgbClr val="006E43"/>
      </a:accent4>
      <a:accent5>
        <a:srgbClr val="3F3A36"/>
      </a:accent5>
      <a:accent6>
        <a:srgbClr val="4B4540"/>
      </a:accent6>
      <a:hlink>
        <a:srgbClr val="9DBEC4"/>
      </a:hlink>
      <a:folHlink>
        <a:srgbClr val="F5B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Parent Master">
  <a:themeElements>
    <a:clrScheme name="Redwood">
      <a:dk1>
        <a:srgbClr val="312D2A"/>
      </a:dk1>
      <a:lt1>
        <a:srgbClr val="FCFBFA"/>
      </a:lt1>
      <a:dk2>
        <a:srgbClr val="312D2A"/>
      </a:dk2>
      <a:lt2>
        <a:srgbClr val="FCFBFA"/>
      </a:lt2>
      <a:accent1>
        <a:srgbClr val="C74634"/>
      </a:accent1>
      <a:accent2>
        <a:srgbClr val="FACD62"/>
      </a:accent2>
      <a:accent3>
        <a:srgbClr val="94AFAF"/>
      </a:accent3>
      <a:accent4>
        <a:srgbClr val="2B6242"/>
      </a:accent4>
      <a:accent5>
        <a:srgbClr val="AE562C"/>
      </a:accent5>
      <a:accent6>
        <a:srgbClr val="759C6C"/>
      </a:accent6>
      <a:hlink>
        <a:srgbClr val="2C5967"/>
      </a:hlink>
      <a:folHlink>
        <a:srgbClr val="2C5967"/>
      </a:folHlink>
    </a:clrScheme>
    <a:fontScheme name="Oracle">
      <a:majorFont>
        <a:latin typeface="Georgia"/>
        <a:ea typeface="Arial"/>
        <a:cs typeface="Arial"/>
      </a:majorFont>
      <a:minorFont>
        <a:latin typeface="Oracle Sans"/>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Ocean">
      <a:srgbClr val="2C5967"/>
    </a:custClr>
    <a:custClr name="Surf">
      <a:srgbClr val="41817E"/>
    </a:custClr>
    <a:custClr name="Sand">
      <a:srgbClr val="E5DBBE"/>
    </a:custClr>
    <a:custClr name="Pebble">
      <a:srgbClr val="8B8580"/>
    </a:custClr>
    <a:custClr name="Granite">
      <a:srgbClr val="67605B"/>
    </a:custClr>
  </a:custClrLst>
  <a:extLst>
    <a:ext uri="{05A4C25C-085E-4340-85A3-A5531E510DB2}">
      <thm15:themeFamily xmlns:thm15="http://schemas.microsoft.com/office/thememl/2012/main" name="Oracle_Redwood_V.1.12 CBG.potx" id="{01A7707C-C6EF-48C2-B29A-092F32E059E4}" vid="{4DF95087-9B92-4100-9DA6-B5E2DF84AD0E}"/>
    </a:ext>
  </a:extLst>
</a:theme>
</file>

<file path=ppt/theme/theme7.xml><?xml version="1.0" encoding="utf-8"?>
<a:theme xmlns:a="http://schemas.openxmlformats.org/drawingml/2006/main" name="3_Parent Master">
  <a:themeElements>
    <a:clrScheme name="Redwood">
      <a:dk1>
        <a:srgbClr val="312D2A"/>
      </a:dk1>
      <a:lt1>
        <a:srgbClr val="FCFBFA"/>
      </a:lt1>
      <a:dk2>
        <a:srgbClr val="312D2A"/>
      </a:dk2>
      <a:lt2>
        <a:srgbClr val="FCFBFA"/>
      </a:lt2>
      <a:accent1>
        <a:srgbClr val="C74634"/>
      </a:accent1>
      <a:accent2>
        <a:srgbClr val="FACD62"/>
      </a:accent2>
      <a:accent3>
        <a:srgbClr val="94AFAF"/>
      </a:accent3>
      <a:accent4>
        <a:srgbClr val="2B6242"/>
      </a:accent4>
      <a:accent5>
        <a:srgbClr val="AE562C"/>
      </a:accent5>
      <a:accent6>
        <a:srgbClr val="759C6C"/>
      </a:accent6>
      <a:hlink>
        <a:srgbClr val="2C5967"/>
      </a:hlink>
      <a:folHlink>
        <a:srgbClr val="2C5967"/>
      </a:folHlink>
    </a:clrScheme>
    <a:fontScheme name="Oracle">
      <a:majorFont>
        <a:latin typeface="Georgia"/>
        <a:ea typeface=""/>
        <a:cs typeface=""/>
      </a:majorFont>
      <a:minorFont>
        <a:latin typeface="Oracl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Ocean">
      <a:srgbClr val="2C5967"/>
    </a:custClr>
    <a:custClr name="Surf">
      <a:srgbClr val="41817E"/>
    </a:custClr>
    <a:custClr name="Sand">
      <a:srgbClr val="E5DBBE"/>
    </a:custClr>
    <a:custClr name="Pebble">
      <a:srgbClr val="8B8580"/>
    </a:custClr>
    <a:custClr name="Granite">
      <a:srgbClr val="67605B"/>
    </a:custClr>
  </a:custClrLst>
  <a:extLst>
    <a:ext uri="{05A4C25C-085E-4340-85A3-A5531E510DB2}">
      <thm15:themeFamily xmlns:thm15="http://schemas.microsoft.com/office/thememl/2012/main" name="Oracle Redwood v.1.13" id="{2E9F41A3-D31B-554A-8B1B-2DD86BF84303}" vid="{3D569BFC-AF32-5F4F-BAA6-0F119E81C46A}"/>
    </a:ext>
  </a:extLst>
</a:theme>
</file>

<file path=ppt/theme/theme8.xml><?xml version="1.0" encoding="utf-8"?>
<a:theme xmlns:a="http://schemas.openxmlformats.org/drawingml/2006/main" name="2_Office Theme">
  <a:themeElements>
    <a:clrScheme name="Oracle OpenWorld 2019">
      <a:dk1>
        <a:srgbClr val="4E3629"/>
      </a:dk1>
      <a:lt1>
        <a:sysClr val="window" lastClr="FFFFFF"/>
      </a:lt1>
      <a:dk2>
        <a:srgbClr val="4E3629"/>
      </a:dk2>
      <a:lt2>
        <a:srgbClr val="E0E2E1"/>
      </a:lt2>
      <a:accent1>
        <a:srgbClr val="D1350F"/>
      </a:accent1>
      <a:accent2>
        <a:srgbClr val="F5B642"/>
      </a:accent2>
      <a:accent3>
        <a:srgbClr val="9DBEC4"/>
      </a:accent3>
      <a:accent4>
        <a:srgbClr val="006E43"/>
      </a:accent4>
      <a:accent5>
        <a:srgbClr val="4E3629"/>
      </a:accent5>
      <a:accent6>
        <a:srgbClr val="4E3629"/>
      </a:accent6>
      <a:hlink>
        <a:srgbClr val="9DBEC4"/>
      </a:hlink>
      <a:folHlink>
        <a:srgbClr val="F5B64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2400" dirty="0" err="1" smtClean="0">
            <a:latin typeface="Oracle Sans Light" panose="020B0403020204020204" pitchFamily="34" charset="0"/>
            <a:cs typeface="Oracle Sans Light" panose="020B0403020204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Dark Master">
  <a:themeElements>
    <a:clrScheme name="Oracle NEW">
      <a:dk1>
        <a:srgbClr val="4E3629"/>
      </a:dk1>
      <a:lt1>
        <a:sysClr val="window" lastClr="FFFFFF"/>
      </a:lt1>
      <a:dk2>
        <a:srgbClr val="312D2A"/>
      </a:dk2>
      <a:lt2>
        <a:srgbClr val="E0E2E1"/>
      </a:lt2>
      <a:accent1>
        <a:srgbClr val="D1350F"/>
      </a:accent1>
      <a:accent2>
        <a:srgbClr val="E6AC58"/>
      </a:accent2>
      <a:accent3>
        <a:srgbClr val="94AFAF"/>
      </a:accent3>
      <a:accent4>
        <a:srgbClr val="2B6242"/>
      </a:accent4>
      <a:accent5>
        <a:srgbClr val="2C5967"/>
      </a:accent5>
      <a:accent6>
        <a:srgbClr val="AE562C"/>
      </a:accent6>
      <a:hlink>
        <a:srgbClr val="2C5967"/>
      </a:hlink>
      <a:folHlink>
        <a:srgbClr val="F5B642"/>
      </a:folHlink>
    </a:clrScheme>
    <a:fontScheme name="Oracle">
      <a:majorFont>
        <a:latin typeface="Georgia"/>
        <a:ea typeface=""/>
        <a:cs typeface=""/>
      </a:majorFont>
      <a:minorFont>
        <a:latin typeface="Oracl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t (NXPowerLite Copy).pptx" id="{AE310C2E-BC4D-4F56-BD76-471CBE522D37}" vid="{03D8F6CA-98DF-468F-9E1A-F51A22E774F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3FF760E836B849A86BE6BA85018FAA" ma:contentTypeVersion="13" ma:contentTypeDescription="Create a new document." ma:contentTypeScope="" ma:versionID="11d1ce277a67663336d0a90642a9fc0f">
  <xsd:schema xmlns:xsd="http://www.w3.org/2001/XMLSchema" xmlns:xs="http://www.w3.org/2001/XMLSchema" xmlns:p="http://schemas.microsoft.com/office/2006/metadata/properties" xmlns:ns2="0051a82d-054f-407b-a93f-7094277fe87d" xmlns:ns3="be05862f-f35d-4cdc-87c0-0571e0341345" targetNamespace="http://schemas.microsoft.com/office/2006/metadata/properties" ma:root="true" ma:fieldsID="467da69d01fde1c44e77137881f88780" ns2:_="" ns3:_="">
    <xsd:import namespace="0051a82d-054f-407b-a93f-7094277fe87d"/>
    <xsd:import namespace="be05862f-f35d-4cdc-87c0-0571e034134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51a82d-054f-407b-a93f-7094277fe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e05862f-f35d-4cdc-87c0-0571e034134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be05862f-f35d-4cdc-87c0-0571e0341345">
      <UserInfo>
        <DisplayName>Cécilia Olaso</DisplayName>
        <AccountId>211</AccountId>
        <AccountType/>
      </UserInfo>
      <UserInfo>
        <DisplayName>Magali Michel</DisplayName>
        <AccountId>76</AccountId>
        <AccountType/>
      </UserInfo>
      <UserInfo>
        <DisplayName>Charlotte Gouit</DisplayName>
        <AccountId>292</AccountId>
        <AccountType/>
      </UserInfo>
    </SharedWithUsers>
  </documentManagement>
</p:properties>
</file>

<file path=customXml/itemProps1.xml><?xml version="1.0" encoding="utf-8"?>
<ds:datastoreItem xmlns:ds="http://schemas.openxmlformats.org/officeDocument/2006/customXml" ds:itemID="{0777B5EC-A61B-4C50-A630-795F4EA73173}">
  <ds:schemaRefs>
    <ds:schemaRef ds:uri="0051a82d-054f-407b-a93f-7094277fe87d"/>
    <ds:schemaRef ds:uri="be05862f-f35d-4cdc-87c0-0571e034134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C669B2C-C584-40C3-BD09-F21C88E7593D}">
  <ds:schemaRefs>
    <ds:schemaRef ds:uri="http://schemas.microsoft.com/sharepoint/v3/contenttype/forms"/>
  </ds:schemaRefs>
</ds:datastoreItem>
</file>

<file path=customXml/itemProps3.xml><?xml version="1.0" encoding="utf-8"?>
<ds:datastoreItem xmlns:ds="http://schemas.openxmlformats.org/officeDocument/2006/customXml" ds:itemID="{F468235E-062F-450F-BD86-665045AD3E6F}">
  <ds:schemaRefs>
    <ds:schemaRef ds:uri="0051a82d-054f-407b-a93f-7094277fe87d"/>
    <ds:schemaRef ds:uri="be05862f-f35d-4cdc-87c0-0571e034134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73</TotalTime>
  <Words>1634</Words>
  <Application>Microsoft Office PowerPoint</Application>
  <PresentationFormat>Grand écran</PresentationFormat>
  <Paragraphs>342</Paragraphs>
  <Slides>31</Slides>
  <Notes>19</Notes>
  <HiddenSlides>0</HiddenSlides>
  <MMClips>0</MMClips>
  <ScaleCrop>false</ScaleCrop>
  <HeadingPairs>
    <vt:vector size="8" baseType="variant">
      <vt:variant>
        <vt:lpstr>Polices utilisées</vt:lpstr>
      </vt:variant>
      <vt:variant>
        <vt:i4>19</vt:i4>
      </vt:variant>
      <vt:variant>
        <vt:lpstr>Thème</vt:lpstr>
      </vt:variant>
      <vt:variant>
        <vt:i4>9</vt:i4>
      </vt:variant>
      <vt:variant>
        <vt:lpstr>Serveurs OLE incorporés</vt:lpstr>
      </vt:variant>
      <vt:variant>
        <vt:i4>1</vt:i4>
      </vt:variant>
      <vt:variant>
        <vt:lpstr>Titres des diapositives</vt:lpstr>
      </vt:variant>
      <vt:variant>
        <vt:i4>31</vt:i4>
      </vt:variant>
    </vt:vector>
  </HeadingPairs>
  <TitlesOfParts>
    <vt:vector size="60" baseType="lpstr">
      <vt:lpstr>Arial</vt:lpstr>
      <vt:lpstr>Arial Black</vt:lpstr>
      <vt:lpstr>Avenir Next LT Pro</vt:lpstr>
      <vt:lpstr>Avenir Next LT Pro Demi</vt:lpstr>
      <vt:lpstr>Avenir Next LT Pro Light</vt:lpstr>
      <vt:lpstr>Calibri</vt:lpstr>
      <vt:lpstr>Georgia</vt:lpstr>
      <vt:lpstr>Noto Sans</vt:lpstr>
      <vt:lpstr>Noto Sans UI</vt:lpstr>
      <vt:lpstr>Oracle Sans</vt:lpstr>
      <vt:lpstr>Oracle Sans Extra Bold</vt:lpstr>
      <vt:lpstr>Oracle Sans Light</vt:lpstr>
      <vt:lpstr>Oracle Sans Regular</vt:lpstr>
      <vt:lpstr>Oracle Sans Semi</vt:lpstr>
      <vt:lpstr>Oracle Sans Tab</vt:lpstr>
      <vt:lpstr>Oracle Sans Tab Semi Bold</vt:lpstr>
      <vt:lpstr>System Font Regular</vt:lpstr>
      <vt:lpstr>Trebuchet MS</vt:lpstr>
      <vt:lpstr>Wingdings</vt:lpstr>
      <vt:lpstr>4_Modele_Yooz</vt:lpstr>
      <vt:lpstr>Dark Master</vt:lpstr>
      <vt:lpstr>Parent Master</vt:lpstr>
      <vt:lpstr>1_Parent Master</vt:lpstr>
      <vt:lpstr>1_Office Theme</vt:lpstr>
      <vt:lpstr>2_Parent Master</vt:lpstr>
      <vt:lpstr>3_Parent Master</vt:lpstr>
      <vt:lpstr>2_Office Theme</vt:lpstr>
      <vt:lpstr>3_Dark Master</vt:lpstr>
      <vt:lpstr>think-cell Slide</vt:lpstr>
      <vt:lpstr>Comment accélérer la valorisation de la donnée  avec les solutions Oracle ?  Mercredi 22 juin 2022</vt:lpstr>
      <vt:lpstr>Présentation PowerPoint</vt:lpstr>
      <vt:lpstr>Présentation PowerPoint</vt:lpstr>
      <vt:lpstr>Présentation PowerPoint</vt:lpstr>
      <vt:lpstr>Présentation PowerPoint</vt:lpstr>
      <vt:lpstr>LES ETAPES CLES</vt:lpstr>
      <vt:lpstr>Présentation PowerPoint</vt:lpstr>
      <vt:lpstr>Comment accélérer la valorisation de la donnée avec les solutions Oracle ?</vt:lpstr>
      <vt:lpstr>Présentation PowerPoint</vt:lpstr>
      <vt:lpstr>Seif Abbassi</vt:lpstr>
      <vt:lpstr>Les challenges des projets data</vt:lpstr>
      <vt:lpstr>C’est quoi une « modern data platform »? </vt:lpstr>
      <vt:lpstr>Accompagner les entreprises selon leurs modèles de déploiements </vt:lpstr>
      <vt:lpstr>Oracle cloud, une plateforme complète pour la transformation digitale</vt:lpstr>
      <vt:lpstr>Présentation PowerPoint</vt:lpstr>
      <vt:lpstr>Pourquoi  Oracle Cloud infrastructure (OCI)?</vt:lpstr>
      <vt:lpstr>Présentation PowerPoint</vt:lpstr>
      <vt:lpstr>Entreprise data warehouse</vt:lpstr>
      <vt:lpstr>Modern data warehouse</vt:lpstr>
      <vt:lpstr>Présentation PowerPoint</vt:lpstr>
      <vt:lpstr>Présentation PowerPoint</vt:lpstr>
      <vt:lpstr>Présentation PowerPoint</vt:lpstr>
      <vt:lpstr>Oracle Autonomous Data Warehouse</vt:lpstr>
      <vt:lpstr>Choix de déploiement:</vt:lpstr>
      <vt:lpstr>Focus sur Oracle Analytics Cloud</vt:lpstr>
      <vt:lpstr>Focus sur OCI Data Integration  Création et ordonnancement de flux de données avec OCI Data integration</vt:lpstr>
      <vt:lpstr>Présentation PowerPoint</vt:lpstr>
      <vt:lpstr>Oracle Data Safe</vt:lpstr>
      <vt:lpstr>En résumé</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Nathalie Stickelbaut</dc:creator>
  <cp:lastModifiedBy>Laurine Guillaume</cp:lastModifiedBy>
  <cp:revision>21</cp:revision>
  <dcterms:created xsi:type="dcterms:W3CDTF">2022-04-15T14:00:27Z</dcterms:created>
  <dcterms:modified xsi:type="dcterms:W3CDTF">2022-06-20T16:1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ganization">
    <vt:lpwstr/>
  </property>
  <property fmtid="{D5CDD505-2E9C-101B-9397-08002B2CF9AE}" pid="3" name="Document Type">
    <vt:lpwstr>63;#Demo Deck - PPT|6826167c-9345-4c49-8561-be2add70c67c</vt:lpwstr>
  </property>
  <property fmtid="{D5CDD505-2E9C-101B-9397-08002B2CF9AE}" pid="4" name="ERP">
    <vt:lpwstr/>
  </property>
  <property fmtid="{D5CDD505-2E9C-101B-9397-08002B2CF9AE}" pid="5" name="Competitor">
    <vt:lpwstr/>
  </property>
  <property fmtid="{D5CDD505-2E9C-101B-9397-08002B2CF9AE}" pid="6" name="Product">
    <vt:lpwstr>17;#Yooz Business Edition|304b4560-e4e0-4c6f-b071-9c22a1839bb8</vt:lpwstr>
  </property>
  <property fmtid="{D5CDD505-2E9C-101B-9397-08002B2CF9AE}" pid="7" name="Bus. Sector">
    <vt:lpwstr/>
  </property>
  <property fmtid="{D5CDD505-2E9C-101B-9397-08002B2CF9AE}" pid="8" name="ContentTypeId">
    <vt:lpwstr>0x010100193FF760E836B849A86BE6BA85018FAA</vt:lpwstr>
  </property>
  <property fmtid="{D5CDD505-2E9C-101B-9397-08002B2CF9AE}" pid="9" name="Created by0">
    <vt:lpwstr>3;#FR|175fc2a7-f5c4-4a33-b24c-43c2fa535218</vt:lpwstr>
  </property>
</Properties>
</file>